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2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1"/>
  </p:sldMasterIdLst>
  <p:notesMasterIdLst>
    <p:notesMasterId r:id="rId6"/>
  </p:notesMasterIdLst>
  <p:handoutMasterIdLst>
    <p:handoutMasterId r:id="rId7"/>
  </p:handoutMasterIdLst>
  <p:sldIdLst>
    <p:sldId id="294" r:id="rId2"/>
    <p:sldId id="284" r:id="rId3"/>
    <p:sldId id="291" r:id="rId4"/>
    <p:sldId id="293" r:id="rId5"/>
  </p:sldIdLst>
  <p:sldSz cx="12192000" cy="6858000"/>
  <p:notesSz cx="6797675" cy="9926638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3840" userDrawn="1">
          <p15:clr>
            <a:srgbClr val="A4A3A4"/>
          </p15:clr>
        </p15:guide>
        <p15:guide id="3" pos="3931" userDrawn="1">
          <p15:clr>
            <a:srgbClr val="A4A3A4"/>
          </p15:clr>
        </p15:guide>
        <p15:guide id="4" pos="3749" userDrawn="1">
          <p15:clr>
            <a:srgbClr val="A4A3A4"/>
          </p15:clr>
        </p15:guide>
        <p15:guide id="5" pos="4929" userDrawn="1">
          <p15:clr>
            <a:srgbClr val="A4A3A4"/>
          </p15:clr>
        </p15:guide>
        <p15:guide id="6" pos="5110" userDrawn="1">
          <p15:clr>
            <a:srgbClr val="A4A3A4"/>
          </p15:clr>
        </p15:guide>
        <p15:guide id="8" pos="5518" userDrawn="1">
          <p15:clr>
            <a:srgbClr val="A4A3A4"/>
          </p15:clr>
        </p15:guide>
        <p15:guide id="10" pos="2570" userDrawn="1">
          <p15:clr>
            <a:srgbClr val="A4A3A4"/>
          </p15:clr>
        </p15:guide>
        <p15:guide id="11" pos="1980" userDrawn="1">
          <p15:clr>
            <a:srgbClr val="A4A3A4"/>
          </p15:clr>
        </p15:guide>
        <p15:guide id="12" pos="2162" userDrawn="1">
          <p15:clr>
            <a:srgbClr val="A4A3A4"/>
          </p15:clr>
        </p15:guide>
        <p15:guide id="14" pos="7287" userDrawn="1">
          <p15:clr>
            <a:srgbClr val="A4A3A4"/>
          </p15:clr>
        </p15:guide>
        <p15:guide id="15" pos="393" userDrawn="1">
          <p15:clr>
            <a:srgbClr val="A4A3A4"/>
          </p15:clr>
        </p15:guide>
        <p15:guide id="17" pos="5700" userDrawn="1">
          <p15:clr>
            <a:srgbClr val="A4A3A4"/>
          </p15:clr>
        </p15:guide>
        <p15:guide id="18" pos="2751" userDrawn="1">
          <p15:clr>
            <a:srgbClr val="A4A3A4"/>
          </p15:clr>
        </p15:guide>
        <p15:guide id="19" orient="horz" pos="935" userDrawn="1">
          <p15:clr>
            <a:srgbClr val="A4A3A4"/>
          </p15:clr>
        </p15:guide>
        <p15:guide id="20" orient="horz" pos="392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/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39572F8-BE7D-4173-87BD-1B071F560714}" v="70" dt="2021-03-24T07:59:25.371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87" autoAdjust="0"/>
    <p:restoredTop sz="96201" autoAdjust="0"/>
  </p:normalViewPr>
  <p:slideViewPr>
    <p:cSldViewPr snapToObjects="1">
      <p:cViewPr>
        <p:scale>
          <a:sx n="100" d="100"/>
          <a:sy n="100" d="100"/>
        </p:scale>
        <p:origin x="138" y="342"/>
      </p:cViewPr>
      <p:guideLst>
        <p:guide pos="3840"/>
        <p:guide pos="3931"/>
        <p:guide pos="3749"/>
        <p:guide pos="4929"/>
        <p:guide pos="5110"/>
        <p:guide pos="5518"/>
        <p:guide pos="2570"/>
        <p:guide pos="1980"/>
        <p:guide pos="2162"/>
        <p:guide pos="7287"/>
        <p:guide pos="393"/>
        <p:guide pos="5700"/>
        <p:guide pos="2751"/>
        <p:guide orient="horz" pos="935"/>
        <p:guide orient="horz" pos="392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200" d="100"/>
        <a:sy n="2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Objects="1" showGuides="1">
      <p:cViewPr varScale="1">
        <p:scale>
          <a:sx n="74" d="100"/>
          <a:sy n="74" d="100"/>
        </p:scale>
        <p:origin x="4044" y="7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handoutMaster" Target="handoutMasters/handoutMaster1.xml"/><Relationship Id="rId12" Type="http://schemas.microsoft.com/office/2015/10/relationships/revisionInfo" Target="revisionInfo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11" Type="http://schemas.openxmlformats.org/officeDocument/2006/relationships/tableStyles" Target="tableStyles.xml"/><Relationship Id="rId5" Type="http://schemas.openxmlformats.org/officeDocument/2006/relationships/slide" Target="slides/slide4.xml"/><Relationship Id="rId1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CE2879F-85E3-496B-8667-A4EA32411BEF}"/>
              </a:ext>
            </a:extLst>
          </p:cNvPr>
          <p:cNvSpPr>
            <a:spLocks noGrp="1"/>
          </p:cNvSpPr>
          <p:nvPr>
            <p:ph type="ftr" sz="quarter" idx="2"/>
          </p:nvPr>
        </p:nvSpPr>
        <p:spPr bwMode="black">
          <a:xfrm>
            <a:off x="1614671" y="9262661"/>
            <a:ext cx="3568333" cy="39081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/>
            </a:lvl1pPr>
          </a:lstStyle>
          <a:p>
            <a:pPr algn="ctr"/>
            <a:r>
              <a:rPr lang="en-GB" sz="1100"/>
              <a:t>confidential, internal, open | Author | Presentation Topic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D50349B1-E56A-42C1-B0A4-26B687F2FBAD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 bwMode="black">
          <a:xfrm>
            <a:off x="6039404" y="9262661"/>
            <a:ext cx="285467" cy="39081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/>
            </a:lvl1pPr>
          </a:lstStyle>
          <a:p>
            <a:pPr algn="l"/>
            <a:fld id="{6F450DBC-90BB-49B2-91E4-AABCC1357725}" type="slidenum">
              <a:rPr lang="de-DE" sz="900" smtClean="0"/>
              <a:pPr algn="l"/>
              <a:t>‹Nr.›</a:t>
            </a:fld>
            <a:endParaRPr lang="de-DE" sz="900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54E2A2C4-9FAC-4DAF-8CF2-98D0ADF211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r="63456"/>
          <a:stretch/>
        </p:blipFill>
        <p:spPr bwMode="black">
          <a:xfrm>
            <a:off x="384820" y="9211948"/>
            <a:ext cx="682820" cy="4922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3042720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pos="299" userDrawn="1">
          <p15:clr>
            <a:srgbClr val="F26B43"/>
          </p15:clr>
        </p15:guide>
        <p15:guide id="2" pos="3981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 bwMode="lt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 bwMode="auto">
          <a:xfrm>
            <a:off x="306388" y="976313"/>
            <a:ext cx="3830637" cy="21558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 bwMode="black">
          <a:xfrm>
            <a:off x="472804" y="3556395"/>
            <a:ext cx="5846516" cy="5129415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/>
              <a:t>Click to edit tex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/>
              <a:t>Sixth level</a:t>
            </a:r>
          </a:p>
          <a:p>
            <a:pPr lvl="6"/>
            <a:r>
              <a:rPr lang="en-GB"/>
              <a:t>Seventh level</a:t>
            </a:r>
          </a:p>
          <a:p>
            <a:pPr lvl="7"/>
            <a:r>
              <a:rPr lang="en-GB"/>
              <a:t>Eighth level</a:t>
            </a:r>
          </a:p>
          <a:p>
            <a:pPr lvl="8"/>
            <a:r>
              <a:rPr lang="en-GB"/>
              <a:t>Ninth level</a:t>
            </a:r>
          </a:p>
          <a:p>
            <a:pPr lvl="8"/>
            <a:endParaRPr lang="en-GB"/>
          </a:p>
          <a:p>
            <a:pPr lvl="4"/>
            <a:endParaRPr lang="en-GB" dirty="0"/>
          </a:p>
        </p:txBody>
      </p:sp>
      <p:sp>
        <p:nvSpPr>
          <p:cNvPr id="7" name="Fußzeilenplatzhalter 3">
            <a:extLst>
              <a:ext uri="{FF2B5EF4-FFF2-40B4-BE49-F238E27FC236}">
                <a16:creationId xmlns:a16="http://schemas.microsoft.com/office/drawing/2014/main" id="{95981BBF-A3AF-4657-B40E-0C891992F7E4}"/>
              </a:ext>
            </a:extLst>
          </p:cNvPr>
          <p:cNvSpPr>
            <a:spLocks noGrp="1"/>
          </p:cNvSpPr>
          <p:nvPr>
            <p:ph type="ftr" sz="quarter" idx="4"/>
          </p:nvPr>
        </p:nvSpPr>
        <p:spPr bwMode="black">
          <a:xfrm>
            <a:off x="1614671" y="9262256"/>
            <a:ext cx="3568333" cy="39081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/>
            </a:lvl1pPr>
          </a:lstStyle>
          <a:p>
            <a:pPr algn="ctr"/>
            <a:r>
              <a:rPr lang="en-GB" sz="1100"/>
              <a:t>confidential, internal, open | Author | Presentation Topic</a:t>
            </a:r>
          </a:p>
        </p:txBody>
      </p:sp>
      <p:sp>
        <p:nvSpPr>
          <p:cNvPr id="8" name="Foliennummernplatzhalter 4">
            <a:extLst>
              <a:ext uri="{FF2B5EF4-FFF2-40B4-BE49-F238E27FC236}">
                <a16:creationId xmlns:a16="http://schemas.microsoft.com/office/drawing/2014/main" id="{C024CC59-CB8B-404F-82E2-4F59721F4CC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 bwMode="black">
          <a:xfrm>
            <a:off x="6039404" y="9262256"/>
            <a:ext cx="285467" cy="39081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/>
            </a:lvl1pPr>
          </a:lstStyle>
          <a:p>
            <a:pPr algn="l"/>
            <a:fld id="{6F450DBC-90BB-49B2-91E4-AABCC1357725}" type="slidenum">
              <a:rPr lang="de-DE" sz="900" smtClean="0"/>
              <a:pPr algn="l"/>
              <a:t>‹Nr.›</a:t>
            </a:fld>
            <a:endParaRPr lang="de-DE" sz="900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4EEB4B23-29CF-4DD3-A96B-2B9F09F5475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r="63456"/>
          <a:stretch/>
        </p:blipFill>
        <p:spPr bwMode="black">
          <a:xfrm>
            <a:off x="384820" y="9211948"/>
            <a:ext cx="682820" cy="4922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03543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indent="0" algn="l" defTabSz="914400" rtl="0" eaLnBrk="1" latinLnBrk="0" hangingPunct="1">
      <a:spcAft>
        <a:spcPts val="900"/>
      </a:spcAft>
      <a:buClr>
        <a:schemeClr val="tx2"/>
      </a:buClr>
      <a:buFont typeface="+mj-lt" panose="05020102010507070707" pitchFamily="18" charset="2"/>
      <a:buNone/>
      <a:defRPr sz="1200" b="0" kern="1200">
        <a:solidFill>
          <a:schemeClr val="tx1"/>
        </a:solidFill>
        <a:latin typeface="+mj-lt"/>
        <a:ea typeface="+mn-ea"/>
        <a:cs typeface="+mn-cs"/>
      </a:defRPr>
    </a:lvl1pPr>
    <a:lvl2pPr marL="0" indent="0" algn="l" defTabSz="914400" rtl="0" eaLnBrk="1" latinLnBrk="0" hangingPunct="1">
      <a:spcAft>
        <a:spcPts val="600"/>
      </a:spcAft>
      <a:buClr>
        <a:schemeClr val="tx2"/>
      </a:buClr>
      <a:buFont typeface="+mj-lt" panose="05020102010507070707" pitchFamily="18" charset="2"/>
      <a:buNone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144000" indent="-144000" algn="l" defTabSz="914400" rtl="0" eaLnBrk="1" latinLnBrk="0" hangingPunct="1">
      <a:spcAft>
        <a:spcPts val="600"/>
      </a:spcAft>
      <a:buClr>
        <a:schemeClr val="tx2"/>
      </a:buClr>
      <a:buFont typeface="TeleNeo Office" panose="020B0504040202090203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288000" indent="-144000" algn="l" defTabSz="914400" rtl="0" eaLnBrk="1" latinLnBrk="0" hangingPunct="1">
      <a:spcAft>
        <a:spcPts val="600"/>
      </a:spcAft>
      <a:buClr>
        <a:schemeClr val="tx2"/>
      </a:buClr>
      <a:buFont typeface="TeleNeo Office" panose="020B0504040202090203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432000" indent="-144000" algn="l" defTabSz="914400" rtl="0" eaLnBrk="1" latinLnBrk="0" hangingPunct="1">
      <a:spcAft>
        <a:spcPts val="600"/>
      </a:spcAft>
      <a:buClr>
        <a:schemeClr val="tx2"/>
      </a:buClr>
      <a:buFont typeface="TeleNeo Office" panose="020B0504040202090203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576000" indent="-144000" algn="l" defTabSz="914400" rtl="0" eaLnBrk="1" latinLnBrk="0" hangingPunct="1">
      <a:spcAft>
        <a:spcPts val="600"/>
      </a:spcAft>
      <a:buClr>
        <a:schemeClr val="tx2"/>
      </a:buClr>
      <a:buFont typeface="TeleNeo Office" panose="020B0504040202090203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720000" indent="-144000" algn="l" defTabSz="914400" rtl="0" eaLnBrk="1" latinLnBrk="0" hangingPunct="1">
      <a:spcAft>
        <a:spcPts val="600"/>
      </a:spcAft>
      <a:buClr>
        <a:schemeClr val="tx2"/>
      </a:buClr>
      <a:buFont typeface="TeleNeo Office" panose="020B0504040202090203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864000" indent="-144000" algn="l" defTabSz="914400" rtl="0" eaLnBrk="1" latinLnBrk="0" hangingPunct="1">
      <a:spcAft>
        <a:spcPts val="600"/>
      </a:spcAft>
      <a:buClr>
        <a:schemeClr val="tx2"/>
      </a:buClr>
      <a:buFont typeface="TeleNeo Office" panose="020B0504040202090203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1008000" indent="-144000" algn="l" defTabSz="914400" rtl="0" eaLnBrk="1" latinLnBrk="0" hangingPunct="1">
      <a:spcAft>
        <a:spcPts val="600"/>
      </a:spcAft>
      <a:buClr>
        <a:schemeClr val="tx2"/>
      </a:buClr>
      <a:buFont typeface="TeleNeo Office" panose="020B0504040202090203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/>
    </p:ext>
  </p:extLst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06388" y="977900"/>
            <a:ext cx="3829050" cy="2154238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sz="1200" b="0">
              <a:latin typeface="+mn-lt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>
          <a:xfrm>
            <a:off x="472804" y="9262256"/>
            <a:ext cx="285467" cy="390813"/>
          </a:xfrm>
          <a:prstGeom prst="rect">
            <a:avLst/>
          </a:prstGeom>
        </p:spPr>
        <p:txBody>
          <a:bodyPr/>
          <a:lstStyle/>
          <a:p>
            <a:pPr algn="l"/>
            <a:fld id="{6F450DBC-90BB-49B2-91E4-AABCC1357725}" type="slidenum">
              <a:rPr lang="de-DE" sz="900" smtClean="0">
                <a:solidFill>
                  <a:schemeClr val="tx2"/>
                </a:solidFill>
              </a:rPr>
              <a:pPr algn="l"/>
              <a:t>2</a:t>
            </a:fld>
            <a:endParaRPr lang="de-DE" sz="90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430944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l"/>
            <a:fld id="{6F450DBC-90BB-49B2-91E4-AABCC1357725}" type="slidenum">
              <a:rPr lang="de-DE" sz="900" smtClean="0"/>
              <a:pPr algn="l"/>
              <a:t>4</a:t>
            </a:fld>
            <a:endParaRPr lang="de-DE" sz="900"/>
          </a:p>
        </p:txBody>
      </p:sp>
    </p:spTree>
    <p:extLst>
      <p:ext uri="{BB962C8B-B14F-4D97-AF65-F5344CB8AC3E}">
        <p14:creationId xmlns:p14="http://schemas.microsoft.com/office/powerpoint/2010/main" val="241212208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long 0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95DB660-BEA6-4B99-9720-1536CF7D2DA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black">
          <a:xfrm>
            <a:off x="1198800" y="3481950"/>
            <a:ext cx="5544000" cy="1224000"/>
          </a:xfrm>
        </p:spPr>
        <p:txBody>
          <a:bodyPr lIns="0" bIns="0" anchor="b"/>
          <a:lstStyle>
            <a:lvl1pPr algn="l">
              <a:lnSpc>
                <a:spcPct val="9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Title of presentation</a:t>
            </a:r>
            <a:endParaRPr lang="en-US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B4891937-CC24-41A9-9EB6-06AEE112BE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1198800" y="4869000"/>
            <a:ext cx="5544000" cy="504000"/>
          </a:xfrm>
        </p:spPr>
        <p:txBody>
          <a:bodyPr lIns="0" bIns="0" anchor="t"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2pPr>
            <a:lvl3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3pPr>
            <a:lvl4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4pPr>
            <a:lvl5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5pPr>
            <a:lvl6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6pPr>
            <a:lvl7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7pPr>
            <a:lvl8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8pPr>
            <a:lvl9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9pPr>
          </a:lstStyle>
          <a:p>
            <a:r>
              <a:rPr lang="en-US" dirty="0"/>
              <a:t>Subtitle | Author | Place | Date</a:t>
            </a:r>
          </a:p>
        </p:txBody>
      </p:sp>
      <p:sp>
        <p:nvSpPr>
          <p:cNvPr id="17" name="Bildplatzhalter 16">
            <a:extLst>
              <a:ext uri="{FF2B5EF4-FFF2-40B4-BE49-F238E27FC236}">
                <a16:creationId xmlns:a16="http://schemas.microsoft.com/office/drawing/2014/main" id="{D0926A59-3663-4198-92E6-B934EF65801E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ltGray"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7434300 w 12192000"/>
              <a:gd name="connsiteY3" fmla="*/ 6858000 h 6858000"/>
              <a:gd name="connsiteX4" fmla="*/ 7434300 w 12192000"/>
              <a:gd name="connsiteY4" fmla="*/ 3606644 h 6858000"/>
              <a:gd name="connsiteX5" fmla="*/ 6773352 w 12192000"/>
              <a:gd name="connsiteY5" fmla="*/ 2944524 h 6858000"/>
              <a:gd name="connsiteX6" fmla="*/ 3978934 w 12192000"/>
              <a:gd name="connsiteY6" fmla="*/ 2944524 h 6858000"/>
              <a:gd name="connsiteX7" fmla="*/ 3317987 w 12192000"/>
              <a:gd name="connsiteY7" fmla="*/ 2282405 h 6858000"/>
              <a:gd name="connsiteX8" fmla="*/ 3317987 w 12192000"/>
              <a:gd name="connsiteY8" fmla="*/ 2147119 h 6858000"/>
              <a:gd name="connsiteX9" fmla="*/ 2657041 w 12192000"/>
              <a:gd name="connsiteY9" fmla="*/ 1485000 h 6858000"/>
              <a:gd name="connsiteX10" fmla="*/ 1289697 w 12192000"/>
              <a:gd name="connsiteY10" fmla="*/ 1485000 h 6858000"/>
              <a:gd name="connsiteX11" fmla="*/ 628750 w 12192000"/>
              <a:gd name="connsiteY11" fmla="*/ 2147119 h 6858000"/>
              <a:gd name="connsiteX12" fmla="*/ 628750 w 12192000"/>
              <a:gd name="connsiteY12" fmla="*/ 5399178 h 6858000"/>
              <a:gd name="connsiteX13" fmla="*/ 100965 w 12192000"/>
              <a:gd name="connsiteY13" fmla="*/ 6047839 h 6858000"/>
              <a:gd name="connsiteX14" fmla="*/ 0 w 12192000"/>
              <a:gd name="connsiteY14" fmla="*/ 6058043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7434300" y="6858000"/>
                </a:lnTo>
                <a:lnTo>
                  <a:pt x="7434300" y="3606644"/>
                </a:lnTo>
                <a:cubicBezTo>
                  <a:pt x="7434300" y="3241112"/>
                  <a:pt x="7138236" y="2944524"/>
                  <a:pt x="6773352" y="2944524"/>
                </a:cubicBezTo>
                <a:lnTo>
                  <a:pt x="3978934" y="2944524"/>
                </a:lnTo>
                <a:cubicBezTo>
                  <a:pt x="3614051" y="2944524"/>
                  <a:pt x="3317987" y="2647936"/>
                  <a:pt x="3317987" y="2282405"/>
                </a:cubicBezTo>
                <a:lnTo>
                  <a:pt x="3317987" y="2147119"/>
                </a:lnTo>
                <a:cubicBezTo>
                  <a:pt x="3317987" y="1781588"/>
                  <a:pt x="3021925" y="1485000"/>
                  <a:pt x="2657041" y="1485000"/>
                </a:cubicBezTo>
                <a:lnTo>
                  <a:pt x="1289697" y="1485000"/>
                </a:lnTo>
                <a:cubicBezTo>
                  <a:pt x="924814" y="1485000"/>
                  <a:pt x="628750" y="1781588"/>
                  <a:pt x="628750" y="2147119"/>
                </a:cubicBezTo>
                <a:lnTo>
                  <a:pt x="628750" y="5399178"/>
                </a:lnTo>
                <a:cubicBezTo>
                  <a:pt x="628750" y="5719018"/>
                  <a:pt x="402077" y="5986073"/>
                  <a:pt x="100965" y="6047839"/>
                </a:cubicBezTo>
                <a:lnTo>
                  <a:pt x="0" y="6058043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bIns="576000" anchor="ctr">
            <a:noAutofit/>
          </a:bodyPr>
          <a:lstStyle>
            <a:lvl1pPr marL="0" indent="0" algn="ctr">
              <a:spcAft>
                <a:spcPts val="0"/>
              </a:spcAft>
              <a:buFont typeface="+mn-lt" panose="020B0604020202020204" pitchFamily="34" charset="0"/>
              <a:buNone/>
              <a:tabLst/>
              <a:defRPr sz="1000" baseline="0">
                <a:solidFill>
                  <a:schemeClr val="bg1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1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defRPr sz="1000">
                <a:solidFill>
                  <a:schemeClr val="bg1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defRPr sz="1000">
                <a:solidFill>
                  <a:schemeClr val="bg1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defRPr sz="1000">
                <a:solidFill>
                  <a:schemeClr val="bg1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defRPr sz="1000">
                <a:solidFill>
                  <a:schemeClr val="bg1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defRPr sz="1000">
                <a:solidFill>
                  <a:schemeClr val="bg1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defRPr sz="1000">
                <a:solidFill>
                  <a:schemeClr val="bg1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defRPr sz="1000">
                <a:solidFill>
                  <a:schemeClr val="bg1"/>
                </a:solidFill>
                <a:latin typeface="+mn-lt"/>
              </a:defRPr>
            </a:lvl9pPr>
          </a:lstStyle>
          <a:p>
            <a:r>
              <a:rPr lang="en-US" dirty="0"/>
              <a:t>Add picture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89A69EF6-EF93-45A3-A9B7-C46A6B42842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1028666" y="5566887"/>
            <a:ext cx="3118173" cy="838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639761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 animBg="1"/>
    </p:bldLst>
  </p:timing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FD738C6-9A57-4395-A6D0-7BEDA9F5432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line short </a:t>
            </a:r>
            <a:r>
              <a:rPr lang="en-US" dirty="0" err="1"/>
              <a:t>40pt</a:t>
            </a:r>
            <a:r>
              <a:rPr lang="en-US" dirty="0"/>
              <a:t> (double-spaced headline </a:t>
            </a:r>
            <a:r>
              <a:rPr lang="en-US" dirty="0" err="1"/>
              <a:t>24pt</a:t>
            </a:r>
            <a:r>
              <a:rPr lang="en-US" dirty="0"/>
              <a:t>)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57247357-DB70-4BEB-B0F5-3D9B8B5D6D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confidential, internal, public | Author | Topic of presentation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221700B-8639-459A-9DB3-8908E707983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1A5E10D-79A5-49BA-9648-53481340C65F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7345169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ußzeilenplatzhalter 4">
            <a:extLst>
              <a:ext uri="{FF2B5EF4-FFF2-40B4-BE49-F238E27FC236}">
                <a16:creationId xmlns:a16="http://schemas.microsoft.com/office/drawing/2014/main" id="{88F366C2-84D4-4B52-8F19-47225EFA326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black">
          <a:xfrm>
            <a:off x="2352000" y="6385644"/>
            <a:ext cx="7488000" cy="324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ctr">
              <a:defRPr sz="90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onfidential, internal, public | Author | Topic of presentation</a:t>
            </a:r>
          </a:p>
        </p:txBody>
      </p:sp>
      <p:sp>
        <p:nvSpPr>
          <p:cNvPr id="8" name="Foliennummernplatzhalter 5">
            <a:extLst>
              <a:ext uri="{FF2B5EF4-FFF2-40B4-BE49-F238E27FC236}">
                <a16:creationId xmlns:a16="http://schemas.microsoft.com/office/drawing/2014/main" id="{C5366064-1808-4159-BB7D-81B4B8BCFDB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black">
          <a:xfrm>
            <a:off x="11676000" y="6385644"/>
            <a:ext cx="252000" cy="324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fld id="{A1A5E10D-79A5-49BA-9648-53481340C65F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527618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1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33E96A5-93EA-451A-88A2-0C4325907D9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/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 dirty="0"/>
              <a:t>Headline short </a:t>
            </a:r>
            <a:r>
              <a:rPr lang="en-US" dirty="0" err="1"/>
              <a:t>40pt</a:t>
            </a:r>
            <a:r>
              <a:rPr lang="en-US" dirty="0"/>
              <a:t> (double-spaced headline </a:t>
            </a:r>
            <a:r>
              <a:rPr lang="en-US" dirty="0" err="1"/>
              <a:t>24pt</a:t>
            </a:r>
            <a:r>
              <a:rPr lang="en-US" dirty="0"/>
              <a:t>)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E5D6AE95-30E2-4E14-9028-628793137D1D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 bwMode="gray">
          <a:xfrm>
            <a:off x="624000" y="1484313"/>
            <a:ext cx="5328000" cy="4752000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Inhaltsplatzhalter 9">
            <a:extLst>
              <a:ext uri="{FF2B5EF4-FFF2-40B4-BE49-F238E27FC236}">
                <a16:creationId xmlns:a16="http://schemas.microsoft.com/office/drawing/2014/main" id="{20BABE80-E0D1-46E7-8B60-730D1088E23E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 bwMode="gray">
          <a:xfrm>
            <a:off x="6240000" y="1483726"/>
            <a:ext cx="5328000" cy="4752000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ußzeilenplatzhalter 4">
            <a:extLst>
              <a:ext uri="{FF2B5EF4-FFF2-40B4-BE49-F238E27FC236}">
                <a16:creationId xmlns:a16="http://schemas.microsoft.com/office/drawing/2014/main" id="{0FE876BA-660A-4BDA-B0EE-7D586FC0DA9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black">
          <a:xfrm>
            <a:off x="2352000" y="6385644"/>
            <a:ext cx="7488000" cy="324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ctr">
              <a:defRPr sz="9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onfidential, internal, public | Author | Topic of presentation</a:t>
            </a:r>
          </a:p>
        </p:txBody>
      </p:sp>
      <p:sp>
        <p:nvSpPr>
          <p:cNvPr id="9" name="Foliennummernplatzhalter 5">
            <a:extLst>
              <a:ext uri="{FF2B5EF4-FFF2-40B4-BE49-F238E27FC236}">
                <a16:creationId xmlns:a16="http://schemas.microsoft.com/office/drawing/2014/main" id="{0F9F7CD9-F054-465B-93B6-B23B34D2B34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black">
          <a:xfrm>
            <a:off x="11676000" y="6385644"/>
            <a:ext cx="252000" cy="324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fld id="{A1A5E10D-79A5-49BA-9648-53481340C65F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7259182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4CF5EE6-FFD8-44FD-9C80-95B68F34D24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/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 dirty="0"/>
              <a:t>Headline short </a:t>
            </a:r>
            <a:r>
              <a:rPr lang="en-US" dirty="0" err="1"/>
              <a:t>40pt</a:t>
            </a:r>
            <a:r>
              <a:rPr lang="en-US" dirty="0"/>
              <a:t> (double-spaced headline </a:t>
            </a:r>
            <a:r>
              <a:rPr lang="en-US" dirty="0" err="1"/>
              <a:t>24pt</a:t>
            </a:r>
            <a:r>
              <a:rPr lang="en-US" dirty="0"/>
              <a:t>)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2422070A-7303-4B7F-93D4-191685839B59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 bwMode="black">
          <a:xfrm>
            <a:off x="624000" y="1484313"/>
            <a:ext cx="3456000" cy="4752000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Inhaltsplatzhalter 10">
            <a:extLst>
              <a:ext uri="{FF2B5EF4-FFF2-40B4-BE49-F238E27FC236}">
                <a16:creationId xmlns:a16="http://schemas.microsoft.com/office/drawing/2014/main" id="{7D9598B6-CEA7-42C6-8376-9C8FFAD9B4C1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 bwMode="black">
          <a:xfrm>
            <a:off x="4368000" y="1484313"/>
            <a:ext cx="3456000" cy="4752000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Inhaltsplatzhalter 12">
            <a:extLst>
              <a:ext uri="{FF2B5EF4-FFF2-40B4-BE49-F238E27FC236}">
                <a16:creationId xmlns:a16="http://schemas.microsoft.com/office/drawing/2014/main" id="{508F3AD6-ECB1-46C4-8C4D-7E86183245A7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 bwMode="black">
          <a:xfrm>
            <a:off x="8112000" y="1484313"/>
            <a:ext cx="3456000" cy="4752000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Fußzeilenplatzhalter 4">
            <a:extLst>
              <a:ext uri="{FF2B5EF4-FFF2-40B4-BE49-F238E27FC236}">
                <a16:creationId xmlns:a16="http://schemas.microsoft.com/office/drawing/2014/main" id="{632E1087-7F1F-483A-8287-85903BD1AAD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black">
          <a:xfrm>
            <a:off x="2352000" y="6385644"/>
            <a:ext cx="7488000" cy="324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ctr">
              <a:defRPr sz="90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onfidential, internal, public | Author | Topic of presentation</a:t>
            </a:r>
          </a:p>
        </p:txBody>
      </p:sp>
      <p:sp>
        <p:nvSpPr>
          <p:cNvPr id="14" name="Foliennummernplatzhalter 5">
            <a:extLst>
              <a:ext uri="{FF2B5EF4-FFF2-40B4-BE49-F238E27FC236}">
                <a16:creationId xmlns:a16="http://schemas.microsoft.com/office/drawing/2014/main" id="{DE03A498-F349-4FBD-AA2E-188DFC5FA43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black">
          <a:xfrm>
            <a:off x="11676000" y="6385644"/>
            <a:ext cx="252000" cy="324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fld id="{A1A5E10D-79A5-49BA-9648-53481340C65F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55727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4BE4F56-CAAF-476E-A2B9-F1A0D25C8BAC}"/>
              </a:ext>
            </a:extLst>
          </p:cNvPr>
          <p:cNvSpPr>
            <a:spLocks noGrp="1"/>
          </p:cNvSpPr>
          <p:nvPr>
            <p:ph type="title" sz="quarter" hasCustomPrompt="1"/>
          </p:nvPr>
        </p:nvSpPr>
        <p:spPr bwMode="black"/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 dirty="0"/>
              <a:t>Headline short </a:t>
            </a:r>
            <a:r>
              <a:rPr lang="en-US" dirty="0" err="1"/>
              <a:t>40pt</a:t>
            </a:r>
            <a:r>
              <a:rPr lang="en-US" dirty="0"/>
              <a:t> (double-spaced headline </a:t>
            </a:r>
            <a:r>
              <a:rPr lang="en-US" dirty="0" err="1"/>
              <a:t>24pt</a:t>
            </a:r>
            <a:r>
              <a:rPr lang="en-US" dirty="0"/>
              <a:t>)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C4B6057D-AA55-47BF-A331-2E2648C311B9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 bwMode="black">
          <a:xfrm>
            <a:off x="624000" y="1484313"/>
            <a:ext cx="2520000" cy="4752000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7D73B4FC-B74D-4CE7-B959-B58A486BFB4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 bwMode="black">
          <a:xfrm>
            <a:off x="3432000" y="1484313"/>
            <a:ext cx="2520000" cy="4752000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Inhaltsplatzhalter 9">
            <a:extLst>
              <a:ext uri="{FF2B5EF4-FFF2-40B4-BE49-F238E27FC236}">
                <a16:creationId xmlns:a16="http://schemas.microsoft.com/office/drawing/2014/main" id="{5C02444F-BCE5-47EE-A8CF-C44F258655A7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 bwMode="black">
          <a:xfrm>
            <a:off x="6240000" y="1484313"/>
            <a:ext cx="2520000" cy="4752000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Inhaltsplatzhalter 13">
            <a:extLst>
              <a:ext uri="{FF2B5EF4-FFF2-40B4-BE49-F238E27FC236}">
                <a16:creationId xmlns:a16="http://schemas.microsoft.com/office/drawing/2014/main" id="{747D8B36-797B-4379-B1D3-EFD569BF81EF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 bwMode="black">
          <a:xfrm>
            <a:off x="9048000" y="1484313"/>
            <a:ext cx="2520000" cy="4752000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Fußzeilenplatzhalter 4">
            <a:extLst>
              <a:ext uri="{FF2B5EF4-FFF2-40B4-BE49-F238E27FC236}">
                <a16:creationId xmlns:a16="http://schemas.microsoft.com/office/drawing/2014/main" id="{6C65CFB4-A844-4779-A714-AD3EA88CC56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black">
          <a:xfrm>
            <a:off x="2352000" y="6385644"/>
            <a:ext cx="7488000" cy="324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ctr">
              <a:defRPr sz="9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onfidential, internal, public | Author | Topic of presentation</a:t>
            </a:r>
          </a:p>
        </p:txBody>
      </p:sp>
      <p:sp>
        <p:nvSpPr>
          <p:cNvPr id="15" name="Foliennummernplatzhalter 5">
            <a:extLst>
              <a:ext uri="{FF2B5EF4-FFF2-40B4-BE49-F238E27FC236}">
                <a16:creationId xmlns:a16="http://schemas.microsoft.com/office/drawing/2014/main" id="{86CAAAA5-D5B7-4721-A124-3751412041F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black">
          <a:xfrm>
            <a:off x="11676000" y="6385644"/>
            <a:ext cx="252000" cy="324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fld id="{A1A5E10D-79A5-49BA-9648-53481340C65F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682552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s with highlight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8A968421-13D9-452E-9E1F-D6F5FE4699B5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 bwMode="black">
          <a:xfrm>
            <a:off x="624000" y="1484313"/>
            <a:ext cx="3456000" cy="4752000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Inhaltsplatzhalter 9">
            <a:extLst>
              <a:ext uri="{FF2B5EF4-FFF2-40B4-BE49-F238E27FC236}">
                <a16:creationId xmlns:a16="http://schemas.microsoft.com/office/drawing/2014/main" id="{61FA861B-DD93-4B8B-8DB8-0BCD738A172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 bwMode="black">
          <a:xfrm>
            <a:off x="4368000" y="1484313"/>
            <a:ext cx="3456000" cy="4752000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Freihandform: Form 13">
            <a:extLst>
              <a:ext uri="{FF2B5EF4-FFF2-40B4-BE49-F238E27FC236}">
                <a16:creationId xmlns:a16="http://schemas.microsoft.com/office/drawing/2014/main" id="{9EED2250-7C4A-4786-AAFC-BA534599C4B9}"/>
              </a:ext>
            </a:extLst>
          </p:cNvPr>
          <p:cNvSpPr/>
          <p:nvPr/>
        </p:nvSpPr>
        <p:spPr bwMode="grayWhite">
          <a:xfrm>
            <a:off x="8112000" y="1485000"/>
            <a:ext cx="3456000" cy="5373000"/>
          </a:xfrm>
          <a:custGeom>
            <a:avLst/>
            <a:gdLst>
              <a:gd name="connsiteX0" fmla="*/ 521984 w 3456000"/>
              <a:gd name="connsiteY0" fmla="*/ 0 h 5373000"/>
              <a:gd name="connsiteX1" fmla="*/ 2933364 w 3456000"/>
              <a:gd name="connsiteY1" fmla="*/ 0 h 5373000"/>
              <a:gd name="connsiteX2" fmla="*/ 3455348 w 3456000"/>
              <a:gd name="connsiteY2" fmla="*/ 522636 h 5373000"/>
              <a:gd name="connsiteX3" fmla="*/ 3455348 w 3456000"/>
              <a:gd name="connsiteY3" fmla="*/ 1800000 h 5373000"/>
              <a:gd name="connsiteX4" fmla="*/ 3456000 w 3456000"/>
              <a:gd name="connsiteY4" fmla="*/ 1800000 h 5373000"/>
              <a:gd name="connsiteX5" fmla="*/ 3456000 w 3456000"/>
              <a:gd name="connsiteY5" fmla="*/ 5373000 h 5373000"/>
              <a:gd name="connsiteX6" fmla="*/ 0 w 3456000"/>
              <a:gd name="connsiteY6" fmla="*/ 5373000 h 5373000"/>
              <a:gd name="connsiteX7" fmla="*/ 0 w 3456000"/>
              <a:gd name="connsiteY7" fmla="*/ 4820371 h 5373000"/>
              <a:gd name="connsiteX8" fmla="*/ 0 w 3456000"/>
              <a:gd name="connsiteY8" fmla="*/ 1800000 h 5373000"/>
              <a:gd name="connsiteX9" fmla="*/ 0 w 3456000"/>
              <a:gd name="connsiteY9" fmla="*/ 522636 h 5373000"/>
              <a:gd name="connsiteX10" fmla="*/ 521984 w 3456000"/>
              <a:gd name="connsiteY10" fmla="*/ 0 h 537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3456000" h="5373000">
                <a:moveTo>
                  <a:pt x="521984" y="0"/>
                </a:moveTo>
                <a:lnTo>
                  <a:pt x="2933364" y="0"/>
                </a:lnTo>
                <a:cubicBezTo>
                  <a:pt x="3223790" y="0"/>
                  <a:pt x="3455566" y="235469"/>
                  <a:pt x="3455348" y="522636"/>
                </a:cubicBezTo>
                <a:lnTo>
                  <a:pt x="3455348" y="1800000"/>
                </a:lnTo>
                <a:lnTo>
                  <a:pt x="3456000" y="1800000"/>
                </a:lnTo>
                <a:lnTo>
                  <a:pt x="3456000" y="5373000"/>
                </a:lnTo>
                <a:lnTo>
                  <a:pt x="0" y="5373000"/>
                </a:lnTo>
                <a:lnTo>
                  <a:pt x="0" y="4820371"/>
                </a:lnTo>
                <a:lnTo>
                  <a:pt x="0" y="1800000"/>
                </a:lnTo>
                <a:lnTo>
                  <a:pt x="0" y="522636"/>
                </a:lnTo>
                <a:cubicBezTo>
                  <a:pt x="0" y="231776"/>
                  <a:pt x="235251" y="0"/>
                  <a:pt x="521984" y="0"/>
                </a:cubicBezTo>
                <a:close/>
              </a:path>
            </a:pathLst>
          </a:custGeom>
          <a:solidFill>
            <a:srgbClr val="E20074"/>
          </a:solidFill>
          <a:ln w="2167" cap="flat">
            <a:noFill/>
            <a:prstDash val="solid"/>
            <a:miter/>
          </a:ln>
        </p:spPr>
        <p:txBody>
          <a:bodyPr rtlCol="0" anchor="ctr">
            <a:noAutofit/>
          </a:bodyPr>
          <a:lstStyle/>
          <a:p>
            <a:endParaRPr lang="en-US" dirty="0"/>
          </a:p>
        </p:txBody>
      </p:sp>
      <p:sp>
        <p:nvSpPr>
          <p:cNvPr id="9" name="Fußzeilenplatzhalter 4">
            <a:extLst>
              <a:ext uri="{FF2B5EF4-FFF2-40B4-BE49-F238E27FC236}">
                <a16:creationId xmlns:a16="http://schemas.microsoft.com/office/drawing/2014/main" id="{0FBB7A04-3353-4076-9E8F-DE76A27E2B7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black">
          <a:xfrm>
            <a:off x="2352000" y="6385644"/>
            <a:ext cx="7488000" cy="324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ctr">
              <a:defRPr sz="9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onfidential, internal, public | Author | Topic of presentation</a:t>
            </a:r>
          </a:p>
        </p:txBody>
      </p:sp>
      <p:sp>
        <p:nvSpPr>
          <p:cNvPr id="15" name="Foliennummernplatzhalter 5">
            <a:extLst>
              <a:ext uri="{FF2B5EF4-FFF2-40B4-BE49-F238E27FC236}">
                <a16:creationId xmlns:a16="http://schemas.microsoft.com/office/drawing/2014/main" id="{B36B2A9C-2AE1-4DF0-B0E2-1599F37C73D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black">
          <a:xfrm>
            <a:off x="11676000" y="6385644"/>
            <a:ext cx="252000" cy="324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fld id="{A1A5E10D-79A5-49BA-9648-53481340C65F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97BBEDD2-BE9F-4A3C-BB81-2353AC6C549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line short </a:t>
            </a:r>
            <a:r>
              <a:rPr lang="en-US" dirty="0" err="1"/>
              <a:t>40pt</a:t>
            </a:r>
            <a:r>
              <a:rPr lang="en-US" dirty="0"/>
              <a:t> (double-spaced headline </a:t>
            </a:r>
            <a:r>
              <a:rPr lang="en-US" dirty="0" err="1"/>
              <a:t>24pt</a:t>
            </a:r>
            <a:r>
              <a:rPr lang="en-US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44779617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high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93F1334-0C30-417F-8C36-14E54C69E58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/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 dirty="0"/>
              <a:t>Headline short </a:t>
            </a:r>
            <a:r>
              <a:rPr lang="en-US" dirty="0" err="1"/>
              <a:t>40pt</a:t>
            </a:r>
            <a:r>
              <a:rPr lang="en-US" dirty="0"/>
              <a:t> (double-spaced headline </a:t>
            </a:r>
            <a:r>
              <a:rPr lang="en-US" dirty="0" err="1"/>
              <a:t>24pt</a:t>
            </a:r>
            <a:r>
              <a:rPr lang="en-US" dirty="0"/>
              <a:t>)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2390C6A2-43FF-4452-B80E-84686F69C3A3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 bwMode="black">
          <a:xfrm>
            <a:off x="624000" y="1484588"/>
            <a:ext cx="3456000" cy="4752000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ußzeilenplatzhalter 4">
            <a:extLst>
              <a:ext uri="{FF2B5EF4-FFF2-40B4-BE49-F238E27FC236}">
                <a16:creationId xmlns:a16="http://schemas.microsoft.com/office/drawing/2014/main" id="{2CA408DC-84BF-4622-883C-E5CF2D4C1F1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black">
          <a:xfrm>
            <a:off x="2352000" y="6385644"/>
            <a:ext cx="7488000" cy="324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ctr">
              <a:defRPr sz="9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onfidential, internal, public | Author | Topic of presentation</a:t>
            </a:r>
          </a:p>
        </p:txBody>
      </p:sp>
      <p:sp>
        <p:nvSpPr>
          <p:cNvPr id="10" name="Foliennummernplatzhalter 5">
            <a:extLst>
              <a:ext uri="{FF2B5EF4-FFF2-40B4-BE49-F238E27FC236}">
                <a16:creationId xmlns:a16="http://schemas.microsoft.com/office/drawing/2014/main" id="{16A0FC59-58B0-4C99-B9CE-643FCC7D75F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black">
          <a:xfrm>
            <a:off x="11676000" y="6385644"/>
            <a:ext cx="252000" cy="324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fld id="{A1A5E10D-79A5-49BA-9648-53481340C65F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11" name="Freihandform: Form 10">
            <a:extLst>
              <a:ext uri="{FF2B5EF4-FFF2-40B4-BE49-F238E27FC236}">
                <a16:creationId xmlns:a16="http://schemas.microsoft.com/office/drawing/2014/main" id="{016A2F1E-AA29-4BA6-8F70-3BCCD073A91F}"/>
              </a:ext>
            </a:extLst>
          </p:cNvPr>
          <p:cNvSpPr/>
          <p:nvPr/>
        </p:nvSpPr>
        <p:spPr bwMode="grayWhite">
          <a:xfrm>
            <a:off x="4370020" y="1484999"/>
            <a:ext cx="7821980" cy="4257860"/>
          </a:xfrm>
          <a:custGeom>
            <a:avLst/>
            <a:gdLst>
              <a:gd name="connsiteX0" fmla="*/ 442664 w 7821980"/>
              <a:gd name="connsiteY0" fmla="*/ 0 h 4257860"/>
              <a:gd name="connsiteX1" fmla="*/ 7821980 w 7821980"/>
              <a:gd name="connsiteY1" fmla="*/ 0 h 4257860"/>
              <a:gd name="connsiteX2" fmla="*/ 7821980 w 7821980"/>
              <a:gd name="connsiteY2" fmla="*/ 4257860 h 4257860"/>
              <a:gd name="connsiteX3" fmla="*/ 442664 w 7821980"/>
              <a:gd name="connsiteY3" fmla="*/ 4257860 h 4257860"/>
              <a:gd name="connsiteX4" fmla="*/ 0 w 7821980"/>
              <a:gd name="connsiteY4" fmla="*/ 3814543 h 4257860"/>
              <a:gd name="connsiteX5" fmla="*/ 0 w 7821980"/>
              <a:gd name="connsiteY5" fmla="*/ 443317 h 4257860"/>
              <a:gd name="connsiteX6" fmla="*/ 442664 w 7821980"/>
              <a:gd name="connsiteY6" fmla="*/ 0 h 42578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821980" h="4257860">
                <a:moveTo>
                  <a:pt x="442664" y="0"/>
                </a:moveTo>
                <a:lnTo>
                  <a:pt x="7821980" y="0"/>
                </a:lnTo>
                <a:lnTo>
                  <a:pt x="7821980" y="4257860"/>
                </a:lnTo>
                <a:lnTo>
                  <a:pt x="442664" y="4257860"/>
                </a:lnTo>
                <a:cubicBezTo>
                  <a:pt x="196451" y="4257860"/>
                  <a:pt x="0" y="4057831"/>
                  <a:pt x="0" y="3814543"/>
                </a:cubicBezTo>
                <a:lnTo>
                  <a:pt x="0" y="443317"/>
                </a:lnTo>
                <a:cubicBezTo>
                  <a:pt x="0" y="196777"/>
                  <a:pt x="199378" y="0"/>
                  <a:pt x="442664" y="0"/>
                </a:cubicBezTo>
                <a:close/>
              </a:path>
            </a:pathLst>
          </a:custGeom>
          <a:solidFill>
            <a:srgbClr val="E20074"/>
          </a:solidFill>
          <a:ln w="3019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6762956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8F2A4CF4-F40B-4E8A-9194-82C4992C32F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black">
          <a:xfrm>
            <a:off x="2529376" y="2925000"/>
            <a:ext cx="7742624" cy="2448000"/>
          </a:xfrm>
        </p:spPr>
        <p:txBody>
          <a:bodyPr anchor="ctr">
            <a:noAutofit/>
          </a:bodyPr>
          <a:lstStyle>
            <a:lvl1pPr marL="0" indent="0">
              <a:lnSpc>
                <a:spcPct val="80000"/>
              </a:lnSpc>
              <a:buFont typeface="+mn-lt" panose="020B0604020202020204" pitchFamily="34" charset="0"/>
              <a:buNone/>
              <a:defRPr sz="4000">
                <a:solidFill>
                  <a:schemeClr val="bg1"/>
                </a:solidFill>
                <a:latin typeface="+mj-lt"/>
              </a:defRPr>
            </a:lvl1pPr>
            <a:lvl2pPr marL="0" indent="0" algn="r">
              <a:lnSpc>
                <a:spcPct val="80000"/>
              </a:lnSpc>
              <a:spcBef>
                <a:spcPts val="1200"/>
              </a:spcBef>
              <a:spcAft>
                <a:spcPts val="0"/>
              </a:spcAft>
              <a:buFont typeface="+mn-lt" panose="020B0604020202020204" pitchFamily="34" charset="0"/>
              <a:buNone/>
              <a:defRPr sz="1800">
                <a:solidFill>
                  <a:schemeClr val="bg1"/>
                </a:solidFill>
                <a:latin typeface="+mn-lt"/>
              </a:defRPr>
            </a:lvl2pPr>
            <a:lvl3pPr marL="0" indent="0" algn="r">
              <a:lnSpc>
                <a:spcPct val="8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  <a:latin typeface="+mn-lt"/>
              </a:defRPr>
            </a:lvl3pPr>
            <a:lvl4pPr marL="0" indent="0" algn="r">
              <a:lnSpc>
                <a:spcPct val="8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  <a:latin typeface="+mn-lt"/>
              </a:defRPr>
            </a:lvl4pPr>
            <a:lvl5pPr marL="0" indent="0" algn="r">
              <a:lnSpc>
                <a:spcPct val="8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  <a:latin typeface="+mn-lt"/>
              </a:defRPr>
            </a:lvl5pPr>
            <a:lvl6pPr marL="0" indent="0" algn="r">
              <a:lnSpc>
                <a:spcPct val="8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  <a:latin typeface="+mn-lt"/>
              </a:defRPr>
            </a:lvl6pPr>
            <a:lvl7pPr marL="0" indent="0" algn="r">
              <a:lnSpc>
                <a:spcPct val="8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  <a:latin typeface="+mn-lt"/>
              </a:defRPr>
            </a:lvl7pPr>
            <a:lvl8pPr marL="0" indent="0" algn="r">
              <a:lnSpc>
                <a:spcPct val="8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  <a:latin typeface="+mn-lt"/>
              </a:defRPr>
            </a:lvl8pPr>
            <a:lvl9pPr marL="0" indent="0" algn="r">
              <a:lnSpc>
                <a:spcPct val="8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“Click to insert a powerful quote, multi-lined possible”</a:t>
            </a:r>
          </a:p>
          <a:p>
            <a:pPr lvl="1"/>
            <a:r>
              <a:rPr lang="en-US" dirty="0"/>
              <a:t>– Author</a:t>
            </a:r>
          </a:p>
        </p:txBody>
      </p:sp>
      <p:sp>
        <p:nvSpPr>
          <p:cNvPr id="31" name="Bildplatzhalter 30">
            <a:extLst>
              <a:ext uri="{FF2B5EF4-FFF2-40B4-BE49-F238E27FC236}">
                <a16:creationId xmlns:a16="http://schemas.microsoft.com/office/drawing/2014/main" id="{7A44F123-0F06-457E-ACE5-ACFD7CF0BB04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ltGray">
          <a:xfrm>
            <a:off x="0" y="0"/>
            <a:ext cx="6097097" cy="6858000"/>
          </a:xfrm>
          <a:custGeom>
            <a:avLst/>
            <a:gdLst>
              <a:gd name="connsiteX0" fmla="*/ 0 w 6097097"/>
              <a:gd name="connsiteY0" fmla="*/ 0 h 6858000"/>
              <a:gd name="connsiteX1" fmla="*/ 6097097 w 6097097"/>
              <a:gd name="connsiteY1" fmla="*/ 0 h 6858000"/>
              <a:gd name="connsiteX2" fmla="*/ 6097097 w 6097097"/>
              <a:gd name="connsiteY2" fmla="*/ 808991 h 6858000"/>
              <a:gd name="connsiteX3" fmla="*/ 5438531 w 6097097"/>
              <a:gd name="connsiteY3" fmla="*/ 1482091 h 6858000"/>
              <a:gd name="connsiteX4" fmla="*/ 1286265 w 6097097"/>
              <a:gd name="connsiteY4" fmla="*/ 1482091 h 6858000"/>
              <a:gd name="connsiteX5" fmla="*/ 627700 w 6097097"/>
              <a:gd name="connsiteY5" fmla="*/ 2155191 h 6858000"/>
              <a:gd name="connsiteX6" fmla="*/ 627700 w 6097097"/>
              <a:gd name="connsiteY6" fmla="*/ 6858000 h 6858000"/>
              <a:gd name="connsiteX7" fmla="*/ 0 w 6097097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097097" h="6858000">
                <a:moveTo>
                  <a:pt x="0" y="0"/>
                </a:moveTo>
                <a:lnTo>
                  <a:pt x="6097097" y="0"/>
                </a:lnTo>
                <a:lnTo>
                  <a:pt x="6097097" y="808991"/>
                </a:lnTo>
                <a:cubicBezTo>
                  <a:pt x="6097097" y="1181100"/>
                  <a:pt x="5802141" y="1482091"/>
                  <a:pt x="5438531" y="1482091"/>
                </a:cubicBezTo>
                <a:lnTo>
                  <a:pt x="1286265" y="1482091"/>
                </a:lnTo>
                <a:cubicBezTo>
                  <a:pt x="922656" y="1482091"/>
                  <a:pt x="627700" y="1783080"/>
                  <a:pt x="627700" y="2155191"/>
                </a:cubicBezTo>
                <a:lnTo>
                  <a:pt x="6277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bIns="576000" anchor="ctr">
            <a:noAutofit/>
          </a:bodyPr>
          <a:lstStyle>
            <a:lvl1pPr marL="0" indent="0" algn="ctr" defTabSz="179388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1"/>
                </a:solidFill>
                <a:latin typeface="+mn-lt"/>
              </a:defRPr>
            </a:lvl1pPr>
            <a:lvl2pPr marL="0" indent="0" algn="ctr" defTabSz="179388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1"/>
                </a:solidFill>
                <a:latin typeface="+mn-lt"/>
              </a:defRPr>
            </a:lvl2pPr>
            <a:lvl3pPr marL="0" indent="0" algn="ctr" defTabSz="179388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1"/>
                </a:solidFill>
                <a:latin typeface="+mn-lt"/>
              </a:defRPr>
            </a:lvl3pPr>
            <a:lvl4pPr marL="0" indent="0" algn="ctr" defTabSz="179388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1"/>
                </a:solidFill>
                <a:latin typeface="+mn-lt"/>
              </a:defRPr>
            </a:lvl4pPr>
            <a:lvl5pPr marL="0" indent="0" algn="ctr" defTabSz="179388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1"/>
                </a:solidFill>
                <a:latin typeface="+mn-lt"/>
              </a:defRPr>
            </a:lvl5pPr>
            <a:lvl6pPr marL="0" indent="0" algn="ctr" defTabSz="179388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1"/>
                </a:solidFill>
                <a:latin typeface="+mn-lt"/>
              </a:defRPr>
            </a:lvl6pPr>
            <a:lvl7pPr marL="0" indent="0" algn="ctr" defTabSz="179388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1"/>
                </a:solidFill>
                <a:latin typeface="+mn-lt"/>
              </a:defRPr>
            </a:lvl7pPr>
            <a:lvl8pPr marL="0" indent="0" algn="ctr" defTabSz="179388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1"/>
                </a:solidFill>
                <a:latin typeface="+mn-lt"/>
              </a:defRPr>
            </a:lvl8pPr>
            <a:lvl9pPr marL="0" indent="0" algn="ctr" defTabSz="179388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1"/>
                </a:solidFill>
                <a:latin typeface="+mn-lt"/>
              </a:defRPr>
            </a:lvl9pPr>
          </a:lstStyle>
          <a:p>
            <a:pPr marL="0" marR="0" lvl="4" indent="0" algn="ctr" defTabSz="17938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70000"/>
              <a:buFont typeface="+mn-lt" panose="020B0604020202020204" pitchFamily="34" charset="0"/>
              <a:buNone/>
              <a:tabLst/>
              <a:defRPr/>
            </a:pPr>
            <a:r>
              <a:rPr lang="en-US" dirty="0"/>
              <a:t>White background or add </a:t>
            </a:r>
            <a:br>
              <a:rPr lang="en-US" dirty="0"/>
            </a:br>
            <a:r>
              <a:rPr lang="en-US" dirty="0"/>
              <a:t>gradient as a picture</a:t>
            </a:r>
          </a:p>
        </p:txBody>
      </p:sp>
    </p:spTree>
    <p:extLst>
      <p:ext uri="{BB962C8B-B14F-4D97-AF65-F5344CB8AC3E}">
        <p14:creationId xmlns:p14="http://schemas.microsoft.com/office/powerpoint/2010/main" val="17632712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780" userDrawn="1">
          <p15:clr>
            <a:srgbClr val="FBAE40"/>
          </p15:clr>
        </p15:guide>
        <p15:guide id="3" orient="horz" pos="1324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73FB304-618D-40B7-940D-69DE27A219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/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 dirty="0"/>
              <a:t>Headline short </a:t>
            </a:r>
            <a:r>
              <a:rPr lang="en-US" dirty="0" err="1"/>
              <a:t>40pt</a:t>
            </a:r>
            <a:r>
              <a:rPr lang="en-US" dirty="0"/>
              <a:t> (double-spaced headline </a:t>
            </a:r>
            <a:r>
              <a:rPr lang="en-US" dirty="0" err="1"/>
              <a:t>24pt</a:t>
            </a:r>
            <a:r>
              <a:rPr lang="en-US" dirty="0"/>
              <a:t>)</a:t>
            </a:r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18C1C1B3-2B43-47F5-9FA0-80C6D4477A07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ltGray">
          <a:xfrm>
            <a:off x="6240016" y="1484313"/>
            <a:ext cx="5953200" cy="4752000"/>
          </a:xfrm>
        </p:spPr>
        <p:txBody>
          <a:bodyPr bIns="576000" anchor="ctr">
            <a:noAutofit/>
          </a:bodyPr>
          <a:lstStyle>
            <a:lvl1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2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2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tabLst>
                <a:tab pos="2687638" algn="l"/>
              </a:tabLst>
              <a:defRPr sz="1000">
                <a:solidFill>
                  <a:schemeClr val="bg2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9pPr>
          </a:lstStyle>
          <a:p>
            <a:pPr lvl="4"/>
            <a:r>
              <a:rPr lang="en-US" dirty="0"/>
              <a:t>Add picture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7B4C7612-0C84-4376-B998-B34EAE1F544D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 bwMode="black">
          <a:xfrm>
            <a:off x="624000" y="1484313"/>
            <a:ext cx="5328000" cy="4752000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ußzeilenplatzhalter 4">
            <a:extLst>
              <a:ext uri="{FF2B5EF4-FFF2-40B4-BE49-F238E27FC236}">
                <a16:creationId xmlns:a16="http://schemas.microsoft.com/office/drawing/2014/main" id="{CE733019-59A1-468F-8149-C6BE014E078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black">
          <a:xfrm>
            <a:off x="2352000" y="6385644"/>
            <a:ext cx="7488000" cy="324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ctr">
              <a:defRPr sz="9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onfidential, internal, public | Author | Topic of presentation</a:t>
            </a:r>
          </a:p>
        </p:txBody>
      </p:sp>
      <p:sp>
        <p:nvSpPr>
          <p:cNvPr id="9" name="Foliennummernplatzhalter 5">
            <a:extLst>
              <a:ext uri="{FF2B5EF4-FFF2-40B4-BE49-F238E27FC236}">
                <a16:creationId xmlns:a16="http://schemas.microsoft.com/office/drawing/2014/main" id="{30900683-23B4-4E4B-8F6A-858470B7788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black">
          <a:xfrm>
            <a:off x="11676000" y="6385644"/>
            <a:ext cx="252000" cy="324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fld id="{A1A5E10D-79A5-49BA-9648-53481340C65F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1392868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6902E79-B5C3-4A51-9C68-88010755DDB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/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 dirty="0"/>
              <a:t>Headline short </a:t>
            </a:r>
            <a:r>
              <a:rPr lang="en-US" dirty="0" err="1"/>
              <a:t>40pt</a:t>
            </a:r>
            <a:r>
              <a:rPr lang="en-US" dirty="0"/>
              <a:t> (double-spaced headline </a:t>
            </a:r>
            <a:r>
              <a:rPr lang="en-US" dirty="0" err="1"/>
              <a:t>24pt</a:t>
            </a:r>
            <a:r>
              <a:rPr lang="en-US" dirty="0"/>
              <a:t>)</a:t>
            </a:r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9CD48E90-58F3-40B4-B97C-453785FBBABC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 bwMode="black">
          <a:xfrm>
            <a:off x="8112000" y="1484313"/>
            <a:ext cx="3456000" cy="4752000"/>
          </a:xfrm>
        </p:spPr>
        <p:txBody>
          <a:bodyPr>
            <a:noAutofit/>
          </a:bodyPr>
          <a:lstStyle>
            <a:lvl5pPr>
              <a:defRPr/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A40AE5EC-538A-4BF1-ABC1-3EE1CF9C15F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ltGray">
          <a:xfrm>
            <a:off x="623392" y="1485312"/>
            <a:ext cx="7200561" cy="4752000"/>
          </a:xfrm>
        </p:spPr>
        <p:txBody>
          <a:bodyPr bIns="576000" anchor="ctr">
            <a:noAutofit/>
          </a:bodyPr>
          <a:lstStyle>
            <a:lvl1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tx1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tx1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defRPr sz="1000">
                <a:solidFill>
                  <a:schemeClr val="tx1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defRPr sz="1000">
                <a:solidFill>
                  <a:schemeClr val="tx1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defRPr sz="1000">
                <a:solidFill>
                  <a:schemeClr val="tx1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defRPr sz="1000">
                <a:solidFill>
                  <a:schemeClr val="tx1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defRPr sz="1000">
                <a:solidFill>
                  <a:schemeClr val="tx1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defRPr sz="1000">
                <a:solidFill>
                  <a:schemeClr val="tx1"/>
                </a:solidFill>
                <a:latin typeface="+mn-lt"/>
              </a:defRPr>
            </a:lvl9pPr>
          </a:lstStyle>
          <a:p>
            <a:pPr lvl="4"/>
            <a:r>
              <a:rPr lang="en-US" dirty="0"/>
              <a:t>Add Picture</a:t>
            </a:r>
          </a:p>
        </p:txBody>
      </p:sp>
      <p:sp>
        <p:nvSpPr>
          <p:cNvPr id="7" name="Fußzeilenplatzhalter 4">
            <a:extLst>
              <a:ext uri="{FF2B5EF4-FFF2-40B4-BE49-F238E27FC236}">
                <a16:creationId xmlns:a16="http://schemas.microsoft.com/office/drawing/2014/main" id="{59951EB1-629C-43B1-A98C-6998C808B08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black">
          <a:xfrm>
            <a:off x="2352000" y="6385644"/>
            <a:ext cx="7488000" cy="324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ctr">
              <a:defRPr sz="9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onfidential, internal, public | Author | Topic of presentation</a:t>
            </a:r>
          </a:p>
        </p:txBody>
      </p:sp>
      <p:sp>
        <p:nvSpPr>
          <p:cNvPr id="13" name="Foliennummernplatzhalter 5">
            <a:extLst>
              <a:ext uri="{FF2B5EF4-FFF2-40B4-BE49-F238E27FC236}">
                <a16:creationId xmlns:a16="http://schemas.microsoft.com/office/drawing/2014/main" id="{F360C192-BE70-4805-9FEF-F274374B650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black">
          <a:xfrm>
            <a:off x="11676000" y="6385644"/>
            <a:ext cx="252000" cy="324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fld id="{A1A5E10D-79A5-49BA-9648-53481340C65F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4525885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long 0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855CF3A-8745-495B-9FFE-CE92A5F4D68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black">
          <a:xfrm>
            <a:off x="624000" y="477000"/>
            <a:ext cx="6336000" cy="1944000"/>
          </a:xfrm>
        </p:spPr>
        <p:txBody>
          <a:bodyPr lIns="0" anchor="b"/>
          <a:lstStyle>
            <a:lvl1pPr algn="l">
              <a:lnSpc>
                <a:spcPct val="9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Title of presentation</a:t>
            </a:r>
            <a:endParaRPr lang="en-US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2931B0A1-8DE4-4F87-9296-AE72B35697A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624000" y="2601000"/>
            <a:ext cx="5472000" cy="504000"/>
          </a:xfrm>
        </p:spPr>
        <p:txBody>
          <a:bodyPr lIns="0"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900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2pPr>
            <a:lvl3pPr marL="0" indent="0" algn="l">
              <a:lnSpc>
                <a:spcPct val="900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3pPr>
            <a:lvl4pPr marL="0" indent="0" algn="l">
              <a:lnSpc>
                <a:spcPct val="900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4pPr>
            <a:lvl5pPr marL="0" indent="0" algn="l">
              <a:lnSpc>
                <a:spcPct val="900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5pPr>
            <a:lvl6pPr marL="0" indent="0" algn="l">
              <a:lnSpc>
                <a:spcPct val="900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6pPr>
            <a:lvl7pPr marL="0" indent="0" algn="l">
              <a:lnSpc>
                <a:spcPct val="900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7pPr>
            <a:lvl8pPr marL="0" indent="0" algn="l">
              <a:lnSpc>
                <a:spcPct val="900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8pPr>
            <a:lvl9pPr marL="0" indent="0" algn="l">
              <a:lnSpc>
                <a:spcPct val="900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9pPr>
          </a:lstStyle>
          <a:p>
            <a:r>
              <a:rPr lang="en-US" dirty="0"/>
              <a:t>Subtitle | Author | Place | Date</a:t>
            </a:r>
          </a:p>
        </p:txBody>
      </p:sp>
      <p:sp>
        <p:nvSpPr>
          <p:cNvPr id="22" name="Bildplatzhalter 21">
            <a:extLst>
              <a:ext uri="{FF2B5EF4-FFF2-40B4-BE49-F238E27FC236}">
                <a16:creationId xmlns:a16="http://schemas.microsoft.com/office/drawing/2014/main" id="{48E673EF-7D81-46BF-B450-0CBD30E9B8B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ltGray">
          <a:xfrm>
            <a:off x="0" y="0"/>
            <a:ext cx="12192000" cy="6858000"/>
          </a:xfrm>
          <a:custGeom>
            <a:avLst/>
            <a:gdLst>
              <a:gd name="connsiteX0" fmla="*/ 8759999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4509000 h 6858000"/>
              <a:gd name="connsiteX5" fmla="*/ 1 w 12192000"/>
              <a:gd name="connsiteY5" fmla="*/ 4509000 h 6858000"/>
              <a:gd name="connsiteX6" fmla="*/ 1538964 w 12192000"/>
              <a:gd name="connsiteY6" fmla="*/ 4509000 h 6858000"/>
              <a:gd name="connsiteX7" fmla="*/ 1546112 w 12192000"/>
              <a:gd name="connsiteY7" fmla="*/ 4509000 h 6858000"/>
              <a:gd name="connsiteX8" fmla="*/ 1691816 w 12192000"/>
              <a:gd name="connsiteY8" fmla="*/ 4509000 h 6858000"/>
              <a:gd name="connsiteX9" fmla="*/ 1699674 w 12192000"/>
              <a:gd name="connsiteY9" fmla="*/ 4509000 h 6858000"/>
              <a:gd name="connsiteX10" fmla="*/ 1861287 w 12192000"/>
              <a:gd name="connsiteY10" fmla="*/ 4509000 h 6858000"/>
              <a:gd name="connsiteX11" fmla="*/ 1869932 w 12192000"/>
              <a:gd name="connsiteY11" fmla="*/ 4509000 h 6858000"/>
              <a:gd name="connsiteX12" fmla="*/ 2227928 w 12192000"/>
              <a:gd name="connsiteY12" fmla="*/ 4509000 h 6858000"/>
              <a:gd name="connsiteX13" fmla="*/ 2238276 w 12192000"/>
              <a:gd name="connsiteY13" fmla="*/ 4509000 h 6858000"/>
              <a:gd name="connsiteX14" fmla="*/ 2594568 w 12192000"/>
              <a:gd name="connsiteY14" fmla="*/ 4509000 h 6858000"/>
              <a:gd name="connsiteX15" fmla="*/ 2606619 w 12192000"/>
              <a:gd name="connsiteY15" fmla="*/ 4509000 h 6858000"/>
              <a:gd name="connsiteX16" fmla="*/ 2764039 w 12192000"/>
              <a:gd name="connsiteY16" fmla="*/ 4509000 h 6858000"/>
              <a:gd name="connsiteX17" fmla="*/ 2776877 w 12192000"/>
              <a:gd name="connsiteY17" fmla="*/ 4509000 h 6858000"/>
              <a:gd name="connsiteX18" fmla="*/ 2916890 w 12192000"/>
              <a:gd name="connsiteY18" fmla="*/ 4509000 h 6858000"/>
              <a:gd name="connsiteX19" fmla="*/ 2930438 w 12192000"/>
              <a:gd name="connsiteY19" fmla="*/ 4509000 h 6858000"/>
              <a:gd name="connsiteX20" fmla="*/ 6257159 w 12192000"/>
              <a:gd name="connsiteY20" fmla="*/ 4509000 h 6858000"/>
              <a:gd name="connsiteX21" fmla="*/ 6286220 w 12192000"/>
              <a:gd name="connsiteY21" fmla="*/ 4509000 h 6858000"/>
              <a:gd name="connsiteX22" fmla="*/ 6979034 w 12192000"/>
              <a:gd name="connsiteY22" fmla="*/ 3819388 h 6858000"/>
              <a:gd name="connsiteX23" fmla="*/ 6979034 w 12192000"/>
              <a:gd name="connsiteY23" fmla="*/ 3140165 h 6858000"/>
              <a:gd name="connsiteX24" fmla="*/ 7671849 w 12192000"/>
              <a:gd name="connsiteY24" fmla="*/ 2450553 h 6858000"/>
              <a:gd name="connsiteX25" fmla="*/ 8029891 w 12192000"/>
              <a:gd name="connsiteY25" fmla="*/ 2450553 h 6858000"/>
              <a:gd name="connsiteX26" fmla="*/ 8067185 w 12192000"/>
              <a:gd name="connsiteY26" fmla="*/ 2450553 h 6858000"/>
              <a:gd name="connsiteX27" fmla="*/ 8759999 w 12192000"/>
              <a:gd name="connsiteY27" fmla="*/ 176094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12192000" h="6858000">
                <a:moveTo>
                  <a:pt x="8759999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lnTo>
                  <a:pt x="0" y="4509000"/>
                </a:lnTo>
                <a:lnTo>
                  <a:pt x="1" y="4509000"/>
                </a:lnTo>
                <a:lnTo>
                  <a:pt x="1538964" y="4509000"/>
                </a:lnTo>
                <a:lnTo>
                  <a:pt x="1546112" y="4509000"/>
                </a:lnTo>
                <a:lnTo>
                  <a:pt x="1691816" y="4509000"/>
                </a:lnTo>
                <a:lnTo>
                  <a:pt x="1699674" y="4509000"/>
                </a:lnTo>
                <a:lnTo>
                  <a:pt x="1861287" y="4509000"/>
                </a:lnTo>
                <a:lnTo>
                  <a:pt x="1869932" y="4509000"/>
                </a:lnTo>
                <a:lnTo>
                  <a:pt x="2227928" y="4509000"/>
                </a:lnTo>
                <a:lnTo>
                  <a:pt x="2238276" y="4509000"/>
                </a:lnTo>
                <a:lnTo>
                  <a:pt x="2594568" y="4509000"/>
                </a:lnTo>
                <a:lnTo>
                  <a:pt x="2606619" y="4509000"/>
                </a:lnTo>
                <a:lnTo>
                  <a:pt x="2764039" y="4509000"/>
                </a:lnTo>
                <a:lnTo>
                  <a:pt x="2776877" y="4509000"/>
                </a:lnTo>
                <a:lnTo>
                  <a:pt x="2916890" y="4509000"/>
                </a:lnTo>
                <a:lnTo>
                  <a:pt x="2930438" y="4509000"/>
                </a:lnTo>
                <a:lnTo>
                  <a:pt x="6257159" y="4509000"/>
                </a:lnTo>
                <a:lnTo>
                  <a:pt x="6286220" y="4509000"/>
                </a:lnTo>
                <a:cubicBezTo>
                  <a:pt x="6669812" y="4509000"/>
                  <a:pt x="6979034" y="4199908"/>
                  <a:pt x="6979034" y="3819388"/>
                </a:cubicBezTo>
                <a:lnTo>
                  <a:pt x="6979034" y="3140165"/>
                </a:lnTo>
                <a:cubicBezTo>
                  <a:pt x="6979034" y="2758346"/>
                  <a:pt x="7289562" y="2450553"/>
                  <a:pt x="7671849" y="2450553"/>
                </a:cubicBezTo>
                <a:lnTo>
                  <a:pt x="8029891" y="2450553"/>
                </a:lnTo>
                <a:lnTo>
                  <a:pt x="8067185" y="2450553"/>
                </a:lnTo>
                <a:cubicBezTo>
                  <a:pt x="8450777" y="2450553"/>
                  <a:pt x="8759999" y="2141461"/>
                  <a:pt x="8759999" y="1760941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 bIns="576000" anchor="ctr">
            <a:noAutofit/>
          </a:bodyPr>
          <a:lstStyle>
            <a:lvl1pPr marL="0" indent="0" algn="ctr">
              <a:spcAft>
                <a:spcPts val="0"/>
              </a:spcAft>
              <a:defRPr sz="1000">
                <a:solidFill>
                  <a:schemeClr val="bg1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defRPr sz="1000">
                <a:solidFill>
                  <a:schemeClr val="bg1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defRPr sz="1000">
                <a:solidFill>
                  <a:schemeClr val="bg1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defRPr sz="1000">
                <a:solidFill>
                  <a:schemeClr val="bg1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defRPr sz="1000">
                <a:solidFill>
                  <a:schemeClr val="bg1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defRPr sz="1000">
                <a:solidFill>
                  <a:schemeClr val="bg1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defRPr sz="1000">
                <a:solidFill>
                  <a:schemeClr val="bg1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defRPr sz="1000">
                <a:solidFill>
                  <a:schemeClr val="bg1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defRPr sz="100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Add picture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5A97AF30-21A1-4589-B77A-7798FC0A4D4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458329" y="3294037"/>
            <a:ext cx="3118173" cy="838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396455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icture (fullscal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id="{758364E8-4ECD-4C26-A5E5-021E95A628B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ltGray">
          <a:xfrm>
            <a:off x="0" y="0"/>
            <a:ext cx="12192000" cy="6858000"/>
          </a:xfrm>
        </p:spPr>
        <p:txBody>
          <a:bodyPr bIns="576000" anchor="ctr">
            <a:noAutofit/>
          </a:bodyPr>
          <a:lstStyle>
            <a:lvl1pPr marL="0" indent="0" algn="ctr">
              <a:spcAft>
                <a:spcPts val="0"/>
              </a:spcAft>
              <a:buFont typeface="+mn-lt" panose="020B0604020202020204" pitchFamily="34" charset="0"/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+mn-lt" panose="020B0604020202020204" pitchFamily="34" charset="0"/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9pPr>
          </a:lstStyle>
          <a:p>
            <a:pPr lvl="4"/>
            <a:r>
              <a:rPr lang="en-US" dirty="0"/>
              <a:t>Add picture</a:t>
            </a:r>
          </a:p>
        </p:txBody>
      </p:sp>
    </p:spTree>
    <p:extLst>
      <p:ext uri="{BB962C8B-B14F-4D97-AF65-F5344CB8AC3E}">
        <p14:creationId xmlns:p14="http://schemas.microsoft.com/office/powerpoint/2010/main" val="10663330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icture with fra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id="{758364E8-4ECD-4C26-A5E5-021E95A628B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ltGray">
          <a:xfrm>
            <a:off x="623888" y="0"/>
            <a:ext cx="11568112" cy="6858000"/>
          </a:xfrm>
        </p:spPr>
        <p:txBody>
          <a:bodyPr bIns="576000" anchor="ctr">
            <a:noAutofit/>
          </a:bodyPr>
          <a:lstStyle>
            <a:lvl1pPr marL="0" indent="0" algn="ctr">
              <a:spcAft>
                <a:spcPts val="0"/>
              </a:spcAft>
              <a:buFont typeface="+mn-lt" panose="020B0604020202020204" pitchFamily="34" charset="0"/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+mn-lt" panose="020B0604020202020204" pitchFamily="34" charset="0"/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9pPr>
          </a:lstStyle>
          <a:p>
            <a:pPr lvl="4"/>
            <a:r>
              <a:rPr lang="en-US" dirty="0"/>
              <a:t>Add picture</a:t>
            </a:r>
          </a:p>
        </p:txBody>
      </p:sp>
    </p:spTree>
    <p:extLst>
      <p:ext uri="{BB962C8B-B14F-4D97-AF65-F5344CB8AC3E}">
        <p14:creationId xmlns:p14="http://schemas.microsoft.com/office/powerpoint/2010/main" val="415265317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hort 0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Untertitel 2">
            <a:extLst>
              <a:ext uri="{FF2B5EF4-FFF2-40B4-BE49-F238E27FC236}">
                <a16:creationId xmlns:a16="http://schemas.microsoft.com/office/drawing/2014/main" id="{B4DB53C6-4A5C-48C2-AF98-0DC609E20DF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1200000" y="4869000"/>
            <a:ext cx="7488000" cy="504000"/>
          </a:xfrm>
        </p:spPr>
        <p:txBody>
          <a:bodyPr lIns="0" bIns="0" anchor="t"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2pPr>
            <a:lvl3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3pPr>
            <a:lvl4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4pPr>
            <a:lvl5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5pPr>
            <a:lvl6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6pPr>
            <a:lvl7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7pPr>
            <a:lvl8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8pPr>
            <a:lvl9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9pPr>
          </a:lstStyle>
          <a:p>
            <a:r>
              <a:rPr lang="en-US" dirty="0"/>
              <a:t>Subtitle | Author | Place | Dat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92CC7B3-5721-4953-BA56-DB66B353865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black">
          <a:xfrm>
            <a:off x="1200000" y="2765760"/>
            <a:ext cx="7488000" cy="1944000"/>
          </a:xfrm>
        </p:spPr>
        <p:txBody>
          <a:bodyPr lIns="0" bIns="0" anchor="b"/>
          <a:lstStyle>
            <a:lvl1pPr algn="l">
              <a:lnSpc>
                <a:spcPct val="90000"/>
              </a:lnSpc>
              <a:defRPr sz="720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Title of presentation</a:t>
            </a:r>
            <a:endParaRPr lang="en-US" dirty="0"/>
          </a:p>
        </p:txBody>
      </p:sp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72DD3FE2-48A3-445F-9843-1184ABBFA867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ltGray"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11566846 w 12192000"/>
              <a:gd name="connsiteY3" fmla="*/ 6858000 h 6858000"/>
              <a:gd name="connsiteX4" fmla="*/ 11566846 w 12192000"/>
              <a:gd name="connsiteY4" fmla="*/ 6656132 h 6858000"/>
              <a:gd name="connsiteX5" fmla="*/ 10764446 w 12192000"/>
              <a:gd name="connsiteY5" fmla="*/ 5853732 h 6858000"/>
              <a:gd name="connsiteX6" fmla="*/ 10132176 w 12192000"/>
              <a:gd name="connsiteY6" fmla="*/ 5853732 h 6858000"/>
              <a:gd name="connsiteX7" fmla="*/ 9329777 w 12192000"/>
              <a:gd name="connsiteY7" fmla="*/ 5051333 h 6858000"/>
              <a:gd name="connsiteX8" fmla="*/ 9329777 w 12192000"/>
              <a:gd name="connsiteY8" fmla="*/ 3075805 h 6858000"/>
              <a:gd name="connsiteX9" fmla="*/ 9331046 w 12192000"/>
              <a:gd name="connsiteY9" fmla="*/ 3075805 h 6858000"/>
              <a:gd name="connsiteX10" fmla="*/ 8528647 w 12192000"/>
              <a:gd name="connsiteY10" fmla="*/ 2273406 h 6858000"/>
              <a:gd name="connsiteX11" fmla="*/ 7439314 w 12192000"/>
              <a:gd name="connsiteY11" fmla="*/ 2273406 h 6858000"/>
              <a:gd name="connsiteX12" fmla="*/ 1507655 w 12192000"/>
              <a:gd name="connsiteY12" fmla="*/ 2273406 h 6858000"/>
              <a:gd name="connsiteX13" fmla="*/ 1426399 w 12192000"/>
              <a:gd name="connsiteY13" fmla="*/ 2273406 h 6858000"/>
              <a:gd name="connsiteX14" fmla="*/ 624000 w 12192000"/>
              <a:gd name="connsiteY14" fmla="*/ 3075805 h 6858000"/>
              <a:gd name="connsiteX15" fmla="*/ 624000 w 12192000"/>
              <a:gd name="connsiteY15" fmla="*/ 6858000 h 6858000"/>
              <a:gd name="connsiteX16" fmla="*/ 0 w 12192000"/>
              <a:gd name="connsiteY1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11566846" y="6858000"/>
                </a:lnTo>
                <a:lnTo>
                  <a:pt x="11566846" y="6656132"/>
                </a:lnTo>
                <a:cubicBezTo>
                  <a:pt x="11566846" y="6213034"/>
                  <a:pt x="11207543" y="5853732"/>
                  <a:pt x="10764446" y="5853732"/>
                </a:cubicBezTo>
                <a:lnTo>
                  <a:pt x="10132176" y="5853732"/>
                </a:lnTo>
                <a:cubicBezTo>
                  <a:pt x="9689079" y="5853732"/>
                  <a:pt x="9329777" y="5494430"/>
                  <a:pt x="9329777" y="5051333"/>
                </a:cubicBezTo>
                <a:lnTo>
                  <a:pt x="9329777" y="3075805"/>
                </a:lnTo>
                <a:lnTo>
                  <a:pt x="9331046" y="3075805"/>
                </a:lnTo>
                <a:cubicBezTo>
                  <a:pt x="9331046" y="2632708"/>
                  <a:pt x="8971745" y="2273406"/>
                  <a:pt x="8528647" y="2273406"/>
                </a:cubicBezTo>
                <a:lnTo>
                  <a:pt x="7439314" y="2273406"/>
                </a:lnTo>
                <a:lnTo>
                  <a:pt x="1507655" y="2273406"/>
                </a:lnTo>
                <a:lnTo>
                  <a:pt x="1426399" y="2273406"/>
                </a:lnTo>
                <a:cubicBezTo>
                  <a:pt x="983302" y="2273406"/>
                  <a:pt x="624000" y="2632708"/>
                  <a:pt x="624000" y="3075805"/>
                </a:cubicBezTo>
                <a:lnTo>
                  <a:pt x="624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lIns="0" tIns="0" rIns="0" bIns="576000" anchor="ctr">
            <a:noAutofit/>
          </a:bodyPr>
          <a:lstStyle>
            <a:lvl1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1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1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defRPr sz="1000">
                <a:solidFill>
                  <a:schemeClr val="bg1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defRPr sz="1000">
                <a:solidFill>
                  <a:schemeClr val="bg1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defRPr sz="1000">
                <a:solidFill>
                  <a:schemeClr val="bg1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defRPr sz="1000">
                <a:solidFill>
                  <a:schemeClr val="bg1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defRPr sz="1000">
                <a:solidFill>
                  <a:schemeClr val="bg1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defRPr sz="1000">
                <a:solidFill>
                  <a:schemeClr val="bg1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defRPr sz="100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Add picture</a:t>
            </a: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13EC9D4F-79FA-44F2-89CB-828F3C1FA29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1028666" y="5566887"/>
            <a:ext cx="3118173" cy="838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199582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hort 0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6776EA0-9308-4136-9D96-5081DF8610A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black">
          <a:xfrm>
            <a:off x="624000" y="2689950"/>
            <a:ext cx="7704000" cy="2016000"/>
          </a:xfrm>
        </p:spPr>
        <p:txBody>
          <a:bodyPr lIns="0" anchor="b"/>
          <a:lstStyle>
            <a:lvl1pPr algn="l">
              <a:lnSpc>
                <a:spcPct val="90000"/>
              </a:lnSpc>
              <a:defRPr sz="720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Title of presentation</a:t>
            </a:r>
            <a:endParaRPr lang="en-US" dirty="0"/>
          </a:p>
        </p:txBody>
      </p:sp>
      <p:sp>
        <p:nvSpPr>
          <p:cNvPr id="17" name="Untertitel 2">
            <a:extLst>
              <a:ext uri="{FF2B5EF4-FFF2-40B4-BE49-F238E27FC236}">
                <a16:creationId xmlns:a16="http://schemas.microsoft.com/office/drawing/2014/main" id="{768CC432-56E4-4092-B0F1-5C6FD1847CA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624000" y="4869000"/>
            <a:ext cx="7704000" cy="504000"/>
          </a:xfrm>
        </p:spPr>
        <p:txBody>
          <a:bodyPr lIns="0" bIns="0" anchor="t"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2pPr>
            <a:lvl3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3pPr>
            <a:lvl4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4pPr>
            <a:lvl5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5pPr>
            <a:lvl6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6pPr>
            <a:lvl7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7pPr>
            <a:lvl8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8pPr>
            <a:lvl9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9pPr>
          </a:lstStyle>
          <a:p>
            <a:r>
              <a:rPr lang="en-US" dirty="0"/>
              <a:t>Subtitle | Author | Place | Date</a:t>
            </a:r>
          </a:p>
        </p:txBody>
      </p:sp>
      <p:sp>
        <p:nvSpPr>
          <p:cNvPr id="24" name="Bildplatzhalter 23">
            <a:extLst>
              <a:ext uri="{FF2B5EF4-FFF2-40B4-BE49-F238E27FC236}">
                <a16:creationId xmlns:a16="http://schemas.microsoft.com/office/drawing/2014/main" id="{A334F372-56B2-4EE2-AF33-FB1BE7DAF483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ltGray"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6856095 h 6858000"/>
              <a:gd name="connsiteX1" fmla="*/ 1 w 12192000"/>
              <a:gd name="connsiteY1" fmla="*/ 6856095 h 6858000"/>
              <a:gd name="connsiteX2" fmla="*/ 1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0 h 6858000"/>
              <a:gd name="connsiteX5" fmla="*/ 12192000 w 12192000"/>
              <a:gd name="connsiteY5" fmla="*/ 0 h 6858000"/>
              <a:gd name="connsiteX6" fmla="*/ 12192000 w 12192000"/>
              <a:gd name="connsiteY6" fmla="*/ 6858000 h 6858000"/>
              <a:gd name="connsiteX7" fmla="*/ 9047029 w 12192000"/>
              <a:gd name="connsiteY7" fmla="*/ 6858000 h 6858000"/>
              <a:gd name="connsiteX8" fmla="*/ 9047029 w 12192000"/>
              <a:gd name="connsiteY8" fmla="*/ 5121593 h 6858000"/>
              <a:gd name="connsiteX9" fmla="*/ 9047029 w 12192000"/>
              <a:gd name="connsiteY9" fmla="*/ 2782253 h 6858000"/>
              <a:gd name="connsiteX10" fmla="*/ 9047997 w 12192000"/>
              <a:gd name="connsiteY10" fmla="*/ 2782253 h 6858000"/>
              <a:gd name="connsiteX11" fmla="*/ 8437835 w 12192000"/>
              <a:gd name="connsiteY11" fmla="*/ 2180273 h 6858000"/>
              <a:gd name="connsiteX12" fmla="*/ 8330407 w 12192000"/>
              <a:gd name="connsiteY12" fmla="*/ 2180273 h 6858000"/>
              <a:gd name="connsiteX13" fmla="*/ 8311515 w 12192000"/>
              <a:gd name="connsiteY13" fmla="*/ 2178368 h 6858000"/>
              <a:gd name="connsiteX14" fmla="*/ 7494270 w 12192000"/>
              <a:gd name="connsiteY14" fmla="*/ 2178368 h 6858000"/>
              <a:gd name="connsiteX15" fmla="*/ 1884046 w 12192000"/>
              <a:gd name="connsiteY15" fmla="*/ 2178368 h 6858000"/>
              <a:gd name="connsiteX16" fmla="*/ 1774259 w 12192000"/>
              <a:gd name="connsiteY16" fmla="*/ 2159742 h 6858000"/>
              <a:gd name="connsiteX17" fmla="*/ 1301551 w 12192000"/>
              <a:gd name="connsiteY17" fmla="*/ 1549718 h 6858000"/>
              <a:gd name="connsiteX18" fmla="*/ 1301551 w 12192000"/>
              <a:gd name="connsiteY18" fmla="*/ 1187768 h 6858000"/>
              <a:gd name="connsiteX19" fmla="*/ 788310 w 12192000"/>
              <a:gd name="connsiteY19" fmla="*/ 567195 h 6858000"/>
              <a:gd name="connsiteX20" fmla="*/ 780008 w 12192000"/>
              <a:gd name="connsiteY20" fmla="*/ 566374 h 6858000"/>
              <a:gd name="connsiteX21" fmla="*/ 776508 w 12192000"/>
              <a:gd name="connsiteY21" fmla="*/ 565290 h 6858000"/>
              <a:gd name="connsiteX22" fmla="*/ 648653 w 12192000"/>
              <a:gd name="connsiteY22" fmla="*/ 552450 h 6858000"/>
              <a:gd name="connsiteX23" fmla="*/ 0 w 12192000"/>
              <a:gd name="connsiteY23" fmla="*/ 55245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12192000" h="6858000">
                <a:moveTo>
                  <a:pt x="0" y="6856095"/>
                </a:moveTo>
                <a:lnTo>
                  <a:pt x="1" y="6856095"/>
                </a:lnTo>
                <a:lnTo>
                  <a:pt x="1" y="6858000"/>
                </a:lnTo>
                <a:lnTo>
                  <a:pt x="0" y="6858000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9047029" y="6858000"/>
                </a:lnTo>
                <a:cubicBezTo>
                  <a:pt x="9047029" y="6858000"/>
                  <a:pt x="9047029" y="5454015"/>
                  <a:pt x="9047029" y="5121593"/>
                </a:cubicBezTo>
                <a:lnTo>
                  <a:pt x="9047029" y="2782253"/>
                </a:lnTo>
                <a:lnTo>
                  <a:pt x="9047997" y="2782253"/>
                </a:lnTo>
                <a:cubicBezTo>
                  <a:pt x="9048963" y="2449830"/>
                  <a:pt x="8775310" y="2180273"/>
                  <a:pt x="8437835" y="2180273"/>
                </a:cubicBezTo>
                <a:lnTo>
                  <a:pt x="8330407" y="2180273"/>
                </a:lnTo>
                <a:lnTo>
                  <a:pt x="8311515" y="2178368"/>
                </a:lnTo>
                <a:lnTo>
                  <a:pt x="7494270" y="2178368"/>
                </a:lnTo>
                <a:lnTo>
                  <a:pt x="1884046" y="2178368"/>
                </a:lnTo>
                <a:lnTo>
                  <a:pt x="1774259" y="2159742"/>
                </a:lnTo>
                <a:cubicBezTo>
                  <a:pt x="1501443" y="2086452"/>
                  <a:pt x="1301551" y="1841421"/>
                  <a:pt x="1301551" y="1549718"/>
                </a:cubicBezTo>
                <a:lnTo>
                  <a:pt x="1301551" y="1187768"/>
                </a:lnTo>
                <a:cubicBezTo>
                  <a:pt x="1301551" y="881063"/>
                  <a:pt x="1081670" y="626135"/>
                  <a:pt x="788310" y="567195"/>
                </a:cubicBezTo>
                <a:lnTo>
                  <a:pt x="780008" y="566374"/>
                </a:lnTo>
                <a:lnTo>
                  <a:pt x="776508" y="565290"/>
                </a:lnTo>
                <a:cubicBezTo>
                  <a:pt x="735227" y="556870"/>
                  <a:pt x="692468" y="552450"/>
                  <a:pt x="648653" y="552450"/>
                </a:cubicBezTo>
                <a:lnTo>
                  <a:pt x="0" y="552450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bIns="576000" anchor="ctr">
            <a:noAutofit/>
          </a:bodyPr>
          <a:lstStyle>
            <a:lvl1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1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1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defRPr sz="1000">
                <a:solidFill>
                  <a:schemeClr val="bg1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defRPr sz="1000">
                <a:solidFill>
                  <a:schemeClr val="bg1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defRPr sz="1000">
                <a:solidFill>
                  <a:schemeClr val="bg1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defRPr sz="1000">
                <a:solidFill>
                  <a:schemeClr val="bg1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defRPr sz="1000">
                <a:solidFill>
                  <a:schemeClr val="bg1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defRPr sz="1000">
                <a:solidFill>
                  <a:schemeClr val="bg1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defRPr sz="100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Add picture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91F475D6-7C98-470E-B89B-593C711517A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457108" y="5566887"/>
            <a:ext cx="3118173" cy="838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814022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0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15287F2-4C81-49CB-BD75-94BEC6AF1B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656000" y="1989000"/>
            <a:ext cx="6912000" cy="2448000"/>
          </a:xfrm>
        </p:spPr>
        <p:txBody>
          <a:bodyPr anchor="b"/>
          <a:lstStyle>
            <a:lvl1pPr>
              <a:lnSpc>
                <a:spcPct val="90000"/>
              </a:lnSpc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ivider slide to separate chapters</a:t>
            </a:r>
          </a:p>
        </p:txBody>
      </p:sp>
      <p:sp>
        <p:nvSpPr>
          <p:cNvPr id="24" name="Untertitel 2">
            <a:extLst>
              <a:ext uri="{FF2B5EF4-FFF2-40B4-BE49-F238E27FC236}">
                <a16:creationId xmlns:a16="http://schemas.microsoft.com/office/drawing/2014/main" id="{E3FD7DC8-726A-46D4-A85A-BF1992E8210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656000" y="4604814"/>
            <a:ext cx="6912000" cy="504000"/>
          </a:xfrm>
        </p:spPr>
        <p:txBody>
          <a:bodyPr lIns="0" bIns="0" anchor="t"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2pPr>
            <a:lvl3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3pPr>
            <a:lvl4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4pPr>
            <a:lvl5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5pPr>
            <a:lvl6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6pPr>
            <a:lvl7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7pPr>
            <a:lvl8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8pPr>
            <a:lvl9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9pPr>
          </a:lstStyle>
          <a:p>
            <a:pPr marL="0" marR="0" lvl="4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70000"/>
              <a:buFont typeface="+mn-lt" panose="05020102010507070707" pitchFamily="18" charset="2"/>
              <a:buNone/>
              <a:tabLst/>
              <a:defRPr/>
            </a:pPr>
            <a:r>
              <a:rPr lang="en-US" dirty="0"/>
              <a:t>Click to add further information</a:t>
            </a:r>
          </a:p>
        </p:txBody>
      </p:sp>
      <p:sp>
        <p:nvSpPr>
          <p:cNvPr id="22" name="Bildplatzhalter 21">
            <a:extLst>
              <a:ext uri="{FF2B5EF4-FFF2-40B4-BE49-F238E27FC236}">
                <a16:creationId xmlns:a16="http://schemas.microsoft.com/office/drawing/2014/main" id="{6A8ADA5C-DC72-433A-8A72-6B603222FD96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ltGray">
          <a:xfrm>
            <a:off x="1" y="0"/>
            <a:ext cx="8264854" cy="6858000"/>
          </a:xfrm>
          <a:custGeom>
            <a:avLst/>
            <a:gdLst>
              <a:gd name="connsiteX0" fmla="*/ 0 w 8264854"/>
              <a:gd name="connsiteY0" fmla="*/ 0 h 6858000"/>
              <a:gd name="connsiteX1" fmla="*/ 8264854 w 8264854"/>
              <a:gd name="connsiteY1" fmla="*/ 0 h 6858000"/>
              <a:gd name="connsiteX2" fmla="*/ 8263583 w 8264854"/>
              <a:gd name="connsiteY2" fmla="*/ 468273 h 6858000"/>
              <a:gd name="connsiteX3" fmla="*/ 8262290 w 8264854"/>
              <a:gd name="connsiteY3" fmla="*/ 944495 h 6858000"/>
              <a:gd name="connsiteX4" fmla="*/ 7719043 w 8264854"/>
              <a:gd name="connsiteY4" fmla="*/ 1488440 h 6858000"/>
              <a:gd name="connsiteX5" fmla="*/ 4623367 w 8264854"/>
              <a:gd name="connsiteY5" fmla="*/ 1488440 h 6858000"/>
              <a:gd name="connsiteX6" fmla="*/ 4080121 w 8264854"/>
              <a:gd name="connsiteY6" fmla="*/ 2032385 h 6858000"/>
              <a:gd name="connsiteX7" fmla="*/ 4081046 w 8264854"/>
              <a:gd name="connsiteY7" fmla="*/ 2032385 h 6858000"/>
              <a:gd name="connsiteX8" fmla="*/ 4081046 w 8264854"/>
              <a:gd name="connsiteY8" fmla="*/ 4045072 h 6858000"/>
              <a:gd name="connsiteX9" fmla="*/ 3537798 w 8264854"/>
              <a:gd name="connsiteY9" fmla="*/ 4589017 h 6858000"/>
              <a:gd name="connsiteX10" fmla="*/ 3110235 w 8264854"/>
              <a:gd name="connsiteY10" fmla="*/ 4589017 h 6858000"/>
              <a:gd name="connsiteX11" fmla="*/ 2566987 w 8264854"/>
              <a:gd name="connsiteY11" fmla="*/ 5132963 h 6858000"/>
              <a:gd name="connsiteX12" fmla="*/ 2566987 w 8264854"/>
              <a:gd name="connsiteY12" fmla="*/ 6858000 h 6858000"/>
              <a:gd name="connsiteX13" fmla="*/ 0 w 8264854"/>
              <a:gd name="connsiteY1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8264854" h="6858000">
                <a:moveTo>
                  <a:pt x="0" y="0"/>
                </a:moveTo>
                <a:lnTo>
                  <a:pt x="8264854" y="0"/>
                </a:lnTo>
                <a:lnTo>
                  <a:pt x="8263583" y="468273"/>
                </a:lnTo>
                <a:cubicBezTo>
                  <a:pt x="8263152" y="628601"/>
                  <a:pt x="8262721" y="788929"/>
                  <a:pt x="8262290" y="944495"/>
                </a:cubicBezTo>
                <a:cubicBezTo>
                  <a:pt x="8262290" y="1244731"/>
                  <a:pt x="8018893" y="1488440"/>
                  <a:pt x="7719043" y="1488440"/>
                </a:cubicBezTo>
                <a:lnTo>
                  <a:pt x="4623367" y="1488440"/>
                </a:lnTo>
                <a:cubicBezTo>
                  <a:pt x="4323517" y="1488440"/>
                  <a:pt x="4080121" y="1732150"/>
                  <a:pt x="4080121" y="2032385"/>
                </a:cubicBezTo>
                <a:lnTo>
                  <a:pt x="4081046" y="2032385"/>
                </a:lnTo>
                <a:lnTo>
                  <a:pt x="4081046" y="4045072"/>
                </a:lnTo>
                <a:cubicBezTo>
                  <a:pt x="4081046" y="4345308"/>
                  <a:pt x="3837649" y="4589017"/>
                  <a:pt x="3537798" y="4589017"/>
                </a:cubicBezTo>
                <a:lnTo>
                  <a:pt x="3110235" y="4589017"/>
                </a:lnTo>
                <a:cubicBezTo>
                  <a:pt x="2810384" y="4589017"/>
                  <a:pt x="2566987" y="4832727"/>
                  <a:pt x="2566987" y="5132963"/>
                </a:cubicBezTo>
                <a:lnTo>
                  <a:pt x="2566987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bIns="576000" anchor="ctr">
            <a:noAutofit/>
          </a:bodyPr>
          <a:lstStyle>
            <a:lvl1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2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2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Add picture</a:t>
            </a:r>
          </a:p>
        </p:txBody>
      </p:sp>
    </p:spTree>
    <p:extLst>
      <p:ext uri="{BB962C8B-B14F-4D97-AF65-F5344CB8AC3E}">
        <p14:creationId xmlns:p14="http://schemas.microsoft.com/office/powerpoint/2010/main" val="233751508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0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E4369FD-4569-413B-8637-ED89BF8BE49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624000" y="1989000"/>
            <a:ext cx="6840000" cy="2448000"/>
          </a:xfrm>
        </p:spPr>
        <p:txBody>
          <a:bodyPr anchor="b"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ivider slide to separate chapters</a:t>
            </a:r>
          </a:p>
        </p:txBody>
      </p:sp>
      <p:sp>
        <p:nvSpPr>
          <p:cNvPr id="27" name="Untertitel 2">
            <a:extLst>
              <a:ext uri="{FF2B5EF4-FFF2-40B4-BE49-F238E27FC236}">
                <a16:creationId xmlns:a16="http://schemas.microsoft.com/office/drawing/2014/main" id="{A4E67476-8A11-4E03-B57B-AF937AFD8E2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624000" y="4604813"/>
            <a:ext cx="6840000" cy="504000"/>
          </a:xfrm>
        </p:spPr>
        <p:txBody>
          <a:bodyPr lIns="0" bIns="0" anchor="t"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2pPr>
            <a:lvl3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3pPr>
            <a:lvl4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4pPr>
            <a:lvl5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5pPr>
            <a:lvl6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6pPr>
            <a:lvl7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7pPr>
            <a:lvl8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8pPr>
            <a:lvl9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9pPr>
          </a:lstStyle>
          <a:p>
            <a:pPr marL="0" marR="0" lvl="4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70000"/>
              <a:buFont typeface="+mn-lt" panose="05020102010507070707" pitchFamily="18" charset="2"/>
              <a:buNone/>
              <a:tabLst/>
              <a:defRPr/>
            </a:pPr>
            <a:r>
              <a:rPr lang="en-US" dirty="0"/>
              <a:t>Click to add further information</a:t>
            </a:r>
          </a:p>
        </p:txBody>
      </p:sp>
      <p:sp>
        <p:nvSpPr>
          <p:cNvPr id="31" name="Bildplatzhalter 30">
            <a:extLst>
              <a:ext uri="{FF2B5EF4-FFF2-40B4-BE49-F238E27FC236}">
                <a16:creationId xmlns:a16="http://schemas.microsoft.com/office/drawing/2014/main" id="{E4373149-AA5B-4292-9664-47F3DBB697D1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ltGray">
          <a:xfrm>
            <a:off x="5200614" y="0"/>
            <a:ext cx="6991387" cy="6858000"/>
          </a:xfrm>
          <a:custGeom>
            <a:avLst/>
            <a:gdLst>
              <a:gd name="connsiteX0" fmla="*/ 1020613 w 6991387"/>
              <a:gd name="connsiteY0" fmla="*/ 0 h 6858000"/>
              <a:gd name="connsiteX1" fmla="*/ 6991387 w 6991387"/>
              <a:gd name="connsiteY1" fmla="*/ 0 h 6858000"/>
              <a:gd name="connsiteX2" fmla="*/ 6991387 w 6991387"/>
              <a:gd name="connsiteY2" fmla="*/ 6858000 h 6858000"/>
              <a:gd name="connsiteX3" fmla="*/ 0 w 6991387"/>
              <a:gd name="connsiteY3" fmla="*/ 6858000 h 6858000"/>
              <a:gd name="connsiteX4" fmla="*/ 4907 w 6991387"/>
              <a:gd name="connsiteY4" fmla="*/ 6809259 h 6858000"/>
              <a:gd name="connsiteX5" fmla="*/ 708823 w 6991387"/>
              <a:gd name="connsiteY5" fmla="*/ 6235368 h 6858000"/>
              <a:gd name="connsiteX6" fmla="*/ 2192070 w 6991387"/>
              <a:gd name="connsiteY6" fmla="*/ 6235368 h 6858000"/>
              <a:gd name="connsiteX7" fmla="*/ 2910597 w 6991387"/>
              <a:gd name="connsiteY7" fmla="*/ 5516290 h 6858000"/>
              <a:gd name="connsiteX8" fmla="*/ 2910597 w 6991387"/>
              <a:gd name="connsiteY8" fmla="*/ 1498449 h 6858000"/>
              <a:gd name="connsiteX9" fmla="*/ 2192070 w 6991387"/>
              <a:gd name="connsiteY9" fmla="*/ 779372 h 6858000"/>
              <a:gd name="connsiteX10" fmla="*/ 1739139 w 6991387"/>
              <a:gd name="connsiteY10" fmla="*/ 779372 h 6858000"/>
              <a:gd name="connsiteX11" fmla="*/ 1020613 w 6991387"/>
              <a:gd name="connsiteY11" fmla="*/ 60294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991387" h="6858000">
                <a:moveTo>
                  <a:pt x="1020613" y="0"/>
                </a:moveTo>
                <a:lnTo>
                  <a:pt x="6991387" y="0"/>
                </a:lnTo>
                <a:lnTo>
                  <a:pt x="6991387" y="6858000"/>
                </a:lnTo>
                <a:lnTo>
                  <a:pt x="0" y="6858000"/>
                </a:lnTo>
                <a:lnTo>
                  <a:pt x="4907" y="6809259"/>
                </a:lnTo>
                <a:cubicBezTo>
                  <a:pt x="71970" y="6481145"/>
                  <a:pt x="361908" y="6235368"/>
                  <a:pt x="708823" y="6235368"/>
                </a:cubicBezTo>
                <a:lnTo>
                  <a:pt x="2192070" y="6235368"/>
                </a:lnTo>
                <a:cubicBezTo>
                  <a:pt x="2589827" y="6235368"/>
                  <a:pt x="2910597" y="5913067"/>
                  <a:pt x="2910597" y="5516290"/>
                </a:cubicBezTo>
                <a:lnTo>
                  <a:pt x="2910597" y="1498449"/>
                </a:lnTo>
                <a:cubicBezTo>
                  <a:pt x="2910597" y="1100389"/>
                  <a:pt x="2588544" y="779372"/>
                  <a:pt x="2192070" y="779372"/>
                </a:cubicBezTo>
                <a:lnTo>
                  <a:pt x="1739139" y="779372"/>
                </a:lnTo>
                <a:cubicBezTo>
                  <a:pt x="1341383" y="779372"/>
                  <a:pt x="1020613" y="457071"/>
                  <a:pt x="1020613" y="60294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 bIns="576000" anchor="ctr">
            <a:noAutofit/>
          </a:bodyPr>
          <a:lstStyle>
            <a:lvl1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2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2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Add picture</a:t>
            </a:r>
          </a:p>
        </p:txBody>
      </p:sp>
    </p:spTree>
    <p:extLst>
      <p:ext uri="{BB962C8B-B14F-4D97-AF65-F5344CB8AC3E}">
        <p14:creationId xmlns:p14="http://schemas.microsoft.com/office/powerpoint/2010/main" val="4543016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03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el 1">
            <a:extLst>
              <a:ext uri="{FF2B5EF4-FFF2-40B4-BE49-F238E27FC236}">
                <a16:creationId xmlns:a16="http://schemas.microsoft.com/office/drawing/2014/main" id="{04B637A3-33C5-4A94-B8A3-0C6F5F53D63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5016000" y="1989000"/>
            <a:ext cx="6552000" cy="2448000"/>
          </a:xfrm>
        </p:spPr>
        <p:txBody>
          <a:bodyPr anchor="b"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ivider slide to separate chapters</a:t>
            </a:r>
          </a:p>
        </p:txBody>
      </p:sp>
      <p:sp>
        <p:nvSpPr>
          <p:cNvPr id="23" name="Untertitel 2">
            <a:extLst>
              <a:ext uri="{FF2B5EF4-FFF2-40B4-BE49-F238E27FC236}">
                <a16:creationId xmlns:a16="http://schemas.microsoft.com/office/drawing/2014/main" id="{E119360A-7028-4033-BE23-C2EE0FCAA94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5016000" y="4604513"/>
            <a:ext cx="6552000" cy="504000"/>
          </a:xfrm>
        </p:spPr>
        <p:txBody>
          <a:bodyPr lIns="0" bIns="0" anchor="t"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2pPr>
            <a:lvl3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3pPr>
            <a:lvl4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4pPr>
            <a:lvl5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5pPr>
            <a:lvl6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6pPr>
            <a:lvl7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7pPr>
            <a:lvl8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8pPr>
            <a:lvl9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9pPr>
          </a:lstStyle>
          <a:p>
            <a:pPr marL="0" marR="0" lvl="4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70000"/>
              <a:buFont typeface="+mn-lt" panose="05020102010507070707" pitchFamily="18" charset="2"/>
              <a:buNone/>
              <a:tabLst/>
              <a:defRPr/>
            </a:pPr>
            <a:r>
              <a:rPr lang="en-US" dirty="0"/>
              <a:t>Click to add further information</a:t>
            </a:r>
          </a:p>
        </p:txBody>
      </p:sp>
      <p:sp>
        <p:nvSpPr>
          <p:cNvPr id="25" name="Bildplatzhalter 24">
            <a:extLst>
              <a:ext uri="{FF2B5EF4-FFF2-40B4-BE49-F238E27FC236}">
                <a16:creationId xmlns:a16="http://schemas.microsoft.com/office/drawing/2014/main" id="{1CD20AB6-DE4E-4C97-B230-3658F9A8648E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ltGray">
          <a:xfrm>
            <a:off x="2" y="-1"/>
            <a:ext cx="7353298" cy="6858001"/>
          </a:xfrm>
          <a:custGeom>
            <a:avLst/>
            <a:gdLst>
              <a:gd name="connsiteX0" fmla="*/ 0 w 7607999"/>
              <a:gd name="connsiteY0" fmla="*/ 0 h 6858001"/>
              <a:gd name="connsiteX1" fmla="*/ 7607999 w 7607999"/>
              <a:gd name="connsiteY1" fmla="*/ 0 h 6858001"/>
              <a:gd name="connsiteX2" fmla="*/ 7607999 w 7607999"/>
              <a:gd name="connsiteY2" fmla="*/ 630974 h 6858001"/>
              <a:gd name="connsiteX3" fmla="*/ 6784305 w 7607999"/>
              <a:gd name="connsiteY3" fmla="*/ 1482877 h 6858001"/>
              <a:gd name="connsiteX4" fmla="*/ 5342841 w 7607999"/>
              <a:gd name="connsiteY4" fmla="*/ 1482877 h 6858001"/>
              <a:gd name="connsiteX5" fmla="*/ 4519148 w 7607999"/>
              <a:gd name="connsiteY5" fmla="*/ 2334779 h 6858001"/>
              <a:gd name="connsiteX6" fmla="*/ 4519148 w 7607999"/>
              <a:gd name="connsiteY6" fmla="*/ 6858001 h 6858001"/>
              <a:gd name="connsiteX7" fmla="*/ 0 w 7607999"/>
              <a:gd name="connsiteY7" fmla="*/ 6858001 h 6858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607999" h="6858001">
                <a:moveTo>
                  <a:pt x="0" y="0"/>
                </a:moveTo>
                <a:lnTo>
                  <a:pt x="7607999" y="0"/>
                </a:lnTo>
                <a:lnTo>
                  <a:pt x="7607999" y="630974"/>
                </a:lnTo>
                <a:cubicBezTo>
                  <a:pt x="7607999" y="1102059"/>
                  <a:pt x="7238465" y="1482877"/>
                  <a:pt x="6784305" y="1482877"/>
                </a:cubicBezTo>
                <a:lnTo>
                  <a:pt x="5342841" y="1482877"/>
                </a:lnTo>
                <a:cubicBezTo>
                  <a:pt x="4888682" y="1482877"/>
                  <a:pt x="4519148" y="1863694"/>
                  <a:pt x="4519148" y="2334779"/>
                </a:cubicBezTo>
                <a:lnTo>
                  <a:pt x="4519148" y="6858001"/>
                </a:lnTo>
                <a:lnTo>
                  <a:pt x="0" y="6858001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bIns="576000" anchor="ctr">
            <a:noAutofit/>
          </a:bodyPr>
          <a:lstStyle>
            <a:lvl1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2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2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Add picture</a:t>
            </a:r>
          </a:p>
        </p:txBody>
      </p:sp>
    </p:spTree>
    <p:extLst>
      <p:ext uri="{BB962C8B-B14F-4D97-AF65-F5344CB8AC3E}">
        <p14:creationId xmlns:p14="http://schemas.microsoft.com/office/powerpoint/2010/main" val="51830670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Bildplatzhalter 16">
            <a:extLst>
              <a:ext uri="{FF2B5EF4-FFF2-40B4-BE49-F238E27FC236}">
                <a16:creationId xmlns:a16="http://schemas.microsoft.com/office/drawing/2014/main" id="{9085B700-7E7E-495E-8770-F2C0E4CC3FE1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ltGray">
          <a:xfrm>
            <a:off x="5594714" y="0"/>
            <a:ext cx="6597286" cy="6858000"/>
          </a:xfrm>
          <a:custGeom>
            <a:avLst/>
            <a:gdLst>
              <a:gd name="connsiteX0" fmla="*/ 2651633 w 6597286"/>
              <a:gd name="connsiteY0" fmla="*/ 0 h 6858000"/>
              <a:gd name="connsiteX1" fmla="*/ 6597286 w 6597286"/>
              <a:gd name="connsiteY1" fmla="*/ 0 h 6858000"/>
              <a:gd name="connsiteX2" fmla="*/ 6597286 w 6597286"/>
              <a:gd name="connsiteY2" fmla="*/ 6858000 h 6858000"/>
              <a:gd name="connsiteX3" fmla="*/ 0 w 6597286"/>
              <a:gd name="connsiteY3" fmla="*/ 6858000 h 6858000"/>
              <a:gd name="connsiteX4" fmla="*/ 7452 w 6597286"/>
              <a:gd name="connsiteY4" fmla="*/ 6809170 h 6858000"/>
              <a:gd name="connsiteX5" fmla="*/ 885502 w 6597286"/>
              <a:gd name="connsiteY5" fmla="*/ 6093335 h 6858000"/>
              <a:gd name="connsiteX6" fmla="*/ 4140126 w 6597286"/>
              <a:gd name="connsiteY6" fmla="*/ 6093335 h 6858000"/>
              <a:gd name="connsiteX7" fmla="*/ 5036364 w 6597286"/>
              <a:gd name="connsiteY7" fmla="*/ 5172770 h 6858000"/>
              <a:gd name="connsiteX8" fmla="*/ 5036364 w 6597286"/>
              <a:gd name="connsiteY8" fmla="*/ 1590378 h 6858000"/>
              <a:gd name="connsiteX9" fmla="*/ 4140126 w 6597286"/>
              <a:gd name="connsiteY9" fmla="*/ 694140 h 6858000"/>
              <a:gd name="connsiteX10" fmla="*/ 3523003 w 6597286"/>
              <a:gd name="connsiteY10" fmla="*/ 694140 h 6858000"/>
              <a:gd name="connsiteX11" fmla="*/ 2697304 w 6597286"/>
              <a:gd name="connsiteY11" fmla="*/ 146974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597286" h="6858000">
                <a:moveTo>
                  <a:pt x="2651633" y="0"/>
                </a:moveTo>
                <a:lnTo>
                  <a:pt x="6597286" y="0"/>
                </a:lnTo>
                <a:lnTo>
                  <a:pt x="6597286" y="6858000"/>
                </a:lnTo>
                <a:lnTo>
                  <a:pt x="0" y="6858000"/>
                </a:lnTo>
                <a:lnTo>
                  <a:pt x="7452" y="6809170"/>
                </a:lnTo>
                <a:cubicBezTo>
                  <a:pt x="90931" y="6401137"/>
                  <a:pt x="451947" y="6093335"/>
                  <a:pt x="885502" y="6093335"/>
                </a:cubicBezTo>
                <a:lnTo>
                  <a:pt x="4140126" y="6093335"/>
                </a:lnTo>
                <a:cubicBezTo>
                  <a:pt x="4634338" y="6093335"/>
                  <a:pt x="5036364" y="5668262"/>
                  <a:pt x="5036364" y="5172770"/>
                </a:cubicBezTo>
                <a:lnTo>
                  <a:pt x="5036364" y="1590378"/>
                </a:lnTo>
                <a:cubicBezTo>
                  <a:pt x="5036364" y="1096167"/>
                  <a:pt x="4635618" y="694140"/>
                  <a:pt x="4140126" y="694140"/>
                </a:cubicBezTo>
                <a:lnTo>
                  <a:pt x="3523003" y="694140"/>
                </a:lnTo>
                <a:cubicBezTo>
                  <a:pt x="3152344" y="694140"/>
                  <a:pt x="2833540" y="468720"/>
                  <a:pt x="2697304" y="146974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 bIns="576000" anchor="ctr">
            <a:noAutofit/>
          </a:bodyPr>
          <a:lstStyle>
            <a:lvl1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1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1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defRPr sz="1000">
                <a:solidFill>
                  <a:schemeClr val="bg1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defRPr sz="1000">
                <a:solidFill>
                  <a:schemeClr val="bg1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defRPr sz="1000">
                <a:solidFill>
                  <a:schemeClr val="bg1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defRPr sz="1000">
                <a:solidFill>
                  <a:schemeClr val="bg1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defRPr sz="1000">
                <a:solidFill>
                  <a:schemeClr val="bg1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defRPr sz="1000">
                <a:solidFill>
                  <a:schemeClr val="bg1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defRPr sz="1000">
                <a:solidFill>
                  <a:schemeClr val="bg1"/>
                </a:solidFill>
                <a:latin typeface="+mn-lt"/>
              </a:defRPr>
            </a:lvl9pPr>
          </a:lstStyle>
          <a:p>
            <a:pPr marL="0" marR="0" lvl="4" indent="0" algn="ctr" defTabSz="17938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70000"/>
              <a:buFont typeface="+mn-lt" panose="020B0604020202020204" pitchFamily="34" charset="0"/>
              <a:buNone/>
              <a:tabLst/>
              <a:defRPr/>
            </a:pPr>
            <a:r>
              <a:rPr lang="en-US" dirty="0"/>
              <a:t>White background or add </a:t>
            </a:r>
            <a:br>
              <a:rPr lang="en-US" dirty="0"/>
            </a:br>
            <a:r>
              <a:rPr lang="en-US" dirty="0"/>
              <a:t>gradient as a pictur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8830D87-D07A-43A8-A980-AB5EBED7AB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624000" y="405000"/>
            <a:ext cx="5472000" cy="720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81886283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B351FED-C2FB-40B3-9812-6EDF2B43DC9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line short </a:t>
            </a:r>
            <a:r>
              <a:rPr lang="en-US" dirty="0" err="1"/>
              <a:t>40pt</a:t>
            </a:r>
            <a:r>
              <a:rPr lang="en-US" dirty="0"/>
              <a:t> (double-spaced headline </a:t>
            </a:r>
            <a:r>
              <a:rPr lang="en-US" dirty="0" err="1"/>
              <a:t>24pt</a:t>
            </a:r>
            <a:r>
              <a:rPr lang="en-US" dirty="0"/>
              <a:t>)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B1169C98-9B16-4EF5-8A15-DF119AD9700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confidential, internal, public | Author | Topic of presentation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472C464D-9076-4D64-A912-896AEDF0E5B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1A5E10D-79A5-49BA-9648-53481340C65F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C186323F-21B0-414B-B738-0CBC5536F22B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4608" y="1485024"/>
            <a:ext cx="10944000" cy="4752288"/>
          </a:xfrm>
        </p:spPr>
        <p:txBody>
          <a:bodyPr/>
          <a:lstStyle/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31428901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lt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8152CBC3-B660-49EC-8CFF-BDC08B2D060E}"/>
              </a:ext>
            </a:extLst>
          </p:cNvPr>
          <p:cNvSpPr>
            <a:spLocks noGrp="1"/>
          </p:cNvSpPr>
          <p:nvPr>
            <p:ph type="title"/>
          </p:nvPr>
        </p:nvSpPr>
        <p:spPr bwMode="black">
          <a:xfrm>
            <a:off x="624000" y="405000"/>
            <a:ext cx="10944000" cy="72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en-US" dirty="0"/>
              <a:t>Headline short </a:t>
            </a:r>
            <a:r>
              <a:rPr lang="en-US" dirty="0" err="1"/>
              <a:t>40pt</a:t>
            </a:r>
            <a:r>
              <a:rPr lang="en-US" dirty="0"/>
              <a:t> (double-spaced headline </a:t>
            </a:r>
            <a:r>
              <a:rPr lang="en-US" dirty="0" err="1"/>
              <a:t>24pt</a:t>
            </a:r>
            <a:r>
              <a:rPr lang="en-US" dirty="0"/>
              <a:t>)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47DA143-B8D4-4CBA-A16E-07B0484BAAA6}"/>
              </a:ext>
            </a:extLst>
          </p:cNvPr>
          <p:cNvSpPr>
            <a:spLocks noGrp="1"/>
          </p:cNvSpPr>
          <p:nvPr>
            <p:ph type="body" idx="1"/>
          </p:nvPr>
        </p:nvSpPr>
        <p:spPr bwMode="black">
          <a:xfrm>
            <a:off x="624000" y="1484712"/>
            <a:ext cx="10944000" cy="475228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  <a:p>
            <a:pPr lvl="4"/>
            <a:endParaRPr lang="en-US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C3E0E978-16D5-413F-A203-BAC957010EB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black">
          <a:xfrm>
            <a:off x="2352000" y="6385644"/>
            <a:ext cx="7488000" cy="324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ctr">
              <a:defRPr sz="900" kern="90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onfidential, internal, public | Author | Topic of presentation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290EB52-2700-4288-B91E-A90263E48CA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black">
          <a:xfrm>
            <a:off x="11676000" y="6385644"/>
            <a:ext cx="252000" cy="324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fld id="{A1A5E10D-79A5-49BA-9648-53481340C65F}" type="slidenum">
              <a:rPr lang="en-US" smtClean="0"/>
              <a:pPr/>
              <a:t>‹Nr.›</a:t>
            </a:fld>
            <a:endParaRPr lang="en-US" dirty="0"/>
          </a:p>
        </p:txBody>
      </p:sp>
      <p:cxnSp>
        <p:nvCxnSpPr>
          <p:cNvPr id="29" name="Gerader Verbinder 28">
            <a:extLst>
              <a:ext uri="{FF2B5EF4-FFF2-40B4-BE49-F238E27FC236}">
                <a16:creationId xmlns:a16="http://schemas.microsoft.com/office/drawing/2014/main" id="{DA91C881-79AB-458F-954C-383AF8B01604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5952000" y="-171000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r Verbinder 29">
            <a:extLst>
              <a:ext uri="{FF2B5EF4-FFF2-40B4-BE49-F238E27FC236}">
                <a16:creationId xmlns:a16="http://schemas.microsoft.com/office/drawing/2014/main" id="{7C98D975-7445-4F99-9B52-E358E568C5A3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240000" y="-171000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r Verbinder 30">
            <a:extLst>
              <a:ext uri="{FF2B5EF4-FFF2-40B4-BE49-F238E27FC236}">
                <a16:creationId xmlns:a16="http://schemas.microsoft.com/office/drawing/2014/main" id="{DF551706-39BC-4EE7-A735-192BD09A0001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7824000" y="-171000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r Verbinder 31">
            <a:extLst>
              <a:ext uri="{FF2B5EF4-FFF2-40B4-BE49-F238E27FC236}">
                <a16:creationId xmlns:a16="http://schemas.microsoft.com/office/drawing/2014/main" id="{2A0A7869-3F34-4E75-A064-BE3F44A63406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8112000" y="-171000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rader Verbinder 32">
            <a:extLst>
              <a:ext uri="{FF2B5EF4-FFF2-40B4-BE49-F238E27FC236}">
                <a16:creationId xmlns:a16="http://schemas.microsoft.com/office/drawing/2014/main" id="{A4177ED2-DC6D-4DA2-AF57-22AD5C7A4FCC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4080000" y="-171000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Gerader Verbinder 33">
            <a:extLst>
              <a:ext uri="{FF2B5EF4-FFF2-40B4-BE49-F238E27FC236}">
                <a16:creationId xmlns:a16="http://schemas.microsoft.com/office/drawing/2014/main" id="{4CAD1D89-EB95-4550-A35C-0A1D9DD17A31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4368000" y="-171000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r Verbinder 34">
            <a:extLst>
              <a:ext uri="{FF2B5EF4-FFF2-40B4-BE49-F238E27FC236}">
                <a16:creationId xmlns:a16="http://schemas.microsoft.com/office/drawing/2014/main" id="{9E47EBE1-63C9-4FBE-B681-22B45511EEE3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3144000" y="-171000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r Verbinder 35">
            <a:extLst>
              <a:ext uri="{FF2B5EF4-FFF2-40B4-BE49-F238E27FC236}">
                <a16:creationId xmlns:a16="http://schemas.microsoft.com/office/drawing/2014/main" id="{3621EA9F-5C5D-4AF2-9740-37FE244799E2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3432000" y="-171000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Gerader Verbinder 36">
            <a:extLst>
              <a:ext uri="{FF2B5EF4-FFF2-40B4-BE49-F238E27FC236}">
                <a16:creationId xmlns:a16="http://schemas.microsoft.com/office/drawing/2014/main" id="{D1EF1E0F-30B7-4B13-96AD-E88084E80D49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8760000" y="-171000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Gerader Verbinder 37">
            <a:extLst>
              <a:ext uri="{FF2B5EF4-FFF2-40B4-BE49-F238E27FC236}">
                <a16:creationId xmlns:a16="http://schemas.microsoft.com/office/drawing/2014/main" id="{508FA7B9-8179-4FDE-890A-1A9E21FC445D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9048000" y="-171000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Grafik 3">
            <a:extLst>
              <a:ext uri="{FF2B5EF4-FFF2-40B4-BE49-F238E27FC236}">
                <a16:creationId xmlns:a16="http://schemas.microsoft.com/office/drawing/2014/main" id="{5A74839A-514D-4A95-9C9B-BCB04772A26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63456"/>
          <a:stretch/>
        </p:blipFill>
        <p:spPr bwMode="black">
          <a:xfrm>
            <a:off x="535817" y="6316466"/>
            <a:ext cx="688880" cy="4534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85053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1" r:id="rId2"/>
    <p:sldLayoutId id="2147483652" r:id="rId3"/>
    <p:sldLayoutId id="2147483653" r:id="rId4"/>
    <p:sldLayoutId id="2147483654" r:id="rId5"/>
    <p:sldLayoutId id="2147483655" r:id="rId6"/>
    <p:sldLayoutId id="2147483656" r:id="rId7"/>
    <p:sldLayoutId id="2147483658" r:id="rId8"/>
    <p:sldLayoutId id="2147483674" r:id="rId9"/>
    <p:sldLayoutId id="2147483673" r:id="rId10"/>
    <p:sldLayoutId id="2147483657" r:id="rId11"/>
    <p:sldLayoutId id="2147483659" r:id="rId12"/>
    <p:sldLayoutId id="2147483660" r:id="rId13"/>
    <p:sldLayoutId id="2147483664" r:id="rId14"/>
    <p:sldLayoutId id="2147483661" r:id="rId15"/>
    <p:sldLayoutId id="2147483662" r:id="rId16"/>
    <p:sldLayoutId id="2147483667" r:id="rId17"/>
    <p:sldLayoutId id="2147483663" r:id="rId18"/>
    <p:sldLayoutId id="2147483670" r:id="rId19"/>
    <p:sldLayoutId id="2147483665" r:id="rId20"/>
    <p:sldLayoutId id="2147483666" r:id="rId21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j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44000" indent="-144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 typeface="TeleNeo Office" panose="020B0504040202090203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288000" indent="-144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 typeface="TeleNeo Office" panose="020B0504040202090203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432000" indent="-144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 typeface="TeleNeo Office" panose="020B0504040202090203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576000" indent="-144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 typeface="TeleNeo Office" panose="020B0504040202090203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720000" indent="-144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 typeface="TeleNeo Office" panose="020B0504040202090203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864000" indent="-144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 typeface="TeleNeo Office" panose="020B0504040202090203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1008000" indent="-144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 typeface="TeleNeo Office" panose="020B0504040202090203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93" userDrawn="1">
          <p15:clr>
            <a:srgbClr val="F26B43"/>
          </p15:clr>
        </p15:guide>
        <p15:guide id="2" pos="7287" userDrawn="1">
          <p15:clr>
            <a:srgbClr val="F26B43"/>
          </p15:clr>
        </p15:guide>
        <p15:guide id="4" orient="horz" pos="3929" userDrawn="1">
          <p15:clr>
            <a:srgbClr val="F26B43"/>
          </p15:clr>
        </p15:guide>
        <p15:guide id="5" pos="3840" userDrawn="1">
          <p15:clr>
            <a:srgbClr val="F26B43"/>
          </p15:clr>
        </p15:guide>
        <p15:guide id="6" orient="horz" pos="935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7" Type="http://schemas.openxmlformats.org/officeDocument/2006/relationships/image" Target="../media/image8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jpe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jpeg"/><Relationship Id="rId13" Type="http://schemas.openxmlformats.org/officeDocument/2006/relationships/image" Target="../media/image16.png"/><Relationship Id="rId3" Type="http://schemas.openxmlformats.org/officeDocument/2006/relationships/image" Target="../media/image5.jpeg"/><Relationship Id="rId7" Type="http://schemas.openxmlformats.org/officeDocument/2006/relationships/image" Target="../media/image11.jpeg"/><Relationship Id="rId12" Type="http://schemas.openxmlformats.org/officeDocument/2006/relationships/image" Target="../media/image15.png"/><Relationship Id="rId2" Type="http://schemas.openxmlformats.org/officeDocument/2006/relationships/notesSlide" Target="../notesSlides/notesSlide1.xml"/><Relationship Id="rId16" Type="http://schemas.openxmlformats.org/officeDocument/2006/relationships/hyperlink" Target="https://yam.telekom.de/docs/DOC-279546" TargetMode="Externa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10.jpeg"/><Relationship Id="rId11" Type="http://schemas.openxmlformats.org/officeDocument/2006/relationships/image" Target="../media/image14.jpeg"/><Relationship Id="rId5" Type="http://schemas.openxmlformats.org/officeDocument/2006/relationships/image" Target="../media/image3.jpeg"/><Relationship Id="rId15" Type="http://schemas.openxmlformats.org/officeDocument/2006/relationships/hyperlink" Target="https://www.brand-design.telekom.com/en/downloads/presentations/" TargetMode="External"/><Relationship Id="rId10" Type="http://schemas.openxmlformats.org/officeDocument/2006/relationships/image" Target="../media/image13.jpeg"/><Relationship Id="rId4" Type="http://schemas.openxmlformats.org/officeDocument/2006/relationships/image" Target="../media/image9.jpeg"/><Relationship Id="rId9" Type="http://schemas.openxmlformats.org/officeDocument/2006/relationships/image" Target="../media/image4.jpeg"/><Relationship Id="rId14" Type="http://schemas.openxmlformats.org/officeDocument/2006/relationships/image" Target="../media/image17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contenthub.telekom.de/en/" TargetMode="External"/><Relationship Id="rId2" Type="http://schemas.openxmlformats.org/officeDocument/2006/relationships/image" Target="../media/image18.jpg"/><Relationship Id="rId1" Type="http://schemas.openxmlformats.org/officeDocument/2006/relationships/slideLayout" Target="../slideLayouts/slideLayout10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emf"/><Relationship Id="rId3" Type="http://schemas.openxmlformats.org/officeDocument/2006/relationships/tags" Target="../tags/tag2.xml"/><Relationship Id="rId7" Type="http://schemas.openxmlformats.org/officeDocument/2006/relationships/oleObject" Target="../embeddings/oleObject1.bin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0.jpg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>
            <a:lumMod val="85000"/>
            <a:lumOff val="1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0" name="Grafik 540">
            <a:extLst>
              <a:ext uri="{FF2B5EF4-FFF2-40B4-BE49-F238E27FC236}">
                <a16:creationId xmlns:a16="http://schemas.microsoft.com/office/drawing/2014/main" id="{4128A663-3B5A-40A5-8DD0-CED3328B96B3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3860650" y="3111518"/>
            <a:ext cx="2451374" cy="1379976"/>
          </a:xfrm>
          <a:prstGeom prst="rect">
            <a:avLst/>
          </a:prstGeom>
        </p:spPr>
      </p:pic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14410A66-2082-4E19-8850-FB0BB9B506D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confidential, internal, public | Author | Topic of presentation</a:t>
            </a:r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33967330-E8AD-4941-9858-52E324B9460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1A5E10D-79A5-49BA-9648-53481340C65F}" type="slidenum">
              <a:rPr lang="en-US" smtClean="0"/>
              <a:pPr/>
              <a:t>1</a:t>
            </a:fld>
            <a:endParaRPr lang="en-US" dirty="0"/>
          </a:p>
        </p:txBody>
      </p:sp>
      <p:pic>
        <p:nvPicPr>
          <p:cNvPr id="6" name="Grafik 540">
            <a:extLst>
              <a:ext uri="{FF2B5EF4-FFF2-40B4-BE49-F238E27FC236}">
                <a16:creationId xmlns:a16="http://schemas.microsoft.com/office/drawing/2014/main" id="{C4D6DD2B-D364-4632-BFED-C2C477460C1D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3815717" y="1197706"/>
            <a:ext cx="2451374" cy="1379976"/>
          </a:xfrm>
          <a:prstGeom prst="rect">
            <a:avLst/>
          </a:prstGeom>
        </p:spPr>
      </p:pic>
      <p:sp>
        <p:nvSpPr>
          <p:cNvPr id="7" name="Rectangle 21">
            <a:extLst>
              <a:ext uri="{FF2B5EF4-FFF2-40B4-BE49-F238E27FC236}">
                <a16:creationId xmlns:a16="http://schemas.microsoft.com/office/drawing/2014/main" id="{C7C967ED-AFB5-469F-A89A-FA05F3A14EBC}"/>
              </a:ext>
            </a:extLst>
          </p:cNvPr>
          <p:cNvSpPr>
            <a:spLocks noChangeAspect="1" noChangeArrowheads="1"/>
          </p:cNvSpPr>
          <p:nvPr/>
        </p:nvSpPr>
        <p:spPr bwMode="gray">
          <a:xfrm>
            <a:off x="10325057" y="2466855"/>
            <a:ext cx="792088" cy="792088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wrap="square" lIns="0" tIns="0" rIns="0" bIns="0" anchor="ctr" anchorCtr="0">
            <a:noAutofit/>
          </a:bodyPr>
          <a:lstStyle>
            <a:lvl1pPr marL="1588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1pPr>
            <a:lvl2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2pPr>
            <a:lvl3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3pPr>
            <a:lvl4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4pPr>
            <a:lvl5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5pPr>
            <a:lvl6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6pPr>
            <a:lvl7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7pPr>
            <a:lvl8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8pPr>
            <a:lvl9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 algn="ctr">
              <a:spcBef>
                <a:spcPts val="0"/>
              </a:spcBef>
            </a:pPr>
            <a:r>
              <a:rPr lang="en-US" altLang="de-DE" sz="1200" cap="all" dirty="0">
                <a:latin typeface="+mj-lt"/>
                <a:sym typeface="TeleGrotesk Next Ultra" pitchFamily="2" charset="0"/>
              </a:rPr>
              <a:t>Output</a:t>
            </a:r>
          </a:p>
        </p:txBody>
      </p:sp>
      <p:sp>
        <p:nvSpPr>
          <p:cNvPr id="8" name="Rectangle 21">
            <a:extLst>
              <a:ext uri="{FF2B5EF4-FFF2-40B4-BE49-F238E27FC236}">
                <a16:creationId xmlns:a16="http://schemas.microsoft.com/office/drawing/2014/main" id="{27164115-BBCC-4D48-8422-84E133178FF0}"/>
              </a:ext>
            </a:extLst>
          </p:cNvPr>
          <p:cNvSpPr>
            <a:spLocks noChangeAspect="1" noChangeArrowheads="1"/>
          </p:cNvSpPr>
          <p:nvPr/>
        </p:nvSpPr>
        <p:spPr bwMode="gray">
          <a:xfrm>
            <a:off x="994205" y="2511436"/>
            <a:ext cx="781315" cy="781315"/>
          </a:xfrm>
          <a:prstGeom prst="ellipse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wrap="square" lIns="0" tIns="0" rIns="0" bIns="0" anchor="ctr" anchorCtr="0">
            <a:noAutofit/>
          </a:bodyPr>
          <a:lstStyle>
            <a:lvl1pPr marL="1588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1pPr>
            <a:lvl2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2pPr>
            <a:lvl3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3pPr>
            <a:lvl4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4pPr>
            <a:lvl5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5pPr>
            <a:lvl6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6pPr>
            <a:lvl7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7pPr>
            <a:lvl8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8pPr>
            <a:lvl9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 algn="ctr">
              <a:spcBef>
                <a:spcPts val="0"/>
              </a:spcBef>
            </a:pPr>
            <a:r>
              <a:rPr lang="en-US" altLang="de-DE" sz="1200" cap="all" dirty="0">
                <a:latin typeface="+mj-lt"/>
                <a:sym typeface="TeleGrotesk Next Ultra" pitchFamily="2" charset="0"/>
              </a:rPr>
              <a:t>Input</a:t>
            </a:r>
          </a:p>
        </p:txBody>
      </p:sp>
      <p:pic>
        <p:nvPicPr>
          <p:cNvPr id="10" name="Grafik 546">
            <a:extLst>
              <a:ext uri="{FF2B5EF4-FFF2-40B4-BE49-F238E27FC236}">
                <a16:creationId xmlns:a16="http://schemas.microsoft.com/office/drawing/2014/main" id="{CA0D0F87-959E-4B3A-A4B8-4B4DE5A4F73D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 rot="16200000">
            <a:off x="1273657" y="2601469"/>
            <a:ext cx="2736299" cy="607974"/>
          </a:xfrm>
          <a:prstGeom prst="rect">
            <a:avLst/>
          </a:prstGeom>
        </p:spPr>
      </p:pic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E80C5646-211D-4EA5-BBAC-5589470D0CF6}"/>
              </a:ext>
            </a:extLst>
          </p:cNvPr>
          <p:cNvCxnSpPr>
            <a:cxnSpLocks/>
            <a:stCxn id="8" idx="6"/>
            <a:endCxn id="10" idx="0"/>
          </p:cNvCxnSpPr>
          <p:nvPr/>
        </p:nvCxnSpPr>
        <p:spPr bwMode="gray">
          <a:xfrm>
            <a:off x="1775520" y="2902094"/>
            <a:ext cx="562299" cy="3362"/>
          </a:xfrm>
          <a:prstGeom prst="line">
            <a:avLst/>
          </a:prstGeom>
          <a:ln w="7620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65F1E081-8A3D-4BC6-83F7-8C63E0366A42}"/>
              </a:ext>
            </a:extLst>
          </p:cNvPr>
          <p:cNvCxnSpPr>
            <a:cxnSpLocks/>
            <a:endCxn id="6" idx="1"/>
          </p:cNvCxnSpPr>
          <p:nvPr/>
        </p:nvCxnSpPr>
        <p:spPr bwMode="gray">
          <a:xfrm>
            <a:off x="2945793" y="1887694"/>
            <a:ext cx="869924" cy="0"/>
          </a:xfrm>
          <a:prstGeom prst="line">
            <a:avLst/>
          </a:prstGeom>
          <a:ln w="7620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r Verbinder 13">
            <a:extLst>
              <a:ext uri="{FF2B5EF4-FFF2-40B4-BE49-F238E27FC236}">
                <a16:creationId xmlns:a16="http://schemas.microsoft.com/office/drawing/2014/main" id="{B925F4AE-1425-4846-B12A-74DB34E7BF62}"/>
              </a:ext>
            </a:extLst>
          </p:cNvPr>
          <p:cNvCxnSpPr>
            <a:cxnSpLocks/>
          </p:cNvCxnSpPr>
          <p:nvPr/>
        </p:nvCxnSpPr>
        <p:spPr bwMode="gray">
          <a:xfrm flipV="1">
            <a:off x="2942153" y="3840630"/>
            <a:ext cx="917959" cy="1"/>
          </a:xfrm>
          <a:prstGeom prst="line">
            <a:avLst/>
          </a:prstGeom>
          <a:ln w="7620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7" name="Grafik 546">
            <a:extLst>
              <a:ext uri="{FF2B5EF4-FFF2-40B4-BE49-F238E27FC236}">
                <a16:creationId xmlns:a16="http://schemas.microsoft.com/office/drawing/2014/main" id="{FB584E3D-E887-4009-B7A4-8B4874B70068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 rot="16200000">
            <a:off x="6126885" y="2601469"/>
            <a:ext cx="2736299" cy="607974"/>
          </a:xfrm>
          <a:prstGeom prst="rect">
            <a:avLst/>
          </a:prstGeom>
        </p:spPr>
      </p:pic>
      <p:cxnSp>
        <p:nvCxnSpPr>
          <p:cNvPr id="28" name="Gerader Verbinder 27">
            <a:extLst>
              <a:ext uri="{FF2B5EF4-FFF2-40B4-BE49-F238E27FC236}">
                <a16:creationId xmlns:a16="http://schemas.microsoft.com/office/drawing/2014/main" id="{044F2B93-62E8-446E-9F44-5E694B169315}"/>
              </a:ext>
            </a:extLst>
          </p:cNvPr>
          <p:cNvCxnSpPr>
            <a:cxnSpLocks/>
          </p:cNvCxnSpPr>
          <p:nvPr/>
        </p:nvCxnSpPr>
        <p:spPr bwMode="gray">
          <a:xfrm>
            <a:off x="6267091" y="1887694"/>
            <a:ext cx="869924" cy="0"/>
          </a:xfrm>
          <a:prstGeom prst="line">
            <a:avLst/>
          </a:prstGeom>
          <a:ln w="7620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Gerader Verbinder 28">
            <a:extLst>
              <a:ext uri="{FF2B5EF4-FFF2-40B4-BE49-F238E27FC236}">
                <a16:creationId xmlns:a16="http://schemas.microsoft.com/office/drawing/2014/main" id="{E5323781-A6BE-44B0-99E5-FC1B83C2B4A1}"/>
              </a:ext>
            </a:extLst>
          </p:cNvPr>
          <p:cNvCxnSpPr>
            <a:cxnSpLocks/>
          </p:cNvCxnSpPr>
          <p:nvPr/>
        </p:nvCxnSpPr>
        <p:spPr bwMode="gray">
          <a:xfrm>
            <a:off x="6339098" y="3840630"/>
            <a:ext cx="797917" cy="0"/>
          </a:xfrm>
          <a:prstGeom prst="line">
            <a:avLst/>
          </a:prstGeom>
          <a:ln w="7620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Gerader Verbinder 36">
            <a:extLst>
              <a:ext uri="{FF2B5EF4-FFF2-40B4-BE49-F238E27FC236}">
                <a16:creationId xmlns:a16="http://schemas.microsoft.com/office/drawing/2014/main" id="{C8FA573D-C5A0-4574-9FAD-FA4D3E6BB252}"/>
              </a:ext>
            </a:extLst>
          </p:cNvPr>
          <p:cNvCxnSpPr>
            <a:cxnSpLocks/>
          </p:cNvCxnSpPr>
          <p:nvPr/>
        </p:nvCxnSpPr>
        <p:spPr bwMode="gray">
          <a:xfrm flipV="1">
            <a:off x="7799022" y="2833449"/>
            <a:ext cx="869924" cy="10776"/>
          </a:xfrm>
          <a:prstGeom prst="line">
            <a:avLst/>
          </a:prstGeom>
          <a:ln w="7620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Gerader Verbinder 44">
            <a:extLst>
              <a:ext uri="{FF2B5EF4-FFF2-40B4-BE49-F238E27FC236}">
                <a16:creationId xmlns:a16="http://schemas.microsoft.com/office/drawing/2014/main" id="{44C6B19A-250C-482F-82C5-B794DFBB5235}"/>
              </a:ext>
            </a:extLst>
          </p:cNvPr>
          <p:cNvCxnSpPr>
            <a:cxnSpLocks/>
          </p:cNvCxnSpPr>
          <p:nvPr/>
        </p:nvCxnSpPr>
        <p:spPr bwMode="gray">
          <a:xfrm flipV="1">
            <a:off x="9453597" y="2875963"/>
            <a:ext cx="869924" cy="10776"/>
          </a:xfrm>
          <a:prstGeom prst="line">
            <a:avLst/>
          </a:prstGeom>
          <a:ln w="7620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6" name="Grafik 538">
            <a:extLst>
              <a:ext uri="{FF2B5EF4-FFF2-40B4-BE49-F238E27FC236}">
                <a16:creationId xmlns:a16="http://schemas.microsoft.com/office/drawing/2014/main" id="{036FAF9B-44E2-4D54-92EC-7592D1F232A9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8651867" y="2373928"/>
            <a:ext cx="865621" cy="1004070"/>
          </a:xfrm>
          <a:prstGeom prst="rect">
            <a:avLst/>
          </a:prstGeom>
        </p:spPr>
      </p:pic>
      <p:pic>
        <p:nvPicPr>
          <p:cNvPr id="47" name="Grafik 46">
            <a:extLst>
              <a:ext uri="{FF2B5EF4-FFF2-40B4-BE49-F238E27FC236}">
                <a16:creationId xmlns:a16="http://schemas.microsoft.com/office/drawing/2014/main" id="{E169F92D-4778-47BB-BCBE-00A5A58AC66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002555" y="1307187"/>
            <a:ext cx="2077697" cy="881151"/>
          </a:xfrm>
          <a:prstGeom prst="rect">
            <a:avLst/>
          </a:prstGeom>
        </p:spPr>
      </p:pic>
      <p:sp>
        <p:nvSpPr>
          <p:cNvPr id="48" name="Textfeld 47">
            <a:extLst>
              <a:ext uri="{FF2B5EF4-FFF2-40B4-BE49-F238E27FC236}">
                <a16:creationId xmlns:a16="http://schemas.microsoft.com/office/drawing/2014/main" id="{43CAB103-94CE-41CE-99DA-1B19E84BF8AB}"/>
              </a:ext>
            </a:extLst>
          </p:cNvPr>
          <p:cNvSpPr txBox="1"/>
          <p:nvPr/>
        </p:nvSpPr>
        <p:spPr>
          <a:xfrm>
            <a:off x="4002555" y="2234625"/>
            <a:ext cx="2504885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144000" indent="-144000" algn="l"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</a:pPr>
            <a:r>
              <a:rPr lang="de-DE" dirty="0" err="1">
                <a:solidFill>
                  <a:schemeClr val="bg1"/>
                </a:solidFill>
              </a:rPr>
              <a:t>InceptionResNet</a:t>
            </a:r>
            <a:r>
              <a:rPr lang="de-DE" dirty="0">
                <a:solidFill>
                  <a:schemeClr val="bg1"/>
                </a:solidFill>
              </a:rPr>
              <a:t> V2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49" name="Textfeld 48">
            <a:extLst>
              <a:ext uri="{FF2B5EF4-FFF2-40B4-BE49-F238E27FC236}">
                <a16:creationId xmlns:a16="http://schemas.microsoft.com/office/drawing/2014/main" id="{C7B5E317-E795-4A51-99D1-F7622C0AD446}"/>
              </a:ext>
            </a:extLst>
          </p:cNvPr>
          <p:cNvSpPr txBox="1"/>
          <p:nvPr/>
        </p:nvSpPr>
        <p:spPr>
          <a:xfrm>
            <a:off x="4392054" y="4190706"/>
            <a:ext cx="2242664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144000" indent="-144000" algn="l"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</a:pPr>
            <a:r>
              <a:rPr lang="de-DE" dirty="0" err="1">
                <a:solidFill>
                  <a:schemeClr val="bg1"/>
                </a:solidFill>
              </a:rPr>
              <a:t>Xception</a:t>
            </a:r>
            <a:r>
              <a:rPr lang="de-DE" dirty="0">
                <a:solidFill>
                  <a:schemeClr val="bg1"/>
                </a:solidFill>
              </a:rPr>
              <a:t> V4</a:t>
            </a:r>
            <a:endParaRPr lang="en-US" dirty="0">
              <a:solidFill>
                <a:schemeClr val="bg1"/>
              </a:solidFill>
            </a:endParaRPr>
          </a:p>
        </p:txBody>
      </p:sp>
      <p:pic>
        <p:nvPicPr>
          <p:cNvPr id="53" name="Grafik 52">
            <a:extLst>
              <a:ext uri="{FF2B5EF4-FFF2-40B4-BE49-F238E27FC236}">
                <a16:creationId xmlns:a16="http://schemas.microsoft.com/office/drawing/2014/main" id="{89E2A429-EC78-48BF-A0E3-BC66100E3A1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046716" y="3250746"/>
            <a:ext cx="2070016" cy="902750"/>
          </a:xfrm>
          <a:prstGeom prst="rect">
            <a:avLst/>
          </a:prstGeom>
        </p:spPr>
      </p:pic>
      <p:pic>
        <p:nvPicPr>
          <p:cNvPr id="54" name="Grafik 53">
            <a:extLst>
              <a:ext uri="{FF2B5EF4-FFF2-40B4-BE49-F238E27FC236}">
                <a16:creationId xmlns:a16="http://schemas.microsoft.com/office/drawing/2014/main" id="{BA8E5F23-4C20-4062-8F2A-1139DA4FDF6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832809" y="2506159"/>
            <a:ext cx="507745" cy="605359"/>
          </a:xfrm>
          <a:prstGeom prst="rect">
            <a:avLst/>
          </a:prstGeom>
        </p:spPr>
      </p:pic>
      <p:sp>
        <p:nvSpPr>
          <p:cNvPr id="55" name="Rechteck 54">
            <a:extLst>
              <a:ext uri="{FF2B5EF4-FFF2-40B4-BE49-F238E27FC236}">
                <a16:creationId xmlns:a16="http://schemas.microsoft.com/office/drawing/2014/main" id="{D0152F49-204D-4544-9340-44E4E8D38253}"/>
              </a:ext>
            </a:extLst>
          </p:cNvPr>
          <p:cNvSpPr/>
          <p:nvPr/>
        </p:nvSpPr>
        <p:spPr>
          <a:xfrm>
            <a:off x="8616280" y="3077064"/>
            <a:ext cx="901209" cy="4062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dirty="0">
                <a:solidFill>
                  <a:schemeClr val="bg1"/>
                </a:solidFill>
              </a:rPr>
              <a:t>Custom</a:t>
            </a:r>
            <a:endParaRPr lang="en-US" dirty="0"/>
          </a:p>
        </p:txBody>
      </p:sp>
      <p:sp>
        <p:nvSpPr>
          <p:cNvPr id="60" name="Rechteck 59">
            <a:extLst>
              <a:ext uri="{FF2B5EF4-FFF2-40B4-BE49-F238E27FC236}">
                <a16:creationId xmlns:a16="http://schemas.microsoft.com/office/drawing/2014/main" id="{D45233A5-335F-4ACC-84CC-FE2EEE688F0F}"/>
              </a:ext>
            </a:extLst>
          </p:cNvPr>
          <p:cNvSpPr/>
          <p:nvPr/>
        </p:nvSpPr>
        <p:spPr>
          <a:xfrm>
            <a:off x="7560163" y="3479097"/>
            <a:ext cx="3013441" cy="707886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de-DE" sz="2000" b="1" cap="none" spc="0" dirty="0" err="1">
                <a:ln w="12700">
                  <a:solidFill>
                    <a:schemeClr val="accent3">
                      <a:lumMod val="50000"/>
                    </a:schemeClr>
                  </a:solidFill>
                  <a:prstDash val="solid"/>
                </a:ln>
                <a:solidFill>
                  <a:schemeClr val="tx2"/>
                </a:solidFill>
                <a:effectLst>
                  <a:innerShdw blurRad="177800">
                    <a:schemeClr val="accent3">
                      <a:lumMod val="50000"/>
                    </a:schemeClr>
                  </a:innerShdw>
                </a:effectLst>
              </a:rPr>
              <a:t>training</a:t>
            </a:r>
            <a:r>
              <a:rPr lang="de-DE" sz="2000" b="1" cap="none" spc="0" dirty="0">
                <a:ln w="12700">
                  <a:solidFill>
                    <a:schemeClr val="accent3">
                      <a:lumMod val="50000"/>
                    </a:schemeClr>
                  </a:solidFill>
                  <a:prstDash val="solid"/>
                </a:ln>
                <a:solidFill>
                  <a:schemeClr val="tx2"/>
                </a:solidFill>
                <a:effectLst>
                  <a:innerShdw blurRad="177800">
                    <a:schemeClr val="accent3">
                      <a:lumMod val="50000"/>
                    </a:schemeClr>
                  </a:innerShdw>
                </a:effectLst>
              </a:rPr>
              <a:t> </a:t>
            </a:r>
            <a:br>
              <a:rPr lang="de-DE" sz="2000" b="1" dirty="0">
                <a:ln w="12700">
                  <a:solidFill>
                    <a:schemeClr val="accent3">
                      <a:lumMod val="50000"/>
                    </a:schemeClr>
                  </a:solidFill>
                  <a:prstDash val="solid"/>
                </a:ln>
                <a:solidFill>
                  <a:schemeClr val="tx2"/>
                </a:solidFill>
                <a:effectLst>
                  <a:innerShdw blurRad="177800">
                    <a:schemeClr val="accent3">
                      <a:lumMod val="50000"/>
                    </a:schemeClr>
                  </a:innerShdw>
                </a:effectLst>
              </a:rPr>
            </a:br>
            <a:r>
              <a:rPr lang="de-DE" sz="2000" b="1" cap="none" spc="0" dirty="0" err="1">
                <a:ln w="12700">
                  <a:solidFill>
                    <a:schemeClr val="accent3">
                      <a:lumMod val="50000"/>
                    </a:schemeClr>
                  </a:solidFill>
                  <a:prstDash val="solid"/>
                </a:ln>
                <a:solidFill>
                  <a:schemeClr val="tx2"/>
                </a:solidFill>
                <a:effectLst>
                  <a:innerShdw blurRad="177800">
                    <a:schemeClr val="accent3">
                      <a:lumMod val="50000"/>
                    </a:schemeClr>
                  </a:innerShdw>
                </a:effectLst>
              </a:rPr>
              <a:t>necessary</a:t>
            </a:r>
            <a:endParaRPr lang="de-DE" sz="2000" b="1" cap="none" spc="0" dirty="0">
              <a:ln w="12700">
                <a:solidFill>
                  <a:schemeClr val="accent3">
                    <a:lumMod val="50000"/>
                  </a:schemeClr>
                </a:solidFill>
                <a:prstDash val="solid"/>
              </a:ln>
              <a:solidFill>
                <a:schemeClr val="tx2"/>
              </a:solidFill>
              <a:effectLst>
                <a:innerShdw blurRad="177800">
                  <a:schemeClr val="accent3">
                    <a:lumMod val="50000"/>
                  </a:schemeClr>
                </a:innerShdw>
              </a:effectLst>
            </a:endParaRPr>
          </a:p>
        </p:txBody>
      </p:sp>
      <p:sp>
        <p:nvSpPr>
          <p:cNvPr id="61" name="Rechteck 60">
            <a:extLst>
              <a:ext uri="{FF2B5EF4-FFF2-40B4-BE49-F238E27FC236}">
                <a16:creationId xmlns:a16="http://schemas.microsoft.com/office/drawing/2014/main" id="{00C90F1D-0677-4B81-99C8-6A0E1074CE3B}"/>
              </a:ext>
            </a:extLst>
          </p:cNvPr>
          <p:cNvSpPr/>
          <p:nvPr/>
        </p:nvSpPr>
        <p:spPr>
          <a:xfrm>
            <a:off x="3544839" y="742856"/>
            <a:ext cx="3013441" cy="400110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de-DE" sz="2000" b="1" dirty="0" err="1">
                <a:ln w="12700">
                  <a:solidFill>
                    <a:schemeClr val="accent3">
                      <a:lumMod val="50000"/>
                    </a:schemeClr>
                  </a:solidFill>
                  <a:prstDash val="solid"/>
                </a:ln>
                <a:solidFill>
                  <a:schemeClr val="tx2"/>
                </a:solidFill>
                <a:effectLst>
                  <a:innerShdw blurRad="177800">
                    <a:schemeClr val="accent3">
                      <a:lumMod val="50000"/>
                    </a:schemeClr>
                  </a:innerShdw>
                </a:effectLst>
              </a:rPr>
              <a:t>pre-trained</a:t>
            </a:r>
            <a:endParaRPr lang="de-DE" sz="2000" b="1" cap="none" spc="0" dirty="0">
              <a:ln w="12700">
                <a:solidFill>
                  <a:schemeClr val="accent3">
                    <a:lumMod val="50000"/>
                  </a:schemeClr>
                </a:solidFill>
                <a:prstDash val="solid"/>
              </a:ln>
              <a:solidFill>
                <a:schemeClr val="tx2"/>
              </a:solidFill>
              <a:effectLst>
                <a:innerShdw blurRad="177800">
                  <a:schemeClr val="accent3">
                    <a:lumMod val="50000"/>
                  </a:schemeClr>
                </a:innerShdw>
              </a:effectLst>
            </a:endParaRPr>
          </a:p>
        </p:txBody>
      </p:sp>
      <p:sp>
        <p:nvSpPr>
          <p:cNvPr id="62" name="Rechteck 61">
            <a:extLst>
              <a:ext uri="{FF2B5EF4-FFF2-40B4-BE49-F238E27FC236}">
                <a16:creationId xmlns:a16="http://schemas.microsoft.com/office/drawing/2014/main" id="{A1313BBB-3CE0-4595-813B-62CCD54D4533}"/>
              </a:ext>
            </a:extLst>
          </p:cNvPr>
          <p:cNvSpPr/>
          <p:nvPr/>
        </p:nvSpPr>
        <p:spPr>
          <a:xfrm>
            <a:off x="3493999" y="4576288"/>
            <a:ext cx="3013441" cy="400110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de-DE" sz="2000" b="1" dirty="0" err="1">
                <a:ln w="12700">
                  <a:solidFill>
                    <a:schemeClr val="accent3">
                      <a:lumMod val="50000"/>
                    </a:schemeClr>
                  </a:solidFill>
                  <a:prstDash val="solid"/>
                </a:ln>
                <a:solidFill>
                  <a:schemeClr val="tx2"/>
                </a:solidFill>
                <a:effectLst>
                  <a:innerShdw blurRad="177800">
                    <a:schemeClr val="accent3">
                      <a:lumMod val="50000"/>
                    </a:schemeClr>
                  </a:innerShdw>
                </a:effectLst>
              </a:rPr>
              <a:t>pre-trained</a:t>
            </a:r>
            <a:endParaRPr lang="de-DE" sz="2000" b="1" cap="none" spc="0" dirty="0">
              <a:ln w="12700">
                <a:solidFill>
                  <a:schemeClr val="accent3">
                    <a:lumMod val="50000"/>
                  </a:schemeClr>
                </a:solidFill>
                <a:prstDash val="solid"/>
              </a:ln>
              <a:solidFill>
                <a:schemeClr val="tx2"/>
              </a:solidFill>
              <a:effectLst>
                <a:innerShdw blurRad="177800">
                  <a:schemeClr val="accent3">
                    <a:lumMod val="50000"/>
                  </a:schemeClr>
                </a:innerShdw>
              </a:effectLst>
            </a:endParaRPr>
          </a:p>
        </p:txBody>
      </p:sp>
      <p:sp>
        <p:nvSpPr>
          <p:cNvPr id="63" name="Textfeld 62">
            <a:extLst>
              <a:ext uri="{FF2B5EF4-FFF2-40B4-BE49-F238E27FC236}">
                <a16:creationId xmlns:a16="http://schemas.microsoft.com/office/drawing/2014/main" id="{F231587D-C774-4041-A74E-7414888142FC}"/>
              </a:ext>
            </a:extLst>
          </p:cNvPr>
          <p:cNvSpPr txBox="1"/>
          <p:nvPr/>
        </p:nvSpPr>
        <p:spPr>
          <a:xfrm rot="16200000">
            <a:off x="7341054" y="2654318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>
              <a:buClr>
                <a:schemeClr val="tx2"/>
              </a:buClr>
              <a:buSzPct val="100000"/>
            </a:pPr>
            <a:r>
              <a:rPr lang="de-DE" dirty="0" err="1"/>
              <a:t>Concaten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43527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6282E1F-1660-4747-B0A6-04443B0EF3E5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/>
          <a:p>
            <a:r>
              <a:rPr lang="en-US" altLang="de-DE" dirty="0"/>
              <a:t>Copy &amp; paste elements – Master 2020</a:t>
            </a:r>
            <a:endParaRPr lang="en-US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0A4DDBC-7D70-4467-A407-087B5D1085C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r>
              <a:rPr lang="en-US" dirty="0"/>
              <a:t>confidential, internal, public | Author | Topic of presentation</a:t>
            </a:r>
          </a:p>
        </p:txBody>
      </p:sp>
      <p:sp>
        <p:nvSpPr>
          <p:cNvPr id="293" name="Foliennummernplatzhalter 292">
            <a:extLst>
              <a:ext uri="{FF2B5EF4-FFF2-40B4-BE49-F238E27FC236}">
                <a16:creationId xmlns:a16="http://schemas.microsoft.com/office/drawing/2014/main" id="{681D7F9F-699B-48F1-844C-2D92F374793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fld id="{A1A5E10D-79A5-49BA-9648-53481340C65F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302" name="Rectangle 21">
            <a:extLst>
              <a:ext uri="{FF2B5EF4-FFF2-40B4-BE49-F238E27FC236}">
                <a16:creationId xmlns:a16="http://schemas.microsoft.com/office/drawing/2014/main" id="{0B8F3D5C-FDBB-4172-99A7-DACA7073D2A8}"/>
              </a:ext>
            </a:extLst>
          </p:cNvPr>
          <p:cNvSpPr>
            <a:spLocks noChangeAspect="1" noChangeArrowheads="1"/>
          </p:cNvSpPr>
          <p:nvPr/>
        </p:nvSpPr>
        <p:spPr bwMode="gray">
          <a:xfrm>
            <a:off x="1848298" y="4581000"/>
            <a:ext cx="1008000" cy="1008000"/>
          </a:xfrm>
          <a:prstGeom prst="ellipse">
            <a:avLst/>
          </a:prstGeom>
          <a:solidFill>
            <a:schemeClr val="accent5"/>
          </a:solidFill>
          <a:ln>
            <a:noFill/>
          </a:ln>
          <a:effectLst/>
        </p:spPr>
        <p:txBody>
          <a:bodyPr wrap="square" lIns="0" tIns="0" rIns="0" bIns="0" anchor="ctr" anchorCtr="0">
            <a:noAutofit/>
          </a:bodyPr>
          <a:lstStyle>
            <a:lvl1pPr marL="1588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1pPr>
            <a:lvl2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2pPr>
            <a:lvl3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3pPr>
            <a:lvl4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4pPr>
            <a:lvl5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5pPr>
            <a:lvl6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6pPr>
            <a:lvl7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7pPr>
            <a:lvl8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8pPr>
            <a:lvl9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 algn="ctr">
              <a:spcBef>
                <a:spcPts val="0"/>
              </a:spcBef>
            </a:pPr>
            <a:r>
              <a:rPr lang="en-US" altLang="de-DE" sz="1200" cap="all" dirty="0">
                <a:latin typeface="+mj-lt"/>
                <a:sym typeface="TeleGrotesk Next Ultra" pitchFamily="2" charset="0"/>
              </a:rPr>
              <a:t>Eye-Catcher</a:t>
            </a:r>
          </a:p>
        </p:txBody>
      </p:sp>
      <p:sp>
        <p:nvSpPr>
          <p:cNvPr id="303" name="Rectangle 21">
            <a:extLst>
              <a:ext uri="{FF2B5EF4-FFF2-40B4-BE49-F238E27FC236}">
                <a16:creationId xmlns:a16="http://schemas.microsoft.com/office/drawing/2014/main" id="{29F1C7B2-C1BB-4628-B9A3-0D45AFD1F658}"/>
              </a:ext>
            </a:extLst>
          </p:cNvPr>
          <p:cNvSpPr>
            <a:spLocks noChangeAspect="1" noChangeArrowheads="1"/>
          </p:cNvSpPr>
          <p:nvPr/>
        </p:nvSpPr>
        <p:spPr bwMode="gray">
          <a:xfrm>
            <a:off x="3072000" y="4581000"/>
            <a:ext cx="1008000" cy="1008000"/>
          </a:xfrm>
          <a:prstGeom prst="ellipse">
            <a:avLst/>
          </a:prstGeom>
          <a:solidFill>
            <a:schemeClr val="accent6"/>
          </a:solidFill>
          <a:ln>
            <a:noFill/>
          </a:ln>
          <a:effectLst/>
        </p:spPr>
        <p:txBody>
          <a:bodyPr wrap="square" lIns="0" tIns="0" rIns="0" bIns="0" anchor="ctr" anchorCtr="0">
            <a:noAutofit/>
          </a:bodyPr>
          <a:lstStyle>
            <a:lvl1pPr marL="1588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1pPr>
            <a:lvl2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2pPr>
            <a:lvl3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3pPr>
            <a:lvl4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4pPr>
            <a:lvl5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5pPr>
            <a:lvl6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6pPr>
            <a:lvl7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7pPr>
            <a:lvl8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8pPr>
            <a:lvl9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 algn="ctr">
              <a:spcBef>
                <a:spcPts val="0"/>
              </a:spcBef>
            </a:pPr>
            <a:r>
              <a:rPr lang="en-US" altLang="de-DE" sz="1200" cap="all" dirty="0">
                <a:solidFill>
                  <a:schemeClr val="bg1"/>
                </a:solidFill>
                <a:latin typeface="+mj-lt"/>
                <a:sym typeface="TeleGrotesk Next Ultra" pitchFamily="2" charset="0"/>
              </a:rPr>
              <a:t>Eye-Catcher</a:t>
            </a:r>
          </a:p>
        </p:txBody>
      </p:sp>
      <p:sp>
        <p:nvSpPr>
          <p:cNvPr id="304" name="Rectangle 21">
            <a:extLst>
              <a:ext uri="{FF2B5EF4-FFF2-40B4-BE49-F238E27FC236}">
                <a16:creationId xmlns:a16="http://schemas.microsoft.com/office/drawing/2014/main" id="{82681580-25C3-4071-B5D0-9BCFFF9CF06C}"/>
              </a:ext>
            </a:extLst>
          </p:cNvPr>
          <p:cNvSpPr>
            <a:spLocks noChangeAspect="1" noChangeArrowheads="1"/>
          </p:cNvSpPr>
          <p:nvPr/>
        </p:nvSpPr>
        <p:spPr bwMode="gray">
          <a:xfrm>
            <a:off x="624596" y="3501000"/>
            <a:ext cx="1008000" cy="1008000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wrap="square" lIns="0" tIns="0" rIns="0" bIns="0" anchor="ctr" anchorCtr="0">
            <a:noAutofit/>
          </a:bodyPr>
          <a:lstStyle>
            <a:lvl1pPr marL="1588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1pPr>
            <a:lvl2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2pPr>
            <a:lvl3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3pPr>
            <a:lvl4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4pPr>
            <a:lvl5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5pPr>
            <a:lvl6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6pPr>
            <a:lvl7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7pPr>
            <a:lvl8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8pPr>
            <a:lvl9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 algn="ctr">
              <a:spcBef>
                <a:spcPts val="0"/>
              </a:spcBef>
            </a:pPr>
            <a:r>
              <a:rPr lang="en-US" altLang="de-DE" sz="1200" cap="all" dirty="0">
                <a:latin typeface="+mj-lt"/>
                <a:sym typeface="TeleGrotesk Next Ultra" pitchFamily="2" charset="0"/>
              </a:rPr>
              <a:t>Eye-Catcher</a:t>
            </a:r>
          </a:p>
        </p:txBody>
      </p:sp>
      <p:sp>
        <p:nvSpPr>
          <p:cNvPr id="305" name="Rectangle 21">
            <a:extLst>
              <a:ext uri="{FF2B5EF4-FFF2-40B4-BE49-F238E27FC236}">
                <a16:creationId xmlns:a16="http://schemas.microsoft.com/office/drawing/2014/main" id="{BAC13B34-FF8B-4BAD-8F9D-CE31BC45F332}"/>
              </a:ext>
            </a:extLst>
          </p:cNvPr>
          <p:cNvSpPr>
            <a:spLocks noChangeAspect="1" noChangeArrowheads="1"/>
          </p:cNvSpPr>
          <p:nvPr/>
        </p:nvSpPr>
        <p:spPr bwMode="gray">
          <a:xfrm>
            <a:off x="1848298" y="3501000"/>
            <a:ext cx="1008000" cy="1008000"/>
          </a:xfrm>
          <a:prstGeom prst="ellipse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wrap="square" lIns="0" tIns="0" rIns="0" bIns="0" anchor="ctr" anchorCtr="0">
            <a:noAutofit/>
          </a:bodyPr>
          <a:lstStyle>
            <a:lvl1pPr marL="1588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1pPr>
            <a:lvl2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2pPr>
            <a:lvl3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3pPr>
            <a:lvl4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4pPr>
            <a:lvl5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5pPr>
            <a:lvl6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6pPr>
            <a:lvl7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7pPr>
            <a:lvl8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8pPr>
            <a:lvl9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 algn="ctr">
              <a:spcBef>
                <a:spcPts val="0"/>
              </a:spcBef>
            </a:pPr>
            <a:r>
              <a:rPr lang="en-US" altLang="de-DE" sz="1200" cap="all" dirty="0">
                <a:latin typeface="+mj-lt"/>
                <a:sym typeface="TeleGrotesk Next Ultra" pitchFamily="2" charset="0"/>
              </a:rPr>
              <a:t>Eye-Catcher</a:t>
            </a:r>
          </a:p>
        </p:txBody>
      </p:sp>
      <p:sp>
        <p:nvSpPr>
          <p:cNvPr id="306" name="Rectangle 21">
            <a:extLst>
              <a:ext uri="{FF2B5EF4-FFF2-40B4-BE49-F238E27FC236}">
                <a16:creationId xmlns:a16="http://schemas.microsoft.com/office/drawing/2014/main" id="{D639AC64-99C2-4701-BDCE-7D8ABE188B7A}"/>
              </a:ext>
            </a:extLst>
          </p:cNvPr>
          <p:cNvSpPr>
            <a:spLocks noChangeAspect="1" noChangeArrowheads="1"/>
          </p:cNvSpPr>
          <p:nvPr/>
        </p:nvSpPr>
        <p:spPr bwMode="gray">
          <a:xfrm>
            <a:off x="3072000" y="3501000"/>
            <a:ext cx="1008000" cy="1008000"/>
          </a:xfrm>
          <a:prstGeom prst="ellipse">
            <a:avLst/>
          </a:prstGeom>
          <a:solidFill>
            <a:schemeClr val="accent3"/>
          </a:solidFill>
          <a:ln>
            <a:noFill/>
          </a:ln>
          <a:effectLst/>
        </p:spPr>
        <p:txBody>
          <a:bodyPr wrap="square" lIns="0" tIns="0" rIns="0" bIns="0" anchor="ctr" anchorCtr="0">
            <a:noAutofit/>
          </a:bodyPr>
          <a:lstStyle>
            <a:lvl1pPr marL="1588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1pPr>
            <a:lvl2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2pPr>
            <a:lvl3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3pPr>
            <a:lvl4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4pPr>
            <a:lvl5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5pPr>
            <a:lvl6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6pPr>
            <a:lvl7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7pPr>
            <a:lvl8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8pPr>
            <a:lvl9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 algn="ctr">
              <a:spcBef>
                <a:spcPts val="0"/>
              </a:spcBef>
            </a:pPr>
            <a:r>
              <a:rPr lang="en-US" altLang="de-DE" sz="1200" cap="all" dirty="0">
                <a:latin typeface="+mj-lt"/>
                <a:sym typeface="TeleGrotesk Next Ultra" pitchFamily="2" charset="0"/>
              </a:rPr>
              <a:t>Eye-Catcher</a:t>
            </a:r>
          </a:p>
        </p:txBody>
      </p:sp>
      <p:sp>
        <p:nvSpPr>
          <p:cNvPr id="307" name="Rectangle 21">
            <a:extLst>
              <a:ext uri="{FF2B5EF4-FFF2-40B4-BE49-F238E27FC236}">
                <a16:creationId xmlns:a16="http://schemas.microsoft.com/office/drawing/2014/main" id="{6DEE52D3-4C28-45C4-ADAD-924A6FEBC8B6}"/>
              </a:ext>
            </a:extLst>
          </p:cNvPr>
          <p:cNvSpPr>
            <a:spLocks noChangeAspect="1" noChangeArrowheads="1"/>
          </p:cNvSpPr>
          <p:nvPr/>
        </p:nvSpPr>
        <p:spPr bwMode="gray">
          <a:xfrm>
            <a:off x="624596" y="4581000"/>
            <a:ext cx="1008000" cy="1008000"/>
          </a:xfrm>
          <a:prstGeom prst="ellipse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wrap="square" lIns="0" tIns="0" rIns="0" bIns="0" anchor="ctr" anchorCtr="0">
            <a:noAutofit/>
          </a:bodyPr>
          <a:lstStyle>
            <a:lvl1pPr marL="1588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1pPr>
            <a:lvl2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2pPr>
            <a:lvl3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3pPr>
            <a:lvl4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4pPr>
            <a:lvl5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5pPr>
            <a:lvl6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6pPr>
            <a:lvl7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7pPr>
            <a:lvl8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8pPr>
            <a:lvl9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 algn="ctr">
              <a:spcBef>
                <a:spcPts val="0"/>
              </a:spcBef>
            </a:pPr>
            <a:r>
              <a:rPr lang="en-US" altLang="de-DE" sz="1200" cap="all" dirty="0">
                <a:latin typeface="+mj-lt"/>
                <a:sym typeface="TeleGrotesk Next Ultra" pitchFamily="2" charset="0"/>
              </a:rPr>
              <a:t>Eye-Catcher</a:t>
            </a:r>
          </a:p>
        </p:txBody>
      </p:sp>
      <p:graphicFrame>
        <p:nvGraphicFramePr>
          <p:cNvPr id="309" name="Tabelle 8">
            <a:extLst>
              <a:ext uri="{FF2B5EF4-FFF2-40B4-BE49-F238E27FC236}">
                <a16:creationId xmlns:a16="http://schemas.microsoft.com/office/drawing/2014/main" id="{DBC328EB-ADCE-4276-A0BE-E87B5CCE514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56788692"/>
              </p:ext>
            </p:extLst>
          </p:nvPr>
        </p:nvGraphicFramePr>
        <p:xfrm>
          <a:off x="4655999" y="3933000"/>
          <a:ext cx="3168000" cy="936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168000">
                  <a:extLst>
                    <a:ext uri="{9D8B030D-6E8A-4147-A177-3AD203B41FA5}">
                      <a16:colId xmlns:a16="http://schemas.microsoft.com/office/drawing/2014/main" val="738131086"/>
                    </a:ext>
                  </a:extLst>
                </a:gridCol>
              </a:tblGrid>
              <a:tr h="936000">
                <a:tc>
                  <a:txBody>
                    <a:bodyPr/>
                    <a:lstStyle/>
                    <a:p>
                      <a:r>
                        <a:rPr lang="de-DE" b="0" dirty="0">
                          <a:solidFill>
                            <a:schemeClr val="tx2"/>
                          </a:solidFill>
                          <a:latin typeface="+mj-lt"/>
                        </a:rPr>
                        <a:t>This </a:t>
                      </a:r>
                      <a:r>
                        <a:rPr lang="de-DE" b="0" dirty="0" err="1">
                          <a:solidFill>
                            <a:schemeClr val="tx2"/>
                          </a:solidFill>
                          <a:latin typeface="+mj-lt"/>
                        </a:rPr>
                        <a:t>is</a:t>
                      </a:r>
                      <a:r>
                        <a:rPr lang="de-DE" b="0" dirty="0">
                          <a:solidFill>
                            <a:schemeClr val="tx2"/>
                          </a:solidFill>
                          <a:latin typeface="+mj-lt"/>
                        </a:rPr>
                        <a:t> a </a:t>
                      </a:r>
                      <a:r>
                        <a:rPr lang="de-DE" b="0" dirty="0" err="1">
                          <a:solidFill>
                            <a:schemeClr val="tx2"/>
                          </a:solidFill>
                          <a:latin typeface="+mj-lt"/>
                        </a:rPr>
                        <a:t>conclusion</a:t>
                      </a:r>
                      <a:r>
                        <a:rPr lang="de-DE" b="0" dirty="0">
                          <a:solidFill>
                            <a:schemeClr val="tx2"/>
                          </a:solidFill>
                          <a:latin typeface="+mj-lt"/>
                        </a:rPr>
                        <a:t>. </a:t>
                      </a:r>
                      <a:r>
                        <a:rPr lang="de-DE" b="0" dirty="0" err="1">
                          <a:solidFill>
                            <a:schemeClr val="tx2"/>
                          </a:solidFill>
                          <a:latin typeface="+mj-lt"/>
                        </a:rPr>
                        <a:t>Lorem</a:t>
                      </a:r>
                      <a:r>
                        <a:rPr lang="de-DE" b="0" dirty="0">
                          <a:solidFill>
                            <a:schemeClr val="tx2"/>
                          </a:solidFill>
                          <a:latin typeface="+mj-lt"/>
                        </a:rPr>
                        <a:t> ipsum dolor sit amet, consectetuer </a:t>
                      </a:r>
                      <a:r>
                        <a:rPr lang="de-DE" b="0" dirty="0" err="1">
                          <a:solidFill>
                            <a:schemeClr val="tx2"/>
                          </a:solidFill>
                          <a:latin typeface="+mj-lt"/>
                        </a:rPr>
                        <a:t>adipiscing</a:t>
                      </a:r>
                      <a:r>
                        <a:rPr lang="de-DE" b="0" dirty="0">
                          <a:solidFill>
                            <a:schemeClr val="tx2"/>
                          </a:solidFill>
                          <a:latin typeface="+mj-lt"/>
                        </a:rPr>
                        <a:t> </a:t>
                      </a:r>
                      <a:r>
                        <a:rPr lang="de-DE" b="0" dirty="0" err="1">
                          <a:solidFill>
                            <a:schemeClr val="tx2"/>
                          </a:solidFill>
                          <a:latin typeface="+mj-lt"/>
                        </a:rPr>
                        <a:t>elit</a:t>
                      </a:r>
                      <a:r>
                        <a:rPr lang="de-DE" b="0" dirty="0">
                          <a:solidFill>
                            <a:schemeClr val="tx2"/>
                          </a:solidFill>
                          <a:latin typeface="+mj-lt"/>
                        </a:rPr>
                        <a:t> Maecenas </a:t>
                      </a:r>
                      <a:r>
                        <a:rPr lang="de-DE" b="0" dirty="0" err="1">
                          <a:solidFill>
                            <a:schemeClr val="tx2"/>
                          </a:solidFill>
                          <a:latin typeface="+mj-lt"/>
                        </a:rPr>
                        <a:t>port</a:t>
                      </a:r>
                      <a:r>
                        <a:rPr lang="de-DE" b="0" dirty="0">
                          <a:solidFill>
                            <a:schemeClr val="tx2"/>
                          </a:solidFill>
                          <a:latin typeface="+mj-lt"/>
                        </a:rPr>
                        <a:t>.</a:t>
                      </a:r>
                    </a:p>
                  </a:txBody>
                  <a:tcPr marL="0" marR="0" marT="72000" marB="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29660841"/>
                  </a:ext>
                </a:extLst>
              </a:tr>
            </a:tbl>
          </a:graphicData>
        </a:graphic>
      </p:graphicFrame>
      <p:cxnSp>
        <p:nvCxnSpPr>
          <p:cNvPr id="336" name="Gerader Verbinder 335">
            <a:extLst>
              <a:ext uri="{FF2B5EF4-FFF2-40B4-BE49-F238E27FC236}">
                <a16:creationId xmlns:a16="http://schemas.microsoft.com/office/drawing/2014/main" id="{475DF25E-CFE9-463D-BFAE-1D7906C4E06B}"/>
              </a:ext>
            </a:extLst>
          </p:cNvPr>
          <p:cNvCxnSpPr>
            <a:cxnSpLocks/>
          </p:cNvCxnSpPr>
          <p:nvPr/>
        </p:nvCxnSpPr>
        <p:spPr bwMode="gray">
          <a:xfrm>
            <a:off x="5947907" y="5661000"/>
            <a:ext cx="1872000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8" name="Gerader Verbinder 337">
            <a:extLst>
              <a:ext uri="{FF2B5EF4-FFF2-40B4-BE49-F238E27FC236}">
                <a16:creationId xmlns:a16="http://schemas.microsoft.com/office/drawing/2014/main" id="{4EEAB7D1-FA16-49A7-B283-CAAAD0AF7270}"/>
              </a:ext>
            </a:extLst>
          </p:cNvPr>
          <p:cNvCxnSpPr>
            <a:cxnSpLocks/>
          </p:cNvCxnSpPr>
          <p:nvPr/>
        </p:nvCxnSpPr>
        <p:spPr bwMode="gray">
          <a:xfrm>
            <a:off x="6240463" y="5854848"/>
            <a:ext cx="1584000" cy="0"/>
          </a:xfrm>
          <a:prstGeom prst="line">
            <a:avLst/>
          </a:prstGeom>
          <a:ln w="1270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9" name="Rechteck 348">
            <a:extLst>
              <a:ext uri="{FF2B5EF4-FFF2-40B4-BE49-F238E27FC236}">
                <a16:creationId xmlns:a16="http://schemas.microsoft.com/office/drawing/2014/main" id="{F5079137-6BB8-450B-9536-1406F526CEEB}"/>
              </a:ext>
            </a:extLst>
          </p:cNvPr>
          <p:cNvSpPr/>
          <p:nvPr/>
        </p:nvSpPr>
        <p:spPr bwMode="black">
          <a:xfrm>
            <a:off x="624000" y="5617575"/>
            <a:ext cx="2520000" cy="36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72000" rtlCol="0" anchor="b"/>
          <a:lstStyle/>
          <a:p>
            <a:r>
              <a:rPr lang="en-US" sz="1200" kern="900" dirty="0">
                <a:solidFill>
                  <a:schemeClr val="tx1"/>
                </a:solidFill>
              </a:rPr>
              <a:t>Eye-catcher in different colors</a:t>
            </a:r>
          </a:p>
        </p:txBody>
      </p:sp>
      <p:sp>
        <p:nvSpPr>
          <p:cNvPr id="352" name="Rechteck 351">
            <a:extLst>
              <a:ext uri="{FF2B5EF4-FFF2-40B4-BE49-F238E27FC236}">
                <a16:creationId xmlns:a16="http://schemas.microsoft.com/office/drawing/2014/main" id="{C34DA8F2-6D2F-4921-AAA8-B882E85C230A}"/>
              </a:ext>
            </a:extLst>
          </p:cNvPr>
          <p:cNvSpPr/>
          <p:nvPr/>
        </p:nvSpPr>
        <p:spPr bwMode="gray">
          <a:xfrm>
            <a:off x="4656000" y="4892829"/>
            <a:ext cx="3168000" cy="36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72000" rIns="72000" bIns="0" rtlCol="0" anchor="t"/>
          <a:lstStyle/>
          <a:p>
            <a:r>
              <a:rPr lang="en-US" sz="1200" kern="900" dirty="0">
                <a:solidFill>
                  <a:schemeClr val="tx1"/>
                </a:solidFill>
              </a:rPr>
              <a:t>Conclusion with a line (based on a table) </a:t>
            </a:r>
          </a:p>
        </p:txBody>
      </p:sp>
      <p:sp>
        <p:nvSpPr>
          <p:cNvPr id="356" name="Rechteck 355">
            <a:extLst>
              <a:ext uri="{FF2B5EF4-FFF2-40B4-BE49-F238E27FC236}">
                <a16:creationId xmlns:a16="http://schemas.microsoft.com/office/drawing/2014/main" id="{1FDF3C2A-9FCE-4154-A2A9-2473C27E11E1}"/>
              </a:ext>
            </a:extLst>
          </p:cNvPr>
          <p:cNvSpPr/>
          <p:nvPr/>
        </p:nvSpPr>
        <p:spPr bwMode="black">
          <a:xfrm>
            <a:off x="4659183" y="5569799"/>
            <a:ext cx="1548000" cy="36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72000" bIns="72000" rtlCol="0" anchor="ctr"/>
          <a:lstStyle/>
          <a:p>
            <a:r>
              <a:rPr lang="en-US" sz="1200" kern="900" dirty="0">
                <a:solidFill>
                  <a:schemeClr val="tx1"/>
                </a:solidFill>
              </a:rPr>
              <a:t>Standard line </a:t>
            </a:r>
            <a:r>
              <a:rPr lang="en-US" sz="1200" kern="900" dirty="0" err="1">
                <a:solidFill>
                  <a:schemeClr val="tx1"/>
                </a:solidFill>
              </a:rPr>
              <a:t>1pt</a:t>
            </a:r>
            <a:br>
              <a:rPr lang="en-US" sz="1200" kern="900" dirty="0">
                <a:solidFill>
                  <a:schemeClr val="tx1"/>
                </a:solidFill>
              </a:rPr>
            </a:br>
            <a:r>
              <a:rPr lang="en-US" sz="1200" kern="900" dirty="0">
                <a:solidFill>
                  <a:schemeClr val="tx1"/>
                </a:solidFill>
              </a:rPr>
              <a:t>(with arrow)</a:t>
            </a:r>
          </a:p>
        </p:txBody>
      </p:sp>
      <p:sp>
        <p:nvSpPr>
          <p:cNvPr id="300" name="Textfeld 299">
            <a:extLst>
              <a:ext uri="{FF2B5EF4-FFF2-40B4-BE49-F238E27FC236}">
                <a16:creationId xmlns:a16="http://schemas.microsoft.com/office/drawing/2014/main" id="{B8F0CA37-87CF-4253-A6C3-7BF3ADACCC41}"/>
              </a:ext>
            </a:extLst>
          </p:cNvPr>
          <p:cNvSpPr txBox="1"/>
          <p:nvPr/>
        </p:nvSpPr>
        <p:spPr bwMode="black">
          <a:xfrm>
            <a:off x="623999" y="6093296"/>
            <a:ext cx="5328000" cy="144000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b" anchorCtr="0" compatLnSpc="1">
            <a:prstTxWarp prst="textNoShape">
              <a:avLst/>
            </a:prstTxWarp>
            <a:spAutoFit/>
          </a:bodyPr>
          <a:lstStyle/>
          <a:p>
            <a:pPr defTabSz="457142" fontAlgn="base">
              <a:spcBef>
                <a:spcPct val="0"/>
              </a:spcBef>
              <a:buClr>
                <a:srgbClr val="E20074"/>
              </a:buClr>
            </a:pPr>
            <a:r>
              <a:rPr lang="en-US" sz="900" dirty="0">
                <a:cs typeface="TeleGrotesk Next" pitchFamily="2" charset="0"/>
              </a:rPr>
              <a:t>Source/Footnote for copying onto your slides; </a:t>
            </a:r>
            <a:r>
              <a:rPr lang="en-US" sz="900" dirty="0" err="1">
                <a:cs typeface="TeleGrotesk Next" pitchFamily="2" charset="0"/>
              </a:rPr>
              <a:t>TeleNeo</a:t>
            </a:r>
            <a:r>
              <a:rPr lang="en-US" sz="900" dirty="0">
                <a:cs typeface="TeleGrotesk Next" pitchFamily="2" charset="0"/>
              </a:rPr>
              <a:t> Office 9 </a:t>
            </a:r>
            <a:r>
              <a:rPr lang="en-US" sz="900" dirty="0" err="1">
                <a:cs typeface="TeleGrotesk Next" pitchFamily="2" charset="0"/>
              </a:rPr>
              <a:t>pt</a:t>
            </a:r>
            <a:r>
              <a:rPr lang="en-US" sz="900" dirty="0">
                <a:cs typeface="TeleGrotesk Next" pitchFamily="2" charset="0"/>
              </a:rPr>
              <a:t>, from the bottom upwards, maximum 3 lines</a:t>
            </a:r>
          </a:p>
        </p:txBody>
      </p: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91F6401F-D0C4-48AF-AA2C-4D7BB067C997}"/>
              </a:ext>
            </a:extLst>
          </p:cNvPr>
          <p:cNvGrpSpPr/>
          <p:nvPr/>
        </p:nvGrpSpPr>
        <p:grpSpPr bwMode="gray">
          <a:xfrm>
            <a:off x="3911838" y="1485000"/>
            <a:ext cx="3984362" cy="2000001"/>
            <a:chOff x="4224000" y="1485000"/>
            <a:chExt cx="3984362" cy="2000001"/>
          </a:xfrm>
        </p:grpSpPr>
        <p:sp>
          <p:nvSpPr>
            <p:cNvPr id="322" name="Freeform 473">
              <a:extLst>
                <a:ext uri="{FF2B5EF4-FFF2-40B4-BE49-F238E27FC236}">
                  <a16:creationId xmlns:a16="http://schemas.microsoft.com/office/drawing/2014/main" id="{F352C7F9-9F16-4355-844B-B54775A1188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232066" y="2180165"/>
              <a:ext cx="128458" cy="138143"/>
            </a:xfrm>
            <a:custGeom>
              <a:avLst/>
              <a:gdLst>
                <a:gd name="T0" fmla="*/ 81 w 837"/>
                <a:gd name="T1" fmla="*/ 259 h 900"/>
                <a:gd name="T2" fmla="*/ 34 w 837"/>
                <a:gd name="T3" fmla="*/ 193 h 900"/>
                <a:gd name="T4" fmla="*/ 43 w 837"/>
                <a:gd name="T5" fmla="*/ 148 h 900"/>
                <a:gd name="T6" fmla="*/ 81 w 837"/>
                <a:gd name="T7" fmla="*/ 99 h 900"/>
                <a:gd name="T8" fmla="*/ 135 w 837"/>
                <a:gd name="T9" fmla="*/ 54 h 900"/>
                <a:gd name="T10" fmla="*/ 173 w 837"/>
                <a:gd name="T11" fmla="*/ 111 h 900"/>
                <a:gd name="T12" fmla="*/ 189 w 837"/>
                <a:gd name="T13" fmla="*/ 54 h 900"/>
                <a:gd name="T14" fmla="*/ 248 w 837"/>
                <a:gd name="T15" fmla="*/ 75 h 900"/>
                <a:gd name="T16" fmla="*/ 260 w 837"/>
                <a:gd name="T17" fmla="*/ 37 h 900"/>
                <a:gd name="T18" fmla="*/ 324 w 837"/>
                <a:gd name="T19" fmla="*/ 4 h 900"/>
                <a:gd name="T20" fmla="*/ 411 w 837"/>
                <a:gd name="T21" fmla="*/ 26 h 900"/>
                <a:gd name="T22" fmla="*/ 497 w 837"/>
                <a:gd name="T23" fmla="*/ 75 h 900"/>
                <a:gd name="T24" fmla="*/ 520 w 837"/>
                <a:gd name="T25" fmla="*/ 127 h 900"/>
                <a:gd name="T26" fmla="*/ 482 w 837"/>
                <a:gd name="T27" fmla="*/ 127 h 900"/>
                <a:gd name="T28" fmla="*/ 459 w 837"/>
                <a:gd name="T29" fmla="*/ 127 h 900"/>
                <a:gd name="T30" fmla="*/ 395 w 837"/>
                <a:gd name="T31" fmla="*/ 165 h 900"/>
                <a:gd name="T32" fmla="*/ 411 w 837"/>
                <a:gd name="T33" fmla="*/ 203 h 900"/>
                <a:gd name="T34" fmla="*/ 428 w 837"/>
                <a:gd name="T35" fmla="*/ 276 h 900"/>
                <a:gd name="T36" fmla="*/ 605 w 837"/>
                <a:gd name="T37" fmla="*/ 458 h 900"/>
                <a:gd name="T38" fmla="*/ 660 w 837"/>
                <a:gd name="T39" fmla="*/ 496 h 900"/>
                <a:gd name="T40" fmla="*/ 806 w 837"/>
                <a:gd name="T41" fmla="*/ 623 h 900"/>
                <a:gd name="T42" fmla="*/ 730 w 837"/>
                <a:gd name="T43" fmla="*/ 585 h 900"/>
                <a:gd name="T44" fmla="*/ 747 w 837"/>
                <a:gd name="T45" fmla="*/ 668 h 900"/>
                <a:gd name="T46" fmla="*/ 702 w 837"/>
                <a:gd name="T47" fmla="*/ 751 h 900"/>
                <a:gd name="T48" fmla="*/ 638 w 837"/>
                <a:gd name="T49" fmla="*/ 789 h 900"/>
                <a:gd name="T50" fmla="*/ 648 w 837"/>
                <a:gd name="T51" fmla="*/ 734 h 900"/>
                <a:gd name="T52" fmla="*/ 664 w 837"/>
                <a:gd name="T53" fmla="*/ 668 h 900"/>
                <a:gd name="T54" fmla="*/ 589 w 837"/>
                <a:gd name="T55" fmla="*/ 595 h 900"/>
                <a:gd name="T56" fmla="*/ 551 w 837"/>
                <a:gd name="T57" fmla="*/ 552 h 900"/>
                <a:gd name="T58" fmla="*/ 449 w 837"/>
                <a:gd name="T59" fmla="*/ 512 h 900"/>
                <a:gd name="T60" fmla="*/ 374 w 837"/>
                <a:gd name="T61" fmla="*/ 441 h 900"/>
                <a:gd name="T62" fmla="*/ 319 w 837"/>
                <a:gd name="T63" fmla="*/ 404 h 900"/>
                <a:gd name="T64" fmla="*/ 260 w 837"/>
                <a:gd name="T65" fmla="*/ 292 h 900"/>
                <a:gd name="T66" fmla="*/ 135 w 837"/>
                <a:gd name="T67" fmla="*/ 248 h 900"/>
                <a:gd name="T68" fmla="*/ 67 w 837"/>
                <a:gd name="T69" fmla="*/ 292 h 900"/>
                <a:gd name="T70" fmla="*/ 411 w 837"/>
                <a:gd name="T71" fmla="*/ 276 h 900"/>
                <a:gd name="T72" fmla="*/ 248 w 837"/>
                <a:gd name="T73" fmla="*/ 375 h 900"/>
                <a:gd name="T74" fmla="*/ 270 w 837"/>
                <a:gd name="T75" fmla="*/ 387 h 900"/>
                <a:gd name="T76" fmla="*/ 142 w 837"/>
                <a:gd name="T77" fmla="*/ 541 h 900"/>
                <a:gd name="T78" fmla="*/ 206 w 837"/>
                <a:gd name="T79" fmla="*/ 541 h 900"/>
                <a:gd name="T80" fmla="*/ 218 w 837"/>
                <a:gd name="T81" fmla="*/ 611 h 900"/>
                <a:gd name="T82" fmla="*/ 163 w 837"/>
                <a:gd name="T83" fmla="*/ 706 h 900"/>
                <a:gd name="T84" fmla="*/ 126 w 837"/>
                <a:gd name="T85" fmla="*/ 696 h 900"/>
                <a:gd name="T86" fmla="*/ 135 w 837"/>
                <a:gd name="T87" fmla="*/ 640 h 900"/>
                <a:gd name="T88" fmla="*/ 119 w 837"/>
                <a:gd name="T89" fmla="*/ 569 h 900"/>
                <a:gd name="T90" fmla="*/ 109 w 837"/>
                <a:gd name="T91" fmla="*/ 569 h 900"/>
                <a:gd name="T92" fmla="*/ 513 w 837"/>
                <a:gd name="T93" fmla="*/ 557 h 900"/>
                <a:gd name="T94" fmla="*/ 119 w 837"/>
                <a:gd name="T95" fmla="*/ 685 h 900"/>
                <a:gd name="T96" fmla="*/ 119 w 837"/>
                <a:gd name="T97" fmla="*/ 696 h 900"/>
                <a:gd name="T98" fmla="*/ 445 w 837"/>
                <a:gd name="T99" fmla="*/ 779 h 900"/>
                <a:gd name="T100" fmla="*/ 482 w 837"/>
                <a:gd name="T101" fmla="*/ 779 h 900"/>
                <a:gd name="T102" fmla="*/ 596 w 837"/>
                <a:gd name="T103" fmla="*/ 772 h 900"/>
                <a:gd name="T104" fmla="*/ 596 w 837"/>
                <a:gd name="T105" fmla="*/ 829 h 900"/>
                <a:gd name="T106" fmla="*/ 558 w 837"/>
                <a:gd name="T107" fmla="*/ 890 h 900"/>
                <a:gd name="T108" fmla="*/ 428 w 837"/>
                <a:gd name="T109" fmla="*/ 817 h 900"/>
                <a:gd name="T110" fmla="*/ 378 w 837"/>
                <a:gd name="T111" fmla="*/ 890 h 900"/>
                <a:gd name="T112" fmla="*/ 378 w 837"/>
                <a:gd name="T113" fmla="*/ 890 h 9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837" h="900">
                  <a:moveTo>
                    <a:pt x="67" y="292"/>
                  </a:moveTo>
                  <a:lnTo>
                    <a:pt x="67" y="281"/>
                  </a:lnTo>
                  <a:lnTo>
                    <a:pt x="81" y="264"/>
                  </a:lnTo>
                  <a:lnTo>
                    <a:pt x="81" y="259"/>
                  </a:lnTo>
                  <a:lnTo>
                    <a:pt x="55" y="259"/>
                  </a:lnTo>
                  <a:lnTo>
                    <a:pt x="29" y="248"/>
                  </a:lnTo>
                  <a:lnTo>
                    <a:pt x="17" y="226"/>
                  </a:lnTo>
                  <a:lnTo>
                    <a:pt x="34" y="193"/>
                  </a:lnTo>
                  <a:lnTo>
                    <a:pt x="12" y="193"/>
                  </a:lnTo>
                  <a:lnTo>
                    <a:pt x="0" y="170"/>
                  </a:lnTo>
                  <a:lnTo>
                    <a:pt x="43" y="165"/>
                  </a:lnTo>
                  <a:lnTo>
                    <a:pt x="43" y="148"/>
                  </a:lnTo>
                  <a:lnTo>
                    <a:pt x="17" y="115"/>
                  </a:lnTo>
                  <a:lnTo>
                    <a:pt x="34" y="99"/>
                  </a:lnTo>
                  <a:lnTo>
                    <a:pt x="43" y="111"/>
                  </a:lnTo>
                  <a:lnTo>
                    <a:pt x="81" y="99"/>
                  </a:lnTo>
                  <a:lnTo>
                    <a:pt x="88" y="99"/>
                  </a:lnTo>
                  <a:lnTo>
                    <a:pt x="109" y="82"/>
                  </a:lnTo>
                  <a:lnTo>
                    <a:pt x="119" y="54"/>
                  </a:lnTo>
                  <a:lnTo>
                    <a:pt x="135" y="54"/>
                  </a:lnTo>
                  <a:lnTo>
                    <a:pt x="135" y="75"/>
                  </a:lnTo>
                  <a:lnTo>
                    <a:pt x="156" y="82"/>
                  </a:lnTo>
                  <a:lnTo>
                    <a:pt x="156" y="92"/>
                  </a:lnTo>
                  <a:lnTo>
                    <a:pt x="173" y="111"/>
                  </a:lnTo>
                  <a:lnTo>
                    <a:pt x="180" y="99"/>
                  </a:lnTo>
                  <a:lnTo>
                    <a:pt x="173" y="99"/>
                  </a:lnTo>
                  <a:lnTo>
                    <a:pt x="189" y="70"/>
                  </a:lnTo>
                  <a:lnTo>
                    <a:pt x="189" y="54"/>
                  </a:lnTo>
                  <a:lnTo>
                    <a:pt x="206" y="54"/>
                  </a:lnTo>
                  <a:lnTo>
                    <a:pt x="211" y="70"/>
                  </a:lnTo>
                  <a:lnTo>
                    <a:pt x="232" y="59"/>
                  </a:lnTo>
                  <a:lnTo>
                    <a:pt x="248" y="75"/>
                  </a:lnTo>
                  <a:lnTo>
                    <a:pt x="248" y="59"/>
                  </a:lnTo>
                  <a:lnTo>
                    <a:pt x="244" y="54"/>
                  </a:lnTo>
                  <a:lnTo>
                    <a:pt x="244" y="42"/>
                  </a:lnTo>
                  <a:lnTo>
                    <a:pt x="260" y="37"/>
                  </a:lnTo>
                  <a:lnTo>
                    <a:pt x="270" y="42"/>
                  </a:lnTo>
                  <a:lnTo>
                    <a:pt x="270" y="16"/>
                  </a:lnTo>
                  <a:lnTo>
                    <a:pt x="315" y="26"/>
                  </a:lnTo>
                  <a:lnTo>
                    <a:pt x="324" y="4"/>
                  </a:lnTo>
                  <a:lnTo>
                    <a:pt x="369" y="4"/>
                  </a:lnTo>
                  <a:lnTo>
                    <a:pt x="395" y="0"/>
                  </a:lnTo>
                  <a:lnTo>
                    <a:pt x="395" y="16"/>
                  </a:lnTo>
                  <a:lnTo>
                    <a:pt x="411" y="26"/>
                  </a:lnTo>
                  <a:lnTo>
                    <a:pt x="504" y="42"/>
                  </a:lnTo>
                  <a:lnTo>
                    <a:pt x="482" y="70"/>
                  </a:lnTo>
                  <a:lnTo>
                    <a:pt x="482" y="75"/>
                  </a:lnTo>
                  <a:lnTo>
                    <a:pt x="497" y="75"/>
                  </a:lnTo>
                  <a:lnTo>
                    <a:pt x="487" y="92"/>
                  </a:lnTo>
                  <a:lnTo>
                    <a:pt x="497" y="92"/>
                  </a:lnTo>
                  <a:lnTo>
                    <a:pt x="497" y="111"/>
                  </a:lnTo>
                  <a:lnTo>
                    <a:pt x="520" y="127"/>
                  </a:lnTo>
                  <a:lnTo>
                    <a:pt x="504" y="132"/>
                  </a:lnTo>
                  <a:lnTo>
                    <a:pt x="504" y="132"/>
                  </a:lnTo>
                  <a:lnTo>
                    <a:pt x="497" y="115"/>
                  </a:lnTo>
                  <a:lnTo>
                    <a:pt x="482" y="127"/>
                  </a:lnTo>
                  <a:lnTo>
                    <a:pt x="482" y="115"/>
                  </a:lnTo>
                  <a:lnTo>
                    <a:pt x="466" y="115"/>
                  </a:lnTo>
                  <a:lnTo>
                    <a:pt x="459" y="127"/>
                  </a:lnTo>
                  <a:lnTo>
                    <a:pt x="459" y="127"/>
                  </a:lnTo>
                  <a:lnTo>
                    <a:pt x="411" y="148"/>
                  </a:lnTo>
                  <a:lnTo>
                    <a:pt x="421" y="132"/>
                  </a:lnTo>
                  <a:lnTo>
                    <a:pt x="407" y="137"/>
                  </a:lnTo>
                  <a:lnTo>
                    <a:pt x="395" y="165"/>
                  </a:lnTo>
                  <a:lnTo>
                    <a:pt x="421" y="186"/>
                  </a:lnTo>
                  <a:lnTo>
                    <a:pt x="411" y="203"/>
                  </a:lnTo>
                  <a:lnTo>
                    <a:pt x="411" y="193"/>
                  </a:lnTo>
                  <a:lnTo>
                    <a:pt x="411" y="203"/>
                  </a:lnTo>
                  <a:lnTo>
                    <a:pt x="407" y="193"/>
                  </a:lnTo>
                  <a:lnTo>
                    <a:pt x="395" y="210"/>
                  </a:lnTo>
                  <a:lnTo>
                    <a:pt x="407" y="248"/>
                  </a:lnTo>
                  <a:lnTo>
                    <a:pt x="428" y="276"/>
                  </a:lnTo>
                  <a:lnTo>
                    <a:pt x="497" y="314"/>
                  </a:lnTo>
                  <a:lnTo>
                    <a:pt x="520" y="392"/>
                  </a:lnTo>
                  <a:lnTo>
                    <a:pt x="572" y="441"/>
                  </a:lnTo>
                  <a:lnTo>
                    <a:pt x="605" y="458"/>
                  </a:lnTo>
                  <a:lnTo>
                    <a:pt x="676" y="458"/>
                  </a:lnTo>
                  <a:lnTo>
                    <a:pt x="676" y="463"/>
                  </a:lnTo>
                  <a:lnTo>
                    <a:pt x="660" y="479"/>
                  </a:lnTo>
                  <a:lnTo>
                    <a:pt x="660" y="496"/>
                  </a:lnTo>
                  <a:lnTo>
                    <a:pt x="806" y="569"/>
                  </a:lnTo>
                  <a:lnTo>
                    <a:pt x="837" y="607"/>
                  </a:lnTo>
                  <a:lnTo>
                    <a:pt x="827" y="640"/>
                  </a:lnTo>
                  <a:lnTo>
                    <a:pt x="806" y="623"/>
                  </a:lnTo>
                  <a:lnTo>
                    <a:pt x="789" y="590"/>
                  </a:lnTo>
                  <a:lnTo>
                    <a:pt x="747" y="585"/>
                  </a:lnTo>
                  <a:lnTo>
                    <a:pt x="752" y="574"/>
                  </a:lnTo>
                  <a:lnTo>
                    <a:pt x="730" y="585"/>
                  </a:lnTo>
                  <a:lnTo>
                    <a:pt x="702" y="611"/>
                  </a:lnTo>
                  <a:lnTo>
                    <a:pt x="697" y="640"/>
                  </a:lnTo>
                  <a:lnTo>
                    <a:pt x="697" y="647"/>
                  </a:lnTo>
                  <a:lnTo>
                    <a:pt x="747" y="668"/>
                  </a:lnTo>
                  <a:lnTo>
                    <a:pt x="747" y="701"/>
                  </a:lnTo>
                  <a:lnTo>
                    <a:pt x="702" y="718"/>
                  </a:lnTo>
                  <a:lnTo>
                    <a:pt x="697" y="722"/>
                  </a:lnTo>
                  <a:lnTo>
                    <a:pt x="702" y="751"/>
                  </a:lnTo>
                  <a:lnTo>
                    <a:pt x="676" y="772"/>
                  </a:lnTo>
                  <a:lnTo>
                    <a:pt x="664" y="789"/>
                  </a:lnTo>
                  <a:lnTo>
                    <a:pt x="643" y="796"/>
                  </a:lnTo>
                  <a:lnTo>
                    <a:pt x="638" y="789"/>
                  </a:lnTo>
                  <a:lnTo>
                    <a:pt x="638" y="763"/>
                  </a:lnTo>
                  <a:lnTo>
                    <a:pt x="648" y="763"/>
                  </a:lnTo>
                  <a:lnTo>
                    <a:pt x="660" y="739"/>
                  </a:lnTo>
                  <a:lnTo>
                    <a:pt x="648" y="734"/>
                  </a:lnTo>
                  <a:lnTo>
                    <a:pt x="676" y="722"/>
                  </a:lnTo>
                  <a:lnTo>
                    <a:pt x="676" y="706"/>
                  </a:lnTo>
                  <a:lnTo>
                    <a:pt x="664" y="701"/>
                  </a:lnTo>
                  <a:lnTo>
                    <a:pt x="664" y="668"/>
                  </a:lnTo>
                  <a:lnTo>
                    <a:pt x="638" y="611"/>
                  </a:lnTo>
                  <a:lnTo>
                    <a:pt x="626" y="611"/>
                  </a:lnTo>
                  <a:lnTo>
                    <a:pt x="622" y="611"/>
                  </a:lnTo>
                  <a:lnTo>
                    <a:pt x="589" y="595"/>
                  </a:lnTo>
                  <a:lnTo>
                    <a:pt x="589" y="585"/>
                  </a:lnTo>
                  <a:lnTo>
                    <a:pt x="572" y="557"/>
                  </a:lnTo>
                  <a:lnTo>
                    <a:pt x="541" y="569"/>
                  </a:lnTo>
                  <a:lnTo>
                    <a:pt x="551" y="552"/>
                  </a:lnTo>
                  <a:lnTo>
                    <a:pt x="541" y="541"/>
                  </a:lnTo>
                  <a:lnTo>
                    <a:pt x="530" y="552"/>
                  </a:lnTo>
                  <a:lnTo>
                    <a:pt x="504" y="512"/>
                  </a:lnTo>
                  <a:lnTo>
                    <a:pt x="449" y="512"/>
                  </a:lnTo>
                  <a:lnTo>
                    <a:pt x="445" y="496"/>
                  </a:lnTo>
                  <a:lnTo>
                    <a:pt x="421" y="486"/>
                  </a:lnTo>
                  <a:lnTo>
                    <a:pt x="390" y="458"/>
                  </a:lnTo>
                  <a:lnTo>
                    <a:pt x="374" y="441"/>
                  </a:lnTo>
                  <a:lnTo>
                    <a:pt x="357" y="425"/>
                  </a:lnTo>
                  <a:lnTo>
                    <a:pt x="336" y="408"/>
                  </a:lnTo>
                  <a:lnTo>
                    <a:pt x="319" y="413"/>
                  </a:lnTo>
                  <a:lnTo>
                    <a:pt x="319" y="404"/>
                  </a:lnTo>
                  <a:lnTo>
                    <a:pt x="282" y="352"/>
                  </a:lnTo>
                  <a:lnTo>
                    <a:pt x="282" y="335"/>
                  </a:lnTo>
                  <a:lnTo>
                    <a:pt x="265" y="318"/>
                  </a:lnTo>
                  <a:lnTo>
                    <a:pt x="260" y="292"/>
                  </a:lnTo>
                  <a:lnTo>
                    <a:pt x="248" y="276"/>
                  </a:lnTo>
                  <a:lnTo>
                    <a:pt x="189" y="243"/>
                  </a:lnTo>
                  <a:lnTo>
                    <a:pt x="156" y="236"/>
                  </a:lnTo>
                  <a:lnTo>
                    <a:pt x="135" y="248"/>
                  </a:lnTo>
                  <a:lnTo>
                    <a:pt x="104" y="281"/>
                  </a:lnTo>
                  <a:lnTo>
                    <a:pt x="67" y="292"/>
                  </a:lnTo>
                  <a:lnTo>
                    <a:pt x="67" y="292"/>
                  </a:lnTo>
                  <a:lnTo>
                    <a:pt x="67" y="292"/>
                  </a:lnTo>
                  <a:close/>
                  <a:moveTo>
                    <a:pt x="411" y="276"/>
                  </a:moveTo>
                  <a:lnTo>
                    <a:pt x="411" y="281"/>
                  </a:lnTo>
                  <a:lnTo>
                    <a:pt x="421" y="276"/>
                  </a:lnTo>
                  <a:lnTo>
                    <a:pt x="411" y="276"/>
                  </a:lnTo>
                  <a:lnTo>
                    <a:pt x="411" y="276"/>
                  </a:lnTo>
                  <a:lnTo>
                    <a:pt x="411" y="276"/>
                  </a:lnTo>
                  <a:close/>
                  <a:moveTo>
                    <a:pt x="270" y="387"/>
                  </a:moveTo>
                  <a:lnTo>
                    <a:pt x="248" y="375"/>
                  </a:lnTo>
                  <a:lnTo>
                    <a:pt x="270" y="370"/>
                  </a:lnTo>
                  <a:lnTo>
                    <a:pt x="270" y="387"/>
                  </a:lnTo>
                  <a:lnTo>
                    <a:pt x="270" y="387"/>
                  </a:lnTo>
                  <a:lnTo>
                    <a:pt x="270" y="387"/>
                  </a:lnTo>
                  <a:close/>
                  <a:moveTo>
                    <a:pt x="109" y="569"/>
                  </a:moveTo>
                  <a:lnTo>
                    <a:pt x="119" y="536"/>
                  </a:lnTo>
                  <a:lnTo>
                    <a:pt x="126" y="541"/>
                  </a:lnTo>
                  <a:lnTo>
                    <a:pt x="142" y="541"/>
                  </a:lnTo>
                  <a:lnTo>
                    <a:pt x="189" y="512"/>
                  </a:lnTo>
                  <a:lnTo>
                    <a:pt x="211" y="519"/>
                  </a:lnTo>
                  <a:lnTo>
                    <a:pt x="218" y="536"/>
                  </a:lnTo>
                  <a:lnTo>
                    <a:pt x="206" y="541"/>
                  </a:lnTo>
                  <a:lnTo>
                    <a:pt x="211" y="541"/>
                  </a:lnTo>
                  <a:lnTo>
                    <a:pt x="227" y="574"/>
                  </a:lnTo>
                  <a:lnTo>
                    <a:pt x="211" y="595"/>
                  </a:lnTo>
                  <a:lnTo>
                    <a:pt x="218" y="611"/>
                  </a:lnTo>
                  <a:lnTo>
                    <a:pt x="211" y="696"/>
                  </a:lnTo>
                  <a:lnTo>
                    <a:pt x="173" y="680"/>
                  </a:lnTo>
                  <a:lnTo>
                    <a:pt x="173" y="701"/>
                  </a:lnTo>
                  <a:lnTo>
                    <a:pt x="163" y="706"/>
                  </a:lnTo>
                  <a:lnTo>
                    <a:pt x="152" y="706"/>
                  </a:lnTo>
                  <a:lnTo>
                    <a:pt x="135" y="696"/>
                  </a:lnTo>
                  <a:lnTo>
                    <a:pt x="126" y="706"/>
                  </a:lnTo>
                  <a:lnTo>
                    <a:pt x="126" y="696"/>
                  </a:lnTo>
                  <a:lnTo>
                    <a:pt x="135" y="696"/>
                  </a:lnTo>
                  <a:lnTo>
                    <a:pt x="126" y="668"/>
                  </a:lnTo>
                  <a:lnTo>
                    <a:pt x="135" y="640"/>
                  </a:lnTo>
                  <a:lnTo>
                    <a:pt x="135" y="640"/>
                  </a:lnTo>
                  <a:lnTo>
                    <a:pt x="142" y="630"/>
                  </a:lnTo>
                  <a:lnTo>
                    <a:pt x="126" y="630"/>
                  </a:lnTo>
                  <a:lnTo>
                    <a:pt x="135" y="590"/>
                  </a:lnTo>
                  <a:lnTo>
                    <a:pt x="119" y="569"/>
                  </a:lnTo>
                  <a:lnTo>
                    <a:pt x="109" y="569"/>
                  </a:lnTo>
                  <a:lnTo>
                    <a:pt x="109" y="569"/>
                  </a:lnTo>
                  <a:lnTo>
                    <a:pt x="109" y="569"/>
                  </a:lnTo>
                  <a:lnTo>
                    <a:pt x="109" y="569"/>
                  </a:lnTo>
                  <a:close/>
                  <a:moveTo>
                    <a:pt x="513" y="557"/>
                  </a:moveTo>
                  <a:lnTo>
                    <a:pt x="513" y="552"/>
                  </a:lnTo>
                  <a:lnTo>
                    <a:pt x="520" y="557"/>
                  </a:lnTo>
                  <a:lnTo>
                    <a:pt x="513" y="557"/>
                  </a:lnTo>
                  <a:lnTo>
                    <a:pt x="513" y="557"/>
                  </a:lnTo>
                  <a:lnTo>
                    <a:pt x="513" y="557"/>
                  </a:lnTo>
                  <a:close/>
                  <a:moveTo>
                    <a:pt x="119" y="696"/>
                  </a:moveTo>
                  <a:lnTo>
                    <a:pt x="119" y="685"/>
                  </a:lnTo>
                  <a:lnTo>
                    <a:pt x="119" y="685"/>
                  </a:lnTo>
                  <a:lnTo>
                    <a:pt x="119" y="696"/>
                  </a:lnTo>
                  <a:lnTo>
                    <a:pt x="119" y="696"/>
                  </a:lnTo>
                  <a:lnTo>
                    <a:pt x="119" y="696"/>
                  </a:lnTo>
                  <a:close/>
                  <a:moveTo>
                    <a:pt x="411" y="805"/>
                  </a:moveTo>
                  <a:lnTo>
                    <a:pt x="421" y="789"/>
                  </a:lnTo>
                  <a:lnTo>
                    <a:pt x="433" y="772"/>
                  </a:lnTo>
                  <a:lnTo>
                    <a:pt x="445" y="779"/>
                  </a:lnTo>
                  <a:lnTo>
                    <a:pt x="459" y="779"/>
                  </a:lnTo>
                  <a:lnTo>
                    <a:pt x="459" y="772"/>
                  </a:lnTo>
                  <a:lnTo>
                    <a:pt x="475" y="763"/>
                  </a:lnTo>
                  <a:lnTo>
                    <a:pt x="482" y="779"/>
                  </a:lnTo>
                  <a:lnTo>
                    <a:pt x="504" y="789"/>
                  </a:lnTo>
                  <a:lnTo>
                    <a:pt x="558" y="779"/>
                  </a:lnTo>
                  <a:lnTo>
                    <a:pt x="584" y="772"/>
                  </a:lnTo>
                  <a:lnTo>
                    <a:pt x="596" y="772"/>
                  </a:lnTo>
                  <a:lnTo>
                    <a:pt x="626" y="763"/>
                  </a:lnTo>
                  <a:lnTo>
                    <a:pt x="638" y="763"/>
                  </a:lnTo>
                  <a:lnTo>
                    <a:pt x="605" y="805"/>
                  </a:lnTo>
                  <a:lnTo>
                    <a:pt x="596" y="829"/>
                  </a:lnTo>
                  <a:lnTo>
                    <a:pt x="610" y="866"/>
                  </a:lnTo>
                  <a:lnTo>
                    <a:pt x="605" y="871"/>
                  </a:lnTo>
                  <a:lnTo>
                    <a:pt x="596" y="900"/>
                  </a:lnTo>
                  <a:lnTo>
                    <a:pt x="558" y="890"/>
                  </a:lnTo>
                  <a:lnTo>
                    <a:pt x="534" y="866"/>
                  </a:lnTo>
                  <a:lnTo>
                    <a:pt x="513" y="862"/>
                  </a:lnTo>
                  <a:lnTo>
                    <a:pt x="466" y="829"/>
                  </a:lnTo>
                  <a:lnTo>
                    <a:pt x="428" y="817"/>
                  </a:lnTo>
                  <a:lnTo>
                    <a:pt x="411" y="805"/>
                  </a:lnTo>
                  <a:lnTo>
                    <a:pt x="411" y="805"/>
                  </a:lnTo>
                  <a:lnTo>
                    <a:pt x="411" y="805"/>
                  </a:lnTo>
                  <a:close/>
                  <a:moveTo>
                    <a:pt x="378" y="890"/>
                  </a:moveTo>
                  <a:lnTo>
                    <a:pt x="378" y="883"/>
                  </a:lnTo>
                  <a:lnTo>
                    <a:pt x="390" y="883"/>
                  </a:lnTo>
                  <a:lnTo>
                    <a:pt x="378" y="890"/>
                  </a:lnTo>
                  <a:lnTo>
                    <a:pt x="378" y="890"/>
                  </a:lnTo>
                  <a:lnTo>
                    <a:pt x="378" y="890"/>
                  </a:lnTo>
                  <a:close/>
                </a:path>
              </a:pathLst>
            </a:custGeom>
            <a:solidFill>
              <a:schemeClr val="bg2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23" name="Freeform 376">
              <a:extLst>
                <a:ext uri="{FF2B5EF4-FFF2-40B4-BE49-F238E27FC236}">
                  <a16:creationId xmlns:a16="http://schemas.microsoft.com/office/drawing/2014/main" id="{5AABAD83-56EB-4652-B7B7-0CBD0EAC25B8}"/>
                </a:ext>
              </a:extLst>
            </p:cNvPr>
            <p:cNvSpPr>
              <a:spLocks/>
            </p:cNvSpPr>
            <p:nvPr/>
          </p:nvSpPr>
          <p:spPr bwMode="gray">
            <a:xfrm>
              <a:off x="7969709" y="3072415"/>
              <a:ext cx="460" cy="768"/>
            </a:xfrm>
            <a:custGeom>
              <a:avLst/>
              <a:gdLst>
                <a:gd name="T0" fmla="*/ 0 w 3"/>
                <a:gd name="T1" fmla="*/ 0 h 5"/>
                <a:gd name="T2" fmla="*/ 3 w 3"/>
                <a:gd name="T3" fmla="*/ 0 h 5"/>
                <a:gd name="T4" fmla="*/ 3 w 3"/>
                <a:gd name="T5" fmla="*/ 5 h 5"/>
                <a:gd name="T6" fmla="*/ 0 w 3"/>
                <a:gd name="T7" fmla="*/ 5 h 5"/>
                <a:gd name="T8" fmla="*/ 0 w 3"/>
                <a:gd name="T9" fmla="*/ 0 h 5"/>
                <a:gd name="T10" fmla="*/ 0 w 3"/>
                <a:gd name="T11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" h="5">
                  <a:moveTo>
                    <a:pt x="0" y="0"/>
                  </a:moveTo>
                  <a:lnTo>
                    <a:pt x="3" y="0"/>
                  </a:lnTo>
                  <a:lnTo>
                    <a:pt x="3" y="5"/>
                  </a:lnTo>
                  <a:lnTo>
                    <a:pt x="0" y="5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2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25" name="Freeform 377">
              <a:extLst>
                <a:ext uri="{FF2B5EF4-FFF2-40B4-BE49-F238E27FC236}">
                  <a16:creationId xmlns:a16="http://schemas.microsoft.com/office/drawing/2014/main" id="{2DF11CE8-4346-4E36-B680-9CB104740D60}"/>
                </a:ext>
              </a:extLst>
            </p:cNvPr>
            <p:cNvSpPr>
              <a:spLocks/>
            </p:cNvSpPr>
            <p:nvPr/>
          </p:nvSpPr>
          <p:spPr bwMode="gray">
            <a:xfrm>
              <a:off x="5406217" y="2602115"/>
              <a:ext cx="2609" cy="2609"/>
            </a:xfrm>
            <a:custGeom>
              <a:avLst/>
              <a:gdLst>
                <a:gd name="T0" fmla="*/ 17 w 17"/>
                <a:gd name="T1" fmla="*/ 17 h 17"/>
                <a:gd name="T2" fmla="*/ 0 w 17"/>
                <a:gd name="T3" fmla="*/ 7 h 17"/>
                <a:gd name="T4" fmla="*/ 0 w 17"/>
                <a:gd name="T5" fmla="*/ 0 h 17"/>
                <a:gd name="T6" fmla="*/ 17 w 17"/>
                <a:gd name="T7" fmla="*/ 17 h 17"/>
                <a:gd name="T8" fmla="*/ 17 w 17"/>
                <a:gd name="T9" fmla="*/ 17 h 17"/>
                <a:gd name="T10" fmla="*/ 17 w 17"/>
                <a:gd name="T11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7" h="17">
                  <a:moveTo>
                    <a:pt x="17" y="17"/>
                  </a:moveTo>
                  <a:lnTo>
                    <a:pt x="0" y="7"/>
                  </a:lnTo>
                  <a:lnTo>
                    <a:pt x="0" y="0"/>
                  </a:lnTo>
                  <a:lnTo>
                    <a:pt x="17" y="17"/>
                  </a:lnTo>
                  <a:lnTo>
                    <a:pt x="17" y="17"/>
                  </a:lnTo>
                  <a:lnTo>
                    <a:pt x="17" y="17"/>
                  </a:lnTo>
                  <a:close/>
                </a:path>
              </a:pathLst>
            </a:custGeom>
            <a:solidFill>
              <a:schemeClr val="bg2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26" name="Freeform 378">
              <a:extLst>
                <a:ext uri="{FF2B5EF4-FFF2-40B4-BE49-F238E27FC236}">
                  <a16:creationId xmlns:a16="http://schemas.microsoft.com/office/drawing/2014/main" id="{442191B3-5006-4F9E-A720-317F57BE454D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494772" y="2544862"/>
              <a:ext cx="2456" cy="8749"/>
            </a:xfrm>
            <a:custGeom>
              <a:avLst/>
              <a:gdLst>
                <a:gd name="T0" fmla="*/ 16 w 16"/>
                <a:gd name="T1" fmla="*/ 12 h 57"/>
                <a:gd name="T2" fmla="*/ 9 w 16"/>
                <a:gd name="T3" fmla="*/ 5 h 57"/>
                <a:gd name="T4" fmla="*/ 9 w 16"/>
                <a:gd name="T5" fmla="*/ 0 h 57"/>
                <a:gd name="T6" fmla="*/ 16 w 16"/>
                <a:gd name="T7" fmla="*/ 5 h 57"/>
                <a:gd name="T8" fmla="*/ 16 w 16"/>
                <a:gd name="T9" fmla="*/ 12 h 57"/>
                <a:gd name="T10" fmla="*/ 16 w 16"/>
                <a:gd name="T11" fmla="*/ 12 h 57"/>
                <a:gd name="T12" fmla="*/ 16 w 16"/>
                <a:gd name="T13" fmla="*/ 12 h 57"/>
                <a:gd name="T14" fmla="*/ 16 w 16"/>
                <a:gd name="T15" fmla="*/ 57 h 57"/>
                <a:gd name="T16" fmla="*/ 0 w 16"/>
                <a:gd name="T17" fmla="*/ 45 h 57"/>
                <a:gd name="T18" fmla="*/ 9 w 16"/>
                <a:gd name="T19" fmla="*/ 40 h 57"/>
                <a:gd name="T20" fmla="*/ 16 w 16"/>
                <a:gd name="T21" fmla="*/ 45 h 57"/>
                <a:gd name="T22" fmla="*/ 16 w 16"/>
                <a:gd name="T23" fmla="*/ 57 h 57"/>
                <a:gd name="T24" fmla="*/ 16 w 16"/>
                <a:gd name="T25" fmla="*/ 57 h 57"/>
                <a:gd name="T26" fmla="*/ 16 w 16"/>
                <a:gd name="T27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" h="57">
                  <a:moveTo>
                    <a:pt x="16" y="12"/>
                  </a:moveTo>
                  <a:lnTo>
                    <a:pt x="9" y="5"/>
                  </a:lnTo>
                  <a:lnTo>
                    <a:pt x="9" y="0"/>
                  </a:lnTo>
                  <a:lnTo>
                    <a:pt x="16" y="5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close/>
                  <a:moveTo>
                    <a:pt x="16" y="57"/>
                  </a:moveTo>
                  <a:lnTo>
                    <a:pt x="0" y="45"/>
                  </a:lnTo>
                  <a:lnTo>
                    <a:pt x="9" y="40"/>
                  </a:lnTo>
                  <a:lnTo>
                    <a:pt x="16" y="45"/>
                  </a:lnTo>
                  <a:lnTo>
                    <a:pt x="16" y="57"/>
                  </a:lnTo>
                  <a:lnTo>
                    <a:pt x="16" y="57"/>
                  </a:lnTo>
                  <a:lnTo>
                    <a:pt x="16" y="57"/>
                  </a:lnTo>
                  <a:close/>
                </a:path>
              </a:pathLst>
            </a:custGeom>
            <a:solidFill>
              <a:schemeClr val="bg2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27" name="Freeform 379">
              <a:extLst>
                <a:ext uri="{FF2B5EF4-FFF2-40B4-BE49-F238E27FC236}">
                  <a16:creationId xmlns:a16="http://schemas.microsoft.com/office/drawing/2014/main" id="{1FCC6042-56E1-49C4-923F-FFCD4DBEFF60}"/>
                </a:ext>
              </a:extLst>
            </p:cNvPr>
            <p:cNvSpPr>
              <a:spLocks/>
            </p:cNvSpPr>
            <p:nvPr/>
          </p:nvSpPr>
          <p:spPr bwMode="gray">
            <a:xfrm>
              <a:off x="6812968" y="2295438"/>
              <a:ext cx="154703" cy="111589"/>
            </a:xfrm>
            <a:custGeom>
              <a:avLst/>
              <a:gdLst>
                <a:gd name="T0" fmla="*/ 75 w 1008"/>
                <a:gd name="T1" fmla="*/ 243 h 727"/>
                <a:gd name="T2" fmla="*/ 137 w 1008"/>
                <a:gd name="T3" fmla="*/ 260 h 727"/>
                <a:gd name="T4" fmla="*/ 184 w 1008"/>
                <a:gd name="T5" fmla="*/ 234 h 727"/>
                <a:gd name="T6" fmla="*/ 243 w 1008"/>
                <a:gd name="T7" fmla="*/ 193 h 727"/>
                <a:gd name="T8" fmla="*/ 297 w 1008"/>
                <a:gd name="T9" fmla="*/ 111 h 727"/>
                <a:gd name="T10" fmla="*/ 361 w 1008"/>
                <a:gd name="T11" fmla="*/ 78 h 727"/>
                <a:gd name="T12" fmla="*/ 453 w 1008"/>
                <a:gd name="T13" fmla="*/ 82 h 727"/>
                <a:gd name="T14" fmla="*/ 508 w 1008"/>
                <a:gd name="T15" fmla="*/ 99 h 727"/>
                <a:gd name="T16" fmla="*/ 583 w 1008"/>
                <a:gd name="T17" fmla="*/ 94 h 727"/>
                <a:gd name="T18" fmla="*/ 621 w 1008"/>
                <a:gd name="T19" fmla="*/ 82 h 727"/>
                <a:gd name="T20" fmla="*/ 675 w 1008"/>
                <a:gd name="T21" fmla="*/ 78 h 727"/>
                <a:gd name="T22" fmla="*/ 718 w 1008"/>
                <a:gd name="T23" fmla="*/ 0 h 727"/>
                <a:gd name="T24" fmla="*/ 756 w 1008"/>
                <a:gd name="T25" fmla="*/ 42 h 727"/>
                <a:gd name="T26" fmla="*/ 777 w 1008"/>
                <a:gd name="T27" fmla="*/ 139 h 727"/>
                <a:gd name="T28" fmla="*/ 826 w 1008"/>
                <a:gd name="T29" fmla="*/ 115 h 727"/>
                <a:gd name="T30" fmla="*/ 890 w 1008"/>
                <a:gd name="T31" fmla="*/ 78 h 727"/>
                <a:gd name="T32" fmla="*/ 919 w 1008"/>
                <a:gd name="T33" fmla="*/ 94 h 727"/>
                <a:gd name="T34" fmla="*/ 994 w 1008"/>
                <a:gd name="T35" fmla="*/ 82 h 727"/>
                <a:gd name="T36" fmla="*/ 999 w 1008"/>
                <a:gd name="T37" fmla="*/ 94 h 727"/>
                <a:gd name="T38" fmla="*/ 987 w 1008"/>
                <a:gd name="T39" fmla="*/ 120 h 727"/>
                <a:gd name="T40" fmla="*/ 923 w 1008"/>
                <a:gd name="T41" fmla="*/ 120 h 727"/>
                <a:gd name="T42" fmla="*/ 784 w 1008"/>
                <a:gd name="T43" fmla="*/ 165 h 727"/>
                <a:gd name="T44" fmla="*/ 756 w 1008"/>
                <a:gd name="T45" fmla="*/ 189 h 727"/>
                <a:gd name="T46" fmla="*/ 777 w 1008"/>
                <a:gd name="T47" fmla="*/ 250 h 727"/>
                <a:gd name="T48" fmla="*/ 772 w 1008"/>
                <a:gd name="T49" fmla="*/ 283 h 727"/>
                <a:gd name="T50" fmla="*/ 730 w 1008"/>
                <a:gd name="T51" fmla="*/ 321 h 727"/>
                <a:gd name="T52" fmla="*/ 701 w 1008"/>
                <a:gd name="T53" fmla="*/ 373 h 727"/>
                <a:gd name="T54" fmla="*/ 663 w 1008"/>
                <a:gd name="T55" fmla="*/ 390 h 727"/>
                <a:gd name="T56" fmla="*/ 685 w 1008"/>
                <a:gd name="T57" fmla="*/ 415 h 727"/>
                <a:gd name="T58" fmla="*/ 633 w 1008"/>
                <a:gd name="T59" fmla="*/ 456 h 727"/>
                <a:gd name="T60" fmla="*/ 616 w 1008"/>
                <a:gd name="T61" fmla="*/ 489 h 727"/>
                <a:gd name="T62" fmla="*/ 583 w 1008"/>
                <a:gd name="T63" fmla="*/ 562 h 727"/>
                <a:gd name="T64" fmla="*/ 562 w 1008"/>
                <a:gd name="T65" fmla="*/ 545 h 727"/>
                <a:gd name="T66" fmla="*/ 491 w 1008"/>
                <a:gd name="T67" fmla="*/ 562 h 727"/>
                <a:gd name="T68" fmla="*/ 453 w 1008"/>
                <a:gd name="T69" fmla="*/ 578 h 727"/>
                <a:gd name="T70" fmla="*/ 415 w 1008"/>
                <a:gd name="T71" fmla="*/ 612 h 727"/>
                <a:gd name="T72" fmla="*/ 399 w 1008"/>
                <a:gd name="T73" fmla="*/ 678 h 727"/>
                <a:gd name="T74" fmla="*/ 314 w 1008"/>
                <a:gd name="T75" fmla="*/ 723 h 727"/>
                <a:gd name="T76" fmla="*/ 217 w 1008"/>
                <a:gd name="T77" fmla="*/ 723 h 727"/>
                <a:gd name="T78" fmla="*/ 23 w 1008"/>
                <a:gd name="T79" fmla="*/ 694 h 727"/>
                <a:gd name="T80" fmla="*/ 82 w 1008"/>
                <a:gd name="T81" fmla="*/ 578 h 727"/>
                <a:gd name="T82" fmla="*/ 23 w 1008"/>
                <a:gd name="T83" fmla="*/ 505 h 727"/>
                <a:gd name="T84" fmla="*/ 0 w 1008"/>
                <a:gd name="T85" fmla="*/ 394 h 727"/>
                <a:gd name="T86" fmla="*/ 23 w 1008"/>
                <a:gd name="T87" fmla="*/ 338 h 727"/>
                <a:gd name="T88" fmla="*/ 37 w 1008"/>
                <a:gd name="T89" fmla="*/ 300 h 727"/>
                <a:gd name="T90" fmla="*/ 54 w 1008"/>
                <a:gd name="T91" fmla="*/ 234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008" h="727">
                  <a:moveTo>
                    <a:pt x="54" y="234"/>
                  </a:moveTo>
                  <a:lnTo>
                    <a:pt x="61" y="227"/>
                  </a:lnTo>
                  <a:lnTo>
                    <a:pt x="75" y="243"/>
                  </a:lnTo>
                  <a:lnTo>
                    <a:pt x="108" y="243"/>
                  </a:lnTo>
                  <a:lnTo>
                    <a:pt x="120" y="267"/>
                  </a:lnTo>
                  <a:lnTo>
                    <a:pt x="137" y="260"/>
                  </a:lnTo>
                  <a:lnTo>
                    <a:pt x="151" y="260"/>
                  </a:lnTo>
                  <a:lnTo>
                    <a:pt x="184" y="243"/>
                  </a:lnTo>
                  <a:lnTo>
                    <a:pt x="184" y="234"/>
                  </a:lnTo>
                  <a:lnTo>
                    <a:pt x="184" y="227"/>
                  </a:lnTo>
                  <a:lnTo>
                    <a:pt x="184" y="210"/>
                  </a:lnTo>
                  <a:lnTo>
                    <a:pt x="243" y="193"/>
                  </a:lnTo>
                  <a:lnTo>
                    <a:pt x="276" y="177"/>
                  </a:lnTo>
                  <a:lnTo>
                    <a:pt x="297" y="120"/>
                  </a:lnTo>
                  <a:lnTo>
                    <a:pt x="297" y="111"/>
                  </a:lnTo>
                  <a:lnTo>
                    <a:pt x="323" y="99"/>
                  </a:lnTo>
                  <a:lnTo>
                    <a:pt x="352" y="99"/>
                  </a:lnTo>
                  <a:lnTo>
                    <a:pt x="361" y="78"/>
                  </a:lnTo>
                  <a:lnTo>
                    <a:pt x="406" y="94"/>
                  </a:lnTo>
                  <a:lnTo>
                    <a:pt x="422" y="82"/>
                  </a:lnTo>
                  <a:lnTo>
                    <a:pt x="453" y="82"/>
                  </a:lnTo>
                  <a:lnTo>
                    <a:pt x="470" y="99"/>
                  </a:lnTo>
                  <a:lnTo>
                    <a:pt x="491" y="94"/>
                  </a:lnTo>
                  <a:lnTo>
                    <a:pt x="508" y="99"/>
                  </a:lnTo>
                  <a:lnTo>
                    <a:pt x="508" y="111"/>
                  </a:lnTo>
                  <a:lnTo>
                    <a:pt x="529" y="120"/>
                  </a:lnTo>
                  <a:lnTo>
                    <a:pt x="583" y="94"/>
                  </a:lnTo>
                  <a:lnTo>
                    <a:pt x="616" y="111"/>
                  </a:lnTo>
                  <a:lnTo>
                    <a:pt x="621" y="99"/>
                  </a:lnTo>
                  <a:lnTo>
                    <a:pt x="621" y="82"/>
                  </a:lnTo>
                  <a:lnTo>
                    <a:pt x="633" y="66"/>
                  </a:lnTo>
                  <a:lnTo>
                    <a:pt x="654" y="66"/>
                  </a:lnTo>
                  <a:lnTo>
                    <a:pt x="675" y="78"/>
                  </a:lnTo>
                  <a:lnTo>
                    <a:pt x="685" y="61"/>
                  </a:lnTo>
                  <a:lnTo>
                    <a:pt x="675" y="38"/>
                  </a:lnTo>
                  <a:lnTo>
                    <a:pt x="718" y="0"/>
                  </a:lnTo>
                  <a:lnTo>
                    <a:pt x="730" y="0"/>
                  </a:lnTo>
                  <a:lnTo>
                    <a:pt x="760" y="9"/>
                  </a:lnTo>
                  <a:lnTo>
                    <a:pt x="756" y="42"/>
                  </a:lnTo>
                  <a:lnTo>
                    <a:pt x="777" y="42"/>
                  </a:lnTo>
                  <a:lnTo>
                    <a:pt x="760" y="111"/>
                  </a:lnTo>
                  <a:lnTo>
                    <a:pt x="777" y="139"/>
                  </a:lnTo>
                  <a:lnTo>
                    <a:pt x="784" y="149"/>
                  </a:lnTo>
                  <a:lnTo>
                    <a:pt x="793" y="139"/>
                  </a:lnTo>
                  <a:lnTo>
                    <a:pt x="826" y="115"/>
                  </a:lnTo>
                  <a:lnTo>
                    <a:pt x="852" y="115"/>
                  </a:lnTo>
                  <a:lnTo>
                    <a:pt x="864" y="99"/>
                  </a:lnTo>
                  <a:lnTo>
                    <a:pt x="890" y="78"/>
                  </a:lnTo>
                  <a:lnTo>
                    <a:pt x="933" y="82"/>
                  </a:lnTo>
                  <a:lnTo>
                    <a:pt x="933" y="94"/>
                  </a:lnTo>
                  <a:lnTo>
                    <a:pt x="919" y="94"/>
                  </a:lnTo>
                  <a:lnTo>
                    <a:pt x="923" y="99"/>
                  </a:lnTo>
                  <a:lnTo>
                    <a:pt x="961" y="82"/>
                  </a:lnTo>
                  <a:lnTo>
                    <a:pt x="994" y="82"/>
                  </a:lnTo>
                  <a:lnTo>
                    <a:pt x="1008" y="99"/>
                  </a:lnTo>
                  <a:lnTo>
                    <a:pt x="999" y="99"/>
                  </a:lnTo>
                  <a:lnTo>
                    <a:pt x="999" y="94"/>
                  </a:lnTo>
                  <a:lnTo>
                    <a:pt x="971" y="99"/>
                  </a:lnTo>
                  <a:lnTo>
                    <a:pt x="987" y="115"/>
                  </a:lnTo>
                  <a:lnTo>
                    <a:pt x="987" y="120"/>
                  </a:lnTo>
                  <a:lnTo>
                    <a:pt x="978" y="115"/>
                  </a:lnTo>
                  <a:lnTo>
                    <a:pt x="945" y="132"/>
                  </a:lnTo>
                  <a:lnTo>
                    <a:pt x="923" y="120"/>
                  </a:lnTo>
                  <a:lnTo>
                    <a:pt x="848" y="132"/>
                  </a:lnTo>
                  <a:lnTo>
                    <a:pt x="815" y="139"/>
                  </a:lnTo>
                  <a:lnTo>
                    <a:pt x="784" y="165"/>
                  </a:lnTo>
                  <a:lnTo>
                    <a:pt x="777" y="165"/>
                  </a:lnTo>
                  <a:lnTo>
                    <a:pt x="777" y="172"/>
                  </a:lnTo>
                  <a:lnTo>
                    <a:pt x="756" y="189"/>
                  </a:lnTo>
                  <a:lnTo>
                    <a:pt x="746" y="193"/>
                  </a:lnTo>
                  <a:lnTo>
                    <a:pt x="772" y="210"/>
                  </a:lnTo>
                  <a:lnTo>
                    <a:pt x="777" y="250"/>
                  </a:lnTo>
                  <a:lnTo>
                    <a:pt x="772" y="260"/>
                  </a:lnTo>
                  <a:lnTo>
                    <a:pt x="777" y="267"/>
                  </a:lnTo>
                  <a:lnTo>
                    <a:pt x="772" y="283"/>
                  </a:lnTo>
                  <a:lnTo>
                    <a:pt x="739" y="304"/>
                  </a:lnTo>
                  <a:lnTo>
                    <a:pt x="739" y="316"/>
                  </a:lnTo>
                  <a:lnTo>
                    <a:pt x="730" y="321"/>
                  </a:lnTo>
                  <a:lnTo>
                    <a:pt x="746" y="338"/>
                  </a:lnTo>
                  <a:lnTo>
                    <a:pt x="739" y="361"/>
                  </a:lnTo>
                  <a:lnTo>
                    <a:pt x="701" y="373"/>
                  </a:lnTo>
                  <a:lnTo>
                    <a:pt x="654" y="361"/>
                  </a:lnTo>
                  <a:lnTo>
                    <a:pt x="663" y="378"/>
                  </a:lnTo>
                  <a:lnTo>
                    <a:pt x="663" y="390"/>
                  </a:lnTo>
                  <a:lnTo>
                    <a:pt x="675" y="390"/>
                  </a:lnTo>
                  <a:lnTo>
                    <a:pt x="675" y="399"/>
                  </a:lnTo>
                  <a:lnTo>
                    <a:pt x="685" y="415"/>
                  </a:lnTo>
                  <a:lnTo>
                    <a:pt x="671" y="434"/>
                  </a:lnTo>
                  <a:lnTo>
                    <a:pt x="633" y="444"/>
                  </a:lnTo>
                  <a:lnTo>
                    <a:pt x="633" y="456"/>
                  </a:lnTo>
                  <a:lnTo>
                    <a:pt x="621" y="467"/>
                  </a:lnTo>
                  <a:lnTo>
                    <a:pt x="621" y="472"/>
                  </a:lnTo>
                  <a:lnTo>
                    <a:pt x="616" y="489"/>
                  </a:lnTo>
                  <a:lnTo>
                    <a:pt x="616" y="529"/>
                  </a:lnTo>
                  <a:lnTo>
                    <a:pt x="600" y="555"/>
                  </a:lnTo>
                  <a:lnTo>
                    <a:pt x="583" y="562"/>
                  </a:lnTo>
                  <a:lnTo>
                    <a:pt x="562" y="538"/>
                  </a:lnTo>
                  <a:lnTo>
                    <a:pt x="557" y="545"/>
                  </a:lnTo>
                  <a:lnTo>
                    <a:pt x="562" y="545"/>
                  </a:lnTo>
                  <a:lnTo>
                    <a:pt x="541" y="538"/>
                  </a:lnTo>
                  <a:lnTo>
                    <a:pt x="524" y="555"/>
                  </a:lnTo>
                  <a:lnTo>
                    <a:pt x="491" y="562"/>
                  </a:lnTo>
                  <a:lnTo>
                    <a:pt x="508" y="578"/>
                  </a:lnTo>
                  <a:lnTo>
                    <a:pt x="474" y="583"/>
                  </a:lnTo>
                  <a:lnTo>
                    <a:pt x="453" y="578"/>
                  </a:lnTo>
                  <a:lnTo>
                    <a:pt x="437" y="583"/>
                  </a:lnTo>
                  <a:lnTo>
                    <a:pt x="422" y="612"/>
                  </a:lnTo>
                  <a:lnTo>
                    <a:pt x="415" y="612"/>
                  </a:lnTo>
                  <a:lnTo>
                    <a:pt x="406" y="640"/>
                  </a:lnTo>
                  <a:lnTo>
                    <a:pt x="406" y="668"/>
                  </a:lnTo>
                  <a:lnTo>
                    <a:pt x="399" y="678"/>
                  </a:lnTo>
                  <a:lnTo>
                    <a:pt x="406" y="689"/>
                  </a:lnTo>
                  <a:lnTo>
                    <a:pt x="399" y="694"/>
                  </a:lnTo>
                  <a:lnTo>
                    <a:pt x="314" y="723"/>
                  </a:lnTo>
                  <a:lnTo>
                    <a:pt x="271" y="723"/>
                  </a:lnTo>
                  <a:lnTo>
                    <a:pt x="243" y="727"/>
                  </a:lnTo>
                  <a:lnTo>
                    <a:pt x="217" y="723"/>
                  </a:lnTo>
                  <a:lnTo>
                    <a:pt x="189" y="727"/>
                  </a:lnTo>
                  <a:lnTo>
                    <a:pt x="137" y="727"/>
                  </a:lnTo>
                  <a:lnTo>
                    <a:pt x="23" y="694"/>
                  </a:lnTo>
                  <a:lnTo>
                    <a:pt x="82" y="623"/>
                  </a:lnTo>
                  <a:lnTo>
                    <a:pt x="92" y="600"/>
                  </a:lnTo>
                  <a:lnTo>
                    <a:pt x="82" y="578"/>
                  </a:lnTo>
                  <a:lnTo>
                    <a:pt x="23" y="567"/>
                  </a:lnTo>
                  <a:lnTo>
                    <a:pt x="23" y="529"/>
                  </a:lnTo>
                  <a:lnTo>
                    <a:pt x="23" y="505"/>
                  </a:lnTo>
                  <a:lnTo>
                    <a:pt x="7" y="434"/>
                  </a:lnTo>
                  <a:lnTo>
                    <a:pt x="28" y="399"/>
                  </a:lnTo>
                  <a:lnTo>
                    <a:pt x="0" y="394"/>
                  </a:lnTo>
                  <a:lnTo>
                    <a:pt x="0" y="354"/>
                  </a:lnTo>
                  <a:lnTo>
                    <a:pt x="7" y="338"/>
                  </a:lnTo>
                  <a:lnTo>
                    <a:pt x="23" y="338"/>
                  </a:lnTo>
                  <a:lnTo>
                    <a:pt x="11" y="321"/>
                  </a:lnTo>
                  <a:lnTo>
                    <a:pt x="28" y="316"/>
                  </a:lnTo>
                  <a:lnTo>
                    <a:pt x="37" y="300"/>
                  </a:lnTo>
                  <a:lnTo>
                    <a:pt x="37" y="260"/>
                  </a:lnTo>
                  <a:lnTo>
                    <a:pt x="54" y="234"/>
                  </a:lnTo>
                  <a:lnTo>
                    <a:pt x="54" y="234"/>
                  </a:lnTo>
                  <a:lnTo>
                    <a:pt x="54" y="234"/>
                  </a:lnTo>
                  <a:close/>
                </a:path>
              </a:pathLst>
            </a:custGeom>
            <a:solidFill>
              <a:schemeClr val="bg2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28" name="Freeform 380">
              <a:extLst>
                <a:ext uri="{FF2B5EF4-FFF2-40B4-BE49-F238E27FC236}">
                  <a16:creationId xmlns:a16="http://schemas.microsoft.com/office/drawing/2014/main" id="{4360DBDA-003D-4F74-B3FA-1A8483739D87}"/>
                </a:ext>
              </a:extLst>
            </p:cNvPr>
            <p:cNvSpPr>
              <a:spLocks/>
            </p:cNvSpPr>
            <p:nvPr/>
          </p:nvSpPr>
          <p:spPr bwMode="gray">
            <a:xfrm>
              <a:off x="6068308" y="2312475"/>
              <a:ext cx="221771" cy="217191"/>
            </a:xfrm>
            <a:custGeom>
              <a:avLst/>
              <a:gdLst>
                <a:gd name="T0" fmla="*/ 399 w 1445"/>
                <a:gd name="T1" fmla="*/ 427 h 1415"/>
                <a:gd name="T2" fmla="*/ 446 w 1445"/>
                <a:gd name="T3" fmla="*/ 399 h 1415"/>
                <a:gd name="T4" fmla="*/ 522 w 1445"/>
                <a:gd name="T5" fmla="*/ 399 h 1415"/>
                <a:gd name="T6" fmla="*/ 522 w 1445"/>
                <a:gd name="T7" fmla="*/ 387 h 1415"/>
                <a:gd name="T8" fmla="*/ 508 w 1445"/>
                <a:gd name="T9" fmla="*/ 354 h 1415"/>
                <a:gd name="T10" fmla="*/ 508 w 1445"/>
                <a:gd name="T11" fmla="*/ 333 h 1415"/>
                <a:gd name="T12" fmla="*/ 491 w 1445"/>
                <a:gd name="T13" fmla="*/ 283 h 1415"/>
                <a:gd name="T14" fmla="*/ 491 w 1445"/>
                <a:gd name="T15" fmla="*/ 243 h 1415"/>
                <a:gd name="T16" fmla="*/ 491 w 1445"/>
                <a:gd name="T17" fmla="*/ 210 h 1415"/>
                <a:gd name="T18" fmla="*/ 484 w 1445"/>
                <a:gd name="T19" fmla="*/ 193 h 1415"/>
                <a:gd name="T20" fmla="*/ 484 w 1445"/>
                <a:gd name="T21" fmla="*/ 165 h 1415"/>
                <a:gd name="T22" fmla="*/ 538 w 1445"/>
                <a:gd name="T23" fmla="*/ 116 h 1415"/>
                <a:gd name="T24" fmla="*/ 560 w 1445"/>
                <a:gd name="T25" fmla="*/ 116 h 1415"/>
                <a:gd name="T26" fmla="*/ 597 w 1445"/>
                <a:gd name="T27" fmla="*/ 111 h 1415"/>
                <a:gd name="T28" fmla="*/ 690 w 1445"/>
                <a:gd name="T29" fmla="*/ 45 h 1415"/>
                <a:gd name="T30" fmla="*/ 786 w 1445"/>
                <a:gd name="T31" fmla="*/ 45 h 1415"/>
                <a:gd name="T32" fmla="*/ 853 w 1445"/>
                <a:gd name="T33" fmla="*/ 28 h 1415"/>
                <a:gd name="T34" fmla="*/ 938 w 1445"/>
                <a:gd name="T35" fmla="*/ 12 h 1415"/>
                <a:gd name="T36" fmla="*/ 1008 w 1445"/>
                <a:gd name="T37" fmla="*/ 21 h 1415"/>
                <a:gd name="T38" fmla="*/ 1046 w 1445"/>
                <a:gd name="T39" fmla="*/ 4 h 1415"/>
                <a:gd name="T40" fmla="*/ 1067 w 1445"/>
                <a:gd name="T41" fmla="*/ 12 h 1415"/>
                <a:gd name="T42" fmla="*/ 1110 w 1445"/>
                <a:gd name="T43" fmla="*/ 12 h 1415"/>
                <a:gd name="T44" fmla="*/ 1117 w 1445"/>
                <a:gd name="T45" fmla="*/ 0 h 1415"/>
                <a:gd name="T46" fmla="*/ 1164 w 1445"/>
                <a:gd name="T47" fmla="*/ 21 h 1415"/>
                <a:gd name="T48" fmla="*/ 1209 w 1445"/>
                <a:gd name="T49" fmla="*/ 12 h 1415"/>
                <a:gd name="T50" fmla="*/ 1176 w 1445"/>
                <a:gd name="T51" fmla="*/ 45 h 1415"/>
                <a:gd name="T52" fmla="*/ 1186 w 1445"/>
                <a:gd name="T53" fmla="*/ 99 h 1415"/>
                <a:gd name="T54" fmla="*/ 1193 w 1445"/>
                <a:gd name="T55" fmla="*/ 139 h 1415"/>
                <a:gd name="T56" fmla="*/ 1186 w 1445"/>
                <a:gd name="T57" fmla="*/ 205 h 1415"/>
                <a:gd name="T58" fmla="*/ 1155 w 1445"/>
                <a:gd name="T59" fmla="*/ 234 h 1415"/>
                <a:gd name="T60" fmla="*/ 1134 w 1445"/>
                <a:gd name="T61" fmla="*/ 260 h 1415"/>
                <a:gd name="T62" fmla="*/ 1176 w 1445"/>
                <a:gd name="T63" fmla="*/ 321 h 1415"/>
                <a:gd name="T64" fmla="*/ 1193 w 1445"/>
                <a:gd name="T65" fmla="*/ 371 h 1415"/>
                <a:gd name="T66" fmla="*/ 1278 w 1445"/>
                <a:gd name="T67" fmla="*/ 555 h 1415"/>
                <a:gd name="T68" fmla="*/ 1285 w 1445"/>
                <a:gd name="T69" fmla="*/ 600 h 1415"/>
                <a:gd name="T70" fmla="*/ 1294 w 1445"/>
                <a:gd name="T71" fmla="*/ 711 h 1415"/>
                <a:gd name="T72" fmla="*/ 1285 w 1445"/>
                <a:gd name="T73" fmla="*/ 782 h 1415"/>
                <a:gd name="T74" fmla="*/ 1299 w 1445"/>
                <a:gd name="T75" fmla="*/ 822 h 1415"/>
                <a:gd name="T76" fmla="*/ 1273 w 1445"/>
                <a:gd name="T77" fmla="*/ 855 h 1415"/>
                <a:gd name="T78" fmla="*/ 1311 w 1445"/>
                <a:gd name="T79" fmla="*/ 933 h 1415"/>
                <a:gd name="T80" fmla="*/ 1327 w 1445"/>
                <a:gd name="T81" fmla="*/ 982 h 1415"/>
                <a:gd name="T82" fmla="*/ 1337 w 1445"/>
                <a:gd name="T83" fmla="*/ 1004 h 1415"/>
                <a:gd name="T84" fmla="*/ 1419 w 1445"/>
                <a:gd name="T85" fmla="*/ 1011 h 1415"/>
                <a:gd name="T86" fmla="*/ 1134 w 1445"/>
                <a:gd name="T87" fmla="*/ 1278 h 1415"/>
                <a:gd name="T88" fmla="*/ 907 w 1445"/>
                <a:gd name="T89" fmla="*/ 1405 h 1415"/>
                <a:gd name="T90" fmla="*/ 824 w 1445"/>
                <a:gd name="T91" fmla="*/ 1405 h 1415"/>
                <a:gd name="T92" fmla="*/ 831 w 1445"/>
                <a:gd name="T93" fmla="*/ 1353 h 1415"/>
                <a:gd name="T94" fmla="*/ 760 w 1445"/>
                <a:gd name="T95" fmla="*/ 1320 h 1415"/>
                <a:gd name="T96" fmla="*/ 734 w 1445"/>
                <a:gd name="T97" fmla="*/ 1315 h 1415"/>
                <a:gd name="T98" fmla="*/ 690 w 1445"/>
                <a:gd name="T99" fmla="*/ 1282 h 1415"/>
                <a:gd name="T100" fmla="*/ 269 w 1445"/>
                <a:gd name="T101" fmla="*/ 966 h 1415"/>
                <a:gd name="T102" fmla="*/ 0 w 1445"/>
                <a:gd name="T103" fmla="*/ 760 h 1415"/>
                <a:gd name="T104" fmla="*/ 108 w 1445"/>
                <a:gd name="T105" fmla="*/ 600 h 1415"/>
                <a:gd name="T106" fmla="*/ 160 w 1445"/>
                <a:gd name="T107" fmla="*/ 593 h 1415"/>
                <a:gd name="T108" fmla="*/ 236 w 1445"/>
                <a:gd name="T109" fmla="*/ 567 h 1415"/>
                <a:gd name="T110" fmla="*/ 302 w 1445"/>
                <a:gd name="T111" fmla="*/ 522 h 1415"/>
                <a:gd name="T112" fmla="*/ 356 w 1445"/>
                <a:gd name="T113" fmla="*/ 498 h 1415"/>
                <a:gd name="T114" fmla="*/ 340 w 1445"/>
                <a:gd name="T115" fmla="*/ 482 h 1415"/>
                <a:gd name="T116" fmla="*/ 366 w 1445"/>
                <a:gd name="T117" fmla="*/ 432 h 1415"/>
                <a:gd name="T118" fmla="*/ 366 w 1445"/>
                <a:gd name="T119" fmla="*/ 432 h 14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445" h="1415">
                  <a:moveTo>
                    <a:pt x="366" y="432"/>
                  </a:moveTo>
                  <a:lnTo>
                    <a:pt x="399" y="427"/>
                  </a:lnTo>
                  <a:lnTo>
                    <a:pt x="408" y="411"/>
                  </a:lnTo>
                  <a:lnTo>
                    <a:pt x="446" y="399"/>
                  </a:lnTo>
                  <a:lnTo>
                    <a:pt x="522" y="411"/>
                  </a:lnTo>
                  <a:lnTo>
                    <a:pt x="522" y="399"/>
                  </a:lnTo>
                  <a:lnTo>
                    <a:pt x="517" y="399"/>
                  </a:lnTo>
                  <a:lnTo>
                    <a:pt x="522" y="387"/>
                  </a:lnTo>
                  <a:lnTo>
                    <a:pt x="538" y="371"/>
                  </a:lnTo>
                  <a:lnTo>
                    <a:pt x="508" y="354"/>
                  </a:lnTo>
                  <a:lnTo>
                    <a:pt x="501" y="338"/>
                  </a:lnTo>
                  <a:lnTo>
                    <a:pt x="508" y="333"/>
                  </a:lnTo>
                  <a:lnTo>
                    <a:pt x="491" y="316"/>
                  </a:lnTo>
                  <a:lnTo>
                    <a:pt x="491" y="283"/>
                  </a:lnTo>
                  <a:lnTo>
                    <a:pt x="484" y="276"/>
                  </a:lnTo>
                  <a:lnTo>
                    <a:pt x="491" y="243"/>
                  </a:lnTo>
                  <a:lnTo>
                    <a:pt x="484" y="222"/>
                  </a:lnTo>
                  <a:lnTo>
                    <a:pt x="491" y="210"/>
                  </a:lnTo>
                  <a:lnTo>
                    <a:pt x="475" y="205"/>
                  </a:lnTo>
                  <a:lnTo>
                    <a:pt x="484" y="193"/>
                  </a:lnTo>
                  <a:lnTo>
                    <a:pt x="453" y="165"/>
                  </a:lnTo>
                  <a:lnTo>
                    <a:pt x="484" y="165"/>
                  </a:lnTo>
                  <a:lnTo>
                    <a:pt x="517" y="139"/>
                  </a:lnTo>
                  <a:lnTo>
                    <a:pt x="538" y="116"/>
                  </a:lnTo>
                  <a:lnTo>
                    <a:pt x="555" y="111"/>
                  </a:lnTo>
                  <a:lnTo>
                    <a:pt x="560" y="116"/>
                  </a:lnTo>
                  <a:lnTo>
                    <a:pt x="583" y="99"/>
                  </a:lnTo>
                  <a:lnTo>
                    <a:pt x="597" y="111"/>
                  </a:lnTo>
                  <a:lnTo>
                    <a:pt x="626" y="82"/>
                  </a:lnTo>
                  <a:lnTo>
                    <a:pt x="690" y="45"/>
                  </a:lnTo>
                  <a:lnTo>
                    <a:pt x="772" y="38"/>
                  </a:lnTo>
                  <a:lnTo>
                    <a:pt x="786" y="45"/>
                  </a:lnTo>
                  <a:lnTo>
                    <a:pt x="810" y="21"/>
                  </a:lnTo>
                  <a:lnTo>
                    <a:pt x="853" y="28"/>
                  </a:lnTo>
                  <a:lnTo>
                    <a:pt x="878" y="12"/>
                  </a:lnTo>
                  <a:lnTo>
                    <a:pt x="938" y="12"/>
                  </a:lnTo>
                  <a:lnTo>
                    <a:pt x="975" y="38"/>
                  </a:lnTo>
                  <a:lnTo>
                    <a:pt x="1008" y="21"/>
                  </a:lnTo>
                  <a:lnTo>
                    <a:pt x="1046" y="12"/>
                  </a:lnTo>
                  <a:lnTo>
                    <a:pt x="1046" y="4"/>
                  </a:lnTo>
                  <a:lnTo>
                    <a:pt x="1063" y="0"/>
                  </a:lnTo>
                  <a:lnTo>
                    <a:pt x="1067" y="12"/>
                  </a:lnTo>
                  <a:lnTo>
                    <a:pt x="1096" y="12"/>
                  </a:lnTo>
                  <a:lnTo>
                    <a:pt x="1110" y="12"/>
                  </a:lnTo>
                  <a:lnTo>
                    <a:pt x="1117" y="4"/>
                  </a:lnTo>
                  <a:lnTo>
                    <a:pt x="1117" y="0"/>
                  </a:lnTo>
                  <a:lnTo>
                    <a:pt x="1155" y="12"/>
                  </a:lnTo>
                  <a:lnTo>
                    <a:pt x="1164" y="21"/>
                  </a:lnTo>
                  <a:lnTo>
                    <a:pt x="1186" y="12"/>
                  </a:lnTo>
                  <a:lnTo>
                    <a:pt x="1209" y="12"/>
                  </a:lnTo>
                  <a:lnTo>
                    <a:pt x="1219" y="21"/>
                  </a:lnTo>
                  <a:lnTo>
                    <a:pt x="1176" y="45"/>
                  </a:lnTo>
                  <a:lnTo>
                    <a:pt x="1193" y="54"/>
                  </a:lnTo>
                  <a:lnTo>
                    <a:pt x="1186" y="99"/>
                  </a:lnTo>
                  <a:lnTo>
                    <a:pt x="1193" y="116"/>
                  </a:lnTo>
                  <a:lnTo>
                    <a:pt x="1193" y="139"/>
                  </a:lnTo>
                  <a:lnTo>
                    <a:pt x="1193" y="156"/>
                  </a:lnTo>
                  <a:lnTo>
                    <a:pt x="1186" y="205"/>
                  </a:lnTo>
                  <a:lnTo>
                    <a:pt x="1155" y="222"/>
                  </a:lnTo>
                  <a:lnTo>
                    <a:pt x="1155" y="234"/>
                  </a:lnTo>
                  <a:lnTo>
                    <a:pt x="1134" y="243"/>
                  </a:lnTo>
                  <a:lnTo>
                    <a:pt x="1134" y="260"/>
                  </a:lnTo>
                  <a:lnTo>
                    <a:pt x="1148" y="316"/>
                  </a:lnTo>
                  <a:lnTo>
                    <a:pt x="1176" y="321"/>
                  </a:lnTo>
                  <a:lnTo>
                    <a:pt x="1193" y="345"/>
                  </a:lnTo>
                  <a:lnTo>
                    <a:pt x="1193" y="371"/>
                  </a:lnTo>
                  <a:lnTo>
                    <a:pt x="1240" y="411"/>
                  </a:lnTo>
                  <a:lnTo>
                    <a:pt x="1278" y="555"/>
                  </a:lnTo>
                  <a:lnTo>
                    <a:pt x="1261" y="560"/>
                  </a:lnTo>
                  <a:lnTo>
                    <a:pt x="1285" y="600"/>
                  </a:lnTo>
                  <a:lnTo>
                    <a:pt x="1294" y="638"/>
                  </a:lnTo>
                  <a:lnTo>
                    <a:pt x="1294" y="711"/>
                  </a:lnTo>
                  <a:lnTo>
                    <a:pt x="1311" y="744"/>
                  </a:lnTo>
                  <a:lnTo>
                    <a:pt x="1285" y="782"/>
                  </a:lnTo>
                  <a:lnTo>
                    <a:pt x="1299" y="815"/>
                  </a:lnTo>
                  <a:lnTo>
                    <a:pt x="1299" y="822"/>
                  </a:lnTo>
                  <a:lnTo>
                    <a:pt x="1299" y="843"/>
                  </a:lnTo>
                  <a:lnTo>
                    <a:pt x="1273" y="855"/>
                  </a:lnTo>
                  <a:lnTo>
                    <a:pt x="1261" y="871"/>
                  </a:lnTo>
                  <a:lnTo>
                    <a:pt x="1311" y="933"/>
                  </a:lnTo>
                  <a:lnTo>
                    <a:pt x="1311" y="971"/>
                  </a:lnTo>
                  <a:lnTo>
                    <a:pt x="1327" y="982"/>
                  </a:lnTo>
                  <a:lnTo>
                    <a:pt x="1327" y="987"/>
                  </a:lnTo>
                  <a:lnTo>
                    <a:pt x="1337" y="1004"/>
                  </a:lnTo>
                  <a:lnTo>
                    <a:pt x="1353" y="999"/>
                  </a:lnTo>
                  <a:lnTo>
                    <a:pt x="1419" y="1011"/>
                  </a:lnTo>
                  <a:lnTo>
                    <a:pt x="1445" y="1077"/>
                  </a:lnTo>
                  <a:lnTo>
                    <a:pt x="1134" y="1278"/>
                  </a:lnTo>
                  <a:lnTo>
                    <a:pt x="1013" y="1389"/>
                  </a:lnTo>
                  <a:lnTo>
                    <a:pt x="907" y="1405"/>
                  </a:lnTo>
                  <a:lnTo>
                    <a:pt x="841" y="1415"/>
                  </a:lnTo>
                  <a:lnTo>
                    <a:pt x="824" y="1405"/>
                  </a:lnTo>
                  <a:lnTo>
                    <a:pt x="841" y="1389"/>
                  </a:lnTo>
                  <a:lnTo>
                    <a:pt x="831" y="1353"/>
                  </a:lnTo>
                  <a:lnTo>
                    <a:pt x="777" y="1337"/>
                  </a:lnTo>
                  <a:lnTo>
                    <a:pt x="760" y="1320"/>
                  </a:lnTo>
                  <a:lnTo>
                    <a:pt x="756" y="1320"/>
                  </a:lnTo>
                  <a:lnTo>
                    <a:pt x="734" y="1315"/>
                  </a:lnTo>
                  <a:lnTo>
                    <a:pt x="723" y="1299"/>
                  </a:lnTo>
                  <a:lnTo>
                    <a:pt x="690" y="1282"/>
                  </a:lnTo>
                  <a:lnTo>
                    <a:pt x="690" y="1261"/>
                  </a:lnTo>
                  <a:lnTo>
                    <a:pt x="269" y="966"/>
                  </a:lnTo>
                  <a:lnTo>
                    <a:pt x="0" y="782"/>
                  </a:lnTo>
                  <a:lnTo>
                    <a:pt x="0" y="760"/>
                  </a:lnTo>
                  <a:lnTo>
                    <a:pt x="0" y="671"/>
                  </a:lnTo>
                  <a:lnTo>
                    <a:pt x="108" y="600"/>
                  </a:lnTo>
                  <a:lnTo>
                    <a:pt x="146" y="609"/>
                  </a:lnTo>
                  <a:lnTo>
                    <a:pt x="160" y="593"/>
                  </a:lnTo>
                  <a:lnTo>
                    <a:pt x="222" y="583"/>
                  </a:lnTo>
                  <a:lnTo>
                    <a:pt x="236" y="567"/>
                  </a:lnTo>
                  <a:lnTo>
                    <a:pt x="260" y="538"/>
                  </a:lnTo>
                  <a:lnTo>
                    <a:pt x="302" y="522"/>
                  </a:lnTo>
                  <a:lnTo>
                    <a:pt x="323" y="498"/>
                  </a:lnTo>
                  <a:lnTo>
                    <a:pt x="356" y="498"/>
                  </a:lnTo>
                  <a:lnTo>
                    <a:pt x="356" y="489"/>
                  </a:lnTo>
                  <a:lnTo>
                    <a:pt x="340" y="482"/>
                  </a:lnTo>
                  <a:lnTo>
                    <a:pt x="340" y="444"/>
                  </a:lnTo>
                  <a:lnTo>
                    <a:pt x="366" y="432"/>
                  </a:lnTo>
                  <a:lnTo>
                    <a:pt x="366" y="432"/>
                  </a:lnTo>
                  <a:lnTo>
                    <a:pt x="366" y="432"/>
                  </a:lnTo>
                  <a:close/>
                </a:path>
              </a:pathLst>
            </a:custGeom>
            <a:solidFill>
              <a:schemeClr val="bg2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29" name="Freeform 381">
              <a:extLst>
                <a:ext uri="{FF2B5EF4-FFF2-40B4-BE49-F238E27FC236}">
                  <a16:creationId xmlns:a16="http://schemas.microsoft.com/office/drawing/2014/main" id="{1F8C6EA3-6285-4980-916C-5E0F49E8B87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643225" y="2250465"/>
              <a:ext cx="60623" cy="46048"/>
            </a:xfrm>
            <a:custGeom>
              <a:avLst/>
              <a:gdLst>
                <a:gd name="T0" fmla="*/ 118 w 395"/>
                <a:gd name="T1" fmla="*/ 229 h 300"/>
                <a:gd name="T2" fmla="*/ 118 w 395"/>
                <a:gd name="T3" fmla="*/ 212 h 300"/>
                <a:gd name="T4" fmla="*/ 102 w 395"/>
                <a:gd name="T5" fmla="*/ 196 h 300"/>
                <a:gd name="T6" fmla="*/ 64 w 395"/>
                <a:gd name="T7" fmla="*/ 168 h 300"/>
                <a:gd name="T8" fmla="*/ 85 w 395"/>
                <a:gd name="T9" fmla="*/ 139 h 300"/>
                <a:gd name="T10" fmla="*/ 47 w 395"/>
                <a:gd name="T11" fmla="*/ 99 h 300"/>
                <a:gd name="T12" fmla="*/ 26 w 395"/>
                <a:gd name="T13" fmla="*/ 73 h 300"/>
                <a:gd name="T14" fmla="*/ 17 w 395"/>
                <a:gd name="T15" fmla="*/ 45 h 300"/>
                <a:gd name="T16" fmla="*/ 71 w 395"/>
                <a:gd name="T17" fmla="*/ 45 h 300"/>
                <a:gd name="T18" fmla="*/ 102 w 395"/>
                <a:gd name="T19" fmla="*/ 57 h 300"/>
                <a:gd name="T20" fmla="*/ 135 w 395"/>
                <a:gd name="T21" fmla="*/ 61 h 300"/>
                <a:gd name="T22" fmla="*/ 109 w 395"/>
                <a:gd name="T23" fmla="*/ 28 h 300"/>
                <a:gd name="T24" fmla="*/ 118 w 395"/>
                <a:gd name="T25" fmla="*/ 0 h 300"/>
                <a:gd name="T26" fmla="*/ 140 w 395"/>
                <a:gd name="T27" fmla="*/ 0 h 300"/>
                <a:gd name="T28" fmla="*/ 177 w 395"/>
                <a:gd name="T29" fmla="*/ 45 h 300"/>
                <a:gd name="T30" fmla="*/ 227 w 395"/>
                <a:gd name="T31" fmla="*/ 57 h 300"/>
                <a:gd name="T32" fmla="*/ 253 w 395"/>
                <a:gd name="T33" fmla="*/ 23 h 300"/>
                <a:gd name="T34" fmla="*/ 303 w 395"/>
                <a:gd name="T35" fmla="*/ 40 h 300"/>
                <a:gd name="T36" fmla="*/ 336 w 395"/>
                <a:gd name="T37" fmla="*/ 94 h 300"/>
                <a:gd name="T38" fmla="*/ 390 w 395"/>
                <a:gd name="T39" fmla="*/ 118 h 300"/>
                <a:gd name="T40" fmla="*/ 362 w 395"/>
                <a:gd name="T41" fmla="*/ 134 h 300"/>
                <a:gd name="T42" fmla="*/ 319 w 395"/>
                <a:gd name="T43" fmla="*/ 205 h 300"/>
                <a:gd name="T44" fmla="*/ 319 w 395"/>
                <a:gd name="T45" fmla="*/ 222 h 300"/>
                <a:gd name="T46" fmla="*/ 303 w 395"/>
                <a:gd name="T47" fmla="*/ 246 h 300"/>
                <a:gd name="T48" fmla="*/ 298 w 395"/>
                <a:gd name="T49" fmla="*/ 229 h 300"/>
                <a:gd name="T50" fmla="*/ 269 w 395"/>
                <a:gd name="T51" fmla="*/ 300 h 300"/>
                <a:gd name="T52" fmla="*/ 248 w 395"/>
                <a:gd name="T53" fmla="*/ 279 h 300"/>
                <a:gd name="T54" fmla="*/ 232 w 395"/>
                <a:gd name="T55" fmla="*/ 250 h 300"/>
                <a:gd name="T56" fmla="*/ 232 w 395"/>
                <a:gd name="T57" fmla="*/ 222 h 300"/>
                <a:gd name="T58" fmla="*/ 227 w 395"/>
                <a:gd name="T59" fmla="*/ 184 h 300"/>
                <a:gd name="T60" fmla="*/ 123 w 395"/>
                <a:gd name="T61" fmla="*/ 250 h 300"/>
                <a:gd name="T62" fmla="*/ 123 w 395"/>
                <a:gd name="T63" fmla="*/ 250 h 300"/>
                <a:gd name="T64" fmla="*/ 55 w 395"/>
                <a:gd name="T65" fmla="*/ 99 h 300"/>
                <a:gd name="T66" fmla="*/ 55 w 395"/>
                <a:gd name="T67" fmla="*/ 111 h 300"/>
                <a:gd name="T68" fmla="*/ 55 w 395"/>
                <a:gd name="T69" fmla="*/ 111 h 300"/>
                <a:gd name="T70" fmla="*/ 0 w 395"/>
                <a:gd name="T71" fmla="*/ 189 h 300"/>
                <a:gd name="T72" fmla="*/ 47 w 395"/>
                <a:gd name="T73" fmla="*/ 205 h 300"/>
                <a:gd name="T74" fmla="*/ 80 w 395"/>
                <a:gd name="T75" fmla="*/ 212 h 300"/>
                <a:gd name="T76" fmla="*/ 85 w 395"/>
                <a:gd name="T77" fmla="*/ 229 h 300"/>
                <a:gd name="T78" fmla="*/ 47 w 395"/>
                <a:gd name="T79" fmla="*/ 246 h 300"/>
                <a:gd name="T80" fmla="*/ 26 w 395"/>
                <a:gd name="T81" fmla="*/ 229 h 300"/>
                <a:gd name="T82" fmla="*/ 0 w 395"/>
                <a:gd name="T83" fmla="*/ 189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395" h="300">
                  <a:moveTo>
                    <a:pt x="123" y="250"/>
                  </a:moveTo>
                  <a:lnTo>
                    <a:pt x="118" y="229"/>
                  </a:lnTo>
                  <a:lnTo>
                    <a:pt x="135" y="229"/>
                  </a:lnTo>
                  <a:lnTo>
                    <a:pt x="118" y="212"/>
                  </a:lnTo>
                  <a:lnTo>
                    <a:pt x="123" y="196"/>
                  </a:lnTo>
                  <a:lnTo>
                    <a:pt x="102" y="196"/>
                  </a:lnTo>
                  <a:lnTo>
                    <a:pt x="71" y="168"/>
                  </a:lnTo>
                  <a:lnTo>
                    <a:pt x="64" y="168"/>
                  </a:lnTo>
                  <a:lnTo>
                    <a:pt x="80" y="156"/>
                  </a:lnTo>
                  <a:lnTo>
                    <a:pt x="85" y="139"/>
                  </a:lnTo>
                  <a:lnTo>
                    <a:pt x="55" y="127"/>
                  </a:lnTo>
                  <a:lnTo>
                    <a:pt x="47" y="99"/>
                  </a:lnTo>
                  <a:lnTo>
                    <a:pt x="64" y="83"/>
                  </a:lnTo>
                  <a:lnTo>
                    <a:pt x="26" y="73"/>
                  </a:lnTo>
                  <a:lnTo>
                    <a:pt x="33" y="61"/>
                  </a:lnTo>
                  <a:lnTo>
                    <a:pt x="17" y="45"/>
                  </a:lnTo>
                  <a:lnTo>
                    <a:pt x="38" y="40"/>
                  </a:lnTo>
                  <a:lnTo>
                    <a:pt x="71" y="45"/>
                  </a:lnTo>
                  <a:lnTo>
                    <a:pt x="80" y="57"/>
                  </a:lnTo>
                  <a:lnTo>
                    <a:pt x="102" y="57"/>
                  </a:lnTo>
                  <a:lnTo>
                    <a:pt x="123" y="73"/>
                  </a:lnTo>
                  <a:lnTo>
                    <a:pt x="135" y="61"/>
                  </a:lnTo>
                  <a:lnTo>
                    <a:pt x="135" y="45"/>
                  </a:lnTo>
                  <a:lnTo>
                    <a:pt x="109" y="28"/>
                  </a:lnTo>
                  <a:lnTo>
                    <a:pt x="102" y="16"/>
                  </a:lnTo>
                  <a:lnTo>
                    <a:pt x="118" y="0"/>
                  </a:lnTo>
                  <a:lnTo>
                    <a:pt x="135" y="5"/>
                  </a:lnTo>
                  <a:lnTo>
                    <a:pt x="140" y="0"/>
                  </a:lnTo>
                  <a:lnTo>
                    <a:pt x="173" y="28"/>
                  </a:lnTo>
                  <a:lnTo>
                    <a:pt x="177" y="45"/>
                  </a:lnTo>
                  <a:lnTo>
                    <a:pt x="210" y="61"/>
                  </a:lnTo>
                  <a:lnTo>
                    <a:pt x="227" y="57"/>
                  </a:lnTo>
                  <a:lnTo>
                    <a:pt x="232" y="40"/>
                  </a:lnTo>
                  <a:lnTo>
                    <a:pt x="253" y="23"/>
                  </a:lnTo>
                  <a:lnTo>
                    <a:pt x="269" y="5"/>
                  </a:lnTo>
                  <a:lnTo>
                    <a:pt x="303" y="40"/>
                  </a:lnTo>
                  <a:lnTo>
                    <a:pt x="307" y="73"/>
                  </a:lnTo>
                  <a:lnTo>
                    <a:pt x="336" y="94"/>
                  </a:lnTo>
                  <a:lnTo>
                    <a:pt x="336" y="99"/>
                  </a:lnTo>
                  <a:lnTo>
                    <a:pt x="390" y="118"/>
                  </a:lnTo>
                  <a:lnTo>
                    <a:pt x="395" y="139"/>
                  </a:lnTo>
                  <a:lnTo>
                    <a:pt x="362" y="134"/>
                  </a:lnTo>
                  <a:lnTo>
                    <a:pt x="336" y="151"/>
                  </a:lnTo>
                  <a:lnTo>
                    <a:pt x="319" y="205"/>
                  </a:lnTo>
                  <a:lnTo>
                    <a:pt x="324" y="212"/>
                  </a:lnTo>
                  <a:lnTo>
                    <a:pt x="319" y="222"/>
                  </a:lnTo>
                  <a:lnTo>
                    <a:pt x="307" y="246"/>
                  </a:lnTo>
                  <a:lnTo>
                    <a:pt x="303" y="246"/>
                  </a:lnTo>
                  <a:lnTo>
                    <a:pt x="307" y="238"/>
                  </a:lnTo>
                  <a:lnTo>
                    <a:pt x="298" y="229"/>
                  </a:lnTo>
                  <a:lnTo>
                    <a:pt x="286" y="295"/>
                  </a:lnTo>
                  <a:lnTo>
                    <a:pt x="269" y="300"/>
                  </a:lnTo>
                  <a:lnTo>
                    <a:pt x="253" y="279"/>
                  </a:lnTo>
                  <a:lnTo>
                    <a:pt x="248" y="279"/>
                  </a:lnTo>
                  <a:lnTo>
                    <a:pt x="232" y="262"/>
                  </a:lnTo>
                  <a:lnTo>
                    <a:pt x="232" y="250"/>
                  </a:lnTo>
                  <a:lnTo>
                    <a:pt x="248" y="246"/>
                  </a:lnTo>
                  <a:lnTo>
                    <a:pt x="232" y="222"/>
                  </a:lnTo>
                  <a:lnTo>
                    <a:pt x="253" y="212"/>
                  </a:lnTo>
                  <a:lnTo>
                    <a:pt x="227" y="184"/>
                  </a:lnTo>
                  <a:lnTo>
                    <a:pt x="147" y="229"/>
                  </a:lnTo>
                  <a:lnTo>
                    <a:pt x="123" y="250"/>
                  </a:lnTo>
                  <a:lnTo>
                    <a:pt x="123" y="250"/>
                  </a:lnTo>
                  <a:lnTo>
                    <a:pt x="123" y="250"/>
                  </a:lnTo>
                  <a:close/>
                  <a:moveTo>
                    <a:pt x="55" y="111"/>
                  </a:moveTo>
                  <a:lnTo>
                    <a:pt x="55" y="99"/>
                  </a:lnTo>
                  <a:lnTo>
                    <a:pt x="55" y="99"/>
                  </a:lnTo>
                  <a:lnTo>
                    <a:pt x="55" y="111"/>
                  </a:lnTo>
                  <a:lnTo>
                    <a:pt x="55" y="111"/>
                  </a:lnTo>
                  <a:lnTo>
                    <a:pt x="55" y="111"/>
                  </a:lnTo>
                  <a:close/>
                  <a:moveTo>
                    <a:pt x="0" y="189"/>
                  </a:moveTo>
                  <a:lnTo>
                    <a:pt x="0" y="189"/>
                  </a:lnTo>
                  <a:lnTo>
                    <a:pt x="26" y="184"/>
                  </a:lnTo>
                  <a:lnTo>
                    <a:pt x="47" y="205"/>
                  </a:lnTo>
                  <a:lnTo>
                    <a:pt x="71" y="196"/>
                  </a:lnTo>
                  <a:lnTo>
                    <a:pt x="80" y="212"/>
                  </a:lnTo>
                  <a:lnTo>
                    <a:pt x="85" y="222"/>
                  </a:lnTo>
                  <a:lnTo>
                    <a:pt x="85" y="229"/>
                  </a:lnTo>
                  <a:lnTo>
                    <a:pt x="102" y="262"/>
                  </a:lnTo>
                  <a:lnTo>
                    <a:pt x="47" y="246"/>
                  </a:lnTo>
                  <a:lnTo>
                    <a:pt x="38" y="229"/>
                  </a:lnTo>
                  <a:lnTo>
                    <a:pt x="26" y="229"/>
                  </a:lnTo>
                  <a:lnTo>
                    <a:pt x="0" y="189"/>
                  </a:lnTo>
                  <a:lnTo>
                    <a:pt x="0" y="189"/>
                  </a:lnTo>
                  <a:lnTo>
                    <a:pt x="0" y="189"/>
                  </a:lnTo>
                  <a:close/>
                </a:path>
              </a:pathLst>
            </a:custGeom>
            <a:solidFill>
              <a:schemeClr val="bg2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30" name="Freeform 382">
              <a:extLst>
                <a:ext uri="{FF2B5EF4-FFF2-40B4-BE49-F238E27FC236}">
                  <a16:creationId xmlns:a16="http://schemas.microsoft.com/office/drawing/2014/main" id="{C7E64AFD-778C-4ABD-B165-F4BA95F42FB8}"/>
                </a:ext>
              </a:extLst>
            </p:cNvPr>
            <p:cNvSpPr>
              <a:spLocks/>
            </p:cNvSpPr>
            <p:nvPr/>
          </p:nvSpPr>
          <p:spPr bwMode="gray">
            <a:xfrm>
              <a:off x="6368505" y="2239874"/>
              <a:ext cx="19184" cy="39601"/>
            </a:xfrm>
            <a:custGeom>
              <a:avLst/>
              <a:gdLst>
                <a:gd name="T0" fmla="*/ 7 w 125"/>
                <a:gd name="T1" fmla="*/ 66 h 258"/>
                <a:gd name="T2" fmla="*/ 7 w 125"/>
                <a:gd name="T3" fmla="*/ 50 h 258"/>
                <a:gd name="T4" fmla="*/ 0 w 125"/>
                <a:gd name="T5" fmla="*/ 40 h 258"/>
                <a:gd name="T6" fmla="*/ 33 w 125"/>
                <a:gd name="T7" fmla="*/ 0 h 258"/>
                <a:gd name="T8" fmla="*/ 37 w 125"/>
                <a:gd name="T9" fmla="*/ 0 h 258"/>
                <a:gd name="T10" fmla="*/ 37 w 125"/>
                <a:gd name="T11" fmla="*/ 17 h 258"/>
                <a:gd name="T12" fmla="*/ 54 w 125"/>
                <a:gd name="T13" fmla="*/ 12 h 258"/>
                <a:gd name="T14" fmla="*/ 71 w 125"/>
                <a:gd name="T15" fmla="*/ 22 h 258"/>
                <a:gd name="T16" fmla="*/ 92 w 125"/>
                <a:gd name="T17" fmla="*/ 33 h 258"/>
                <a:gd name="T18" fmla="*/ 92 w 125"/>
                <a:gd name="T19" fmla="*/ 66 h 258"/>
                <a:gd name="T20" fmla="*/ 87 w 125"/>
                <a:gd name="T21" fmla="*/ 95 h 258"/>
                <a:gd name="T22" fmla="*/ 92 w 125"/>
                <a:gd name="T23" fmla="*/ 107 h 258"/>
                <a:gd name="T24" fmla="*/ 87 w 125"/>
                <a:gd name="T25" fmla="*/ 111 h 258"/>
                <a:gd name="T26" fmla="*/ 96 w 125"/>
                <a:gd name="T27" fmla="*/ 152 h 258"/>
                <a:gd name="T28" fmla="*/ 108 w 125"/>
                <a:gd name="T29" fmla="*/ 152 h 258"/>
                <a:gd name="T30" fmla="*/ 125 w 125"/>
                <a:gd name="T31" fmla="*/ 152 h 258"/>
                <a:gd name="T32" fmla="*/ 125 w 125"/>
                <a:gd name="T33" fmla="*/ 180 h 258"/>
                <a:gd name="T34" fmla="*/ 108 w 125"/>
                <a:gd name="T35" fmla="*/ 196 h 258"/>
                <a:gd name="T36" fmla="*/ 96 w 125"/>
                <a:gd name="T37" fmla="*/ 218 h 258"/>
                <a:gd name="T38" fmla="*/ 75 w 125"/>
                <a:gd name="T39" fmla="*/ 237 h 258"/>
                <a:gd name="T40" fmla="*/ 87 w 125"/>
                <a:gd name="T41" fmla="*/ 241 h 258"/>
                <a:gd name="T42" fmla="*/ 71 w 125"/>
                <a:gd name="T43" fmla="*/ 253 h 258"/>
                <a:gd name="T44" fmla="*/ 75 w 125"/>
                <a:gd name="T45" fmla="*/ 253 h 258"/>
                <a:gd name="T46" fmla="*/ 71 w 125"/>
                <a:gd name="T47" fmla="*/ 258 h 258"/>
                <a:gd name="T48" fmla="*/ 54 w 125"/>
                <a:gd name="T49" fmla="*/ 258 h 258"/>
                <a:gd name="T50" fmla="*/ 45 w 125"/>
                <a:gd name="T51" fmla="*/ 225 h 258"/>
                <a:gd name="T52" fmla="*/ 16 w 125"/>
                <a:gd name="T53" fmla="*/ 208 h 258"/>
                <a:gd name="T54" fmla="*/ 0 w 125"/>
                <a:gd name="T55" fmla="*/ 196 h 258"/>
                <a:gd name="T56" fmla="*/ 16 w 125"/>
                <a:gd name="T57" fmla="*/ 201 h 258"/>
                <a:gd name="T58" fmla="*/ 16 w 125"/>
                <a:gd name="T59" fmla="*/ 180 h 258"/>
                <a:gd name="T60" fmla="*/ 7 w 125"/>
                <a:gd name="T61" fmla="*/ 180 h 258"/>
                <a:gd name="T62" fmla="*/ 7 w 125"/>
                <a:gd name="T63" fmla="*/ 152 h 258"/>
                <a:gd name="T64" fmla="*/ 16 w 125"/>
                <a:gd name="T65" fmla="*/ 152 h 258"/>
                <a:gd name="T66" fmla="*/ 16 w 125"/>
                <a:gd name="T67" fmla="*/ 140 h 258"/>
                <a:gd name="T68" fmla="*/ 16 w 125"/>
                <a:gd name="T69" fmla="*/ 123 h 258"/>
                <a:gd name="T70" fmla="*/ 16 w 125"/>
                <a:gd name="T71" fmla="*/ 107 h 258"/>
                <a:gd name="T72" fmla="*/ 21 w 125"/>
                <a:gd name="T73" fmla="*/ 90 h 258"/>
                <a:gd name="T74" fmla="*/ 21 w 125"/>
                <a:gd name="T75" fmla="*/ 74 h 258"/>
                <a:gd name="T76" fmla="*/ 7 w 125"/>
                <a:gd name="T77" fmla="*/ 66 h 258"/>
                <a:gd name="T78" fmla="*/ 7 w 125"/>
                <a:gd name="T79" fmla="*/ 66 h 258"/>
                <a:gd name="T80" fmla="*/ 7 w 125"/>
                <a:gd name="T81" fmla="*/ 66 h 2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25" h="258">
                  <a:moveTo>
                    <a:pt x="7" y="66"/>
                  </a:moveTo>
                  <a:lnTo>
                    <a:pt x="7" y="50"/>
                  </a:lnTo>
                  <a:lnTo>
                    <a:pt x="0" y="40"/>
                  </a:lnTo>
                  <a:lnTo>
                    <a:pt x="33" y="0"/>
                  </a:lnTo>
                  <a:lnTo>
                    <a:pt x="37" y="0"/>
                  </a:lnTo>
                  <a:lnTo>
                    <a:pt x="37" y="17"/>
                  </a:lnTo>
                  <a:lnTo>
                    <a:pt x="54" y="12"/>
                  </a:lnTo>
                  <a:lnTo>
                    <a:pt x="71" y="22"/>
                  </a:lnTo>
                  <a:lnTo>
                    <a:pt x="92" y="33"/>
                  </a:lnTo>
                  <a:lnTo>
                    <a:pt x="92" y="66"/>
                  </a:lnTo>
                  <a:lnTo>
                    <a:pt x="87" y="95"/>
                  </a:lnTo>
                  <a:lnTo>
                    <a:pt x="92" y="107"/>
                  </a:lnTo>
                  <a:lnTo>
                    <a:pt x="87" y="111"/>
                  </a:lnTo>
                  <a:lnTo>
                    <a:pt x="96" y="152"/>
                  </a:lnTo>
                  <a:lnTo>
                    <a:pt x="108" y="152"/>
                  </a:lnTo>
                  <a:lnTo>
                    <a:pt x="125" y="152"/>
                  </a:lnTo>
                  <a:lnTo>
                    <a:pt x="125" y="180"/>
                  </a:lnTo>
                  <a:lnTo>
                    <a:pt x="108" y="196"/>
                  </a:lnTo>
                  <a:lnTo>
                    <a:pt x="96" y="218"/>
                  </a:lnTo>
                  <a:lnTo>
                    <a:pt x="75" y="237"/>
                  </a:lnTo>
                  <a:lnTo>
                    <a:pt x="87" y="241"/>
                  </a:lnTo>
                  <a:lnTo>
                    <a:pt x="71" y="253"/>
                  </a:lnTo>
                  <a:lnTo>
                    <a:pt x="75" y="253"/>
                  </a:lnTo>
                  <a:lnTo>
                    <a:pt x="71" y="258"/>
                  </a:lnTo>
                  <a:lnTo>
                    <a:pt x="54" y="258"/>
                  </a:lnTo>
                  <a:lnTo>
                    <a:pt x="45" y="225"/>
                  </a:lnTo>
                  <a:lnTo>
                    <a:pt x="16" y="208"/>
                  </a:lnTo>
                  <a:lnTo>
                    <a:pt x="0" y="196"/>
                  </a:lnTo>
                  <a:lnTo>
                    <a:pt x="16" y="201"/>
                  </a:lnTo>
                  <a:lnTo>
                    <a:pt x="16" y="180"/>
                  </a:lnTo>
                  <a:lnTo>
                    <a:pt x="7" y="180"/>
                  </a:lnTo>
                  <a:lnTo>
                    <a:pt x="7" y="152"/>
                  </a:lnTo>
                  <a:lnTo>
                    <a:pt x="16" y="152"/>
                  </a:lnTo>
                  <a:lnTo>
                    <a:pt x="16" y="140"/>
                  </a:lnTo>
                  <a:lnTo>
                    <a:pt x="16" y="123"/>
                  </a:lnTo>
                  <a:lnTo>
                    <a:pt x="16" y="107"/>
                  </a:lnTo>
                  <a:lnTo>
                    <a:pt x="21" y="90"/>
                  </a:lnTo>
                  <a:lnTo>
                    <a:pt x="21" y="74"/>
                  </a:lnTo>
                  <a:lnTo>
                    <a:pt x="7" y="66"/>
                  </a:lnTo>
                  <a:lnTo>
                    <a:pt x="7" y="66"/>
                  </a:lnTo>
                  <a:lnTo>
                    <a:pt x="7" y="66"/>
                  </a:lnTo>
                  <a:close/>
                </a:path>
              </a:pathLst>
            </a:custGeom>
            <a:solidFill>
              <a:schemeClr val="bg2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31" name="Freeform 383">
              <a:extLst>
                <a:ext uri="{FF2B5EF4-FFF2-40B4-BE49-F238E27FC236}">
                  <a16:creationId xmlns:a16="http://schemas.microsoft.com/office/drawing/2014/main" id="{A86E81B7-0CAC-4F12-9E95-F1AE27F9C57E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628798" y="2256911"/>
              <a:ext cx="34685" cy="33768"/>
            </a:xfrm>
            <a:custGeom>
              <a:avLst/>
              <a:gdLst>
                <a:gd name="T0" fmla="*/ 217 w 226"/>
                <a:gd name="T1" fmla="*/ 208 h 220"/>
                <a:gd name="T2" fmla="*/ 193 w 226"/>
                <a:gd name="T3" fmla="*/ 220 h 220"/>
                <a:gd name="T4" fmla="*/ 177 w 226"/>
                <a:gd name="T5" fmla="*/ 187 h 220"/>
                <a:gd name="T6" fmla="*/ 177 w 226"/>
                <a:gd name="T7" fmla="*/ 180 h 220"/>
                <a:gd name="T8" fmla="*/ 172 w 226"/>
                <a:gd name="T9" fmla="*/ 170 h 220"/>
                <a:gd name="T10" fmla="*/ 163 w 226"/>
                <a:gd name="T11" fmla="*/ 152 h 220"/>
                <a:gd name="T12" fmla="*/ 139 w 226"/>
                <a:gd name="T13" fmla="*/ 163 h 220"/>
                <a:gd name="T14" fmla="*/ 118 w 226"/>
                <a:gd name="T15" fmla="*/ 142 h 220"/>
                <a:gd name="T16" fmla="*/ 92 w 226"/>
                <a:gd name="T17" fmla="*/ 147 h 220"/>
                <a:gd name="T18" fmla="*/ 63 w 226"/>
                <a:gd name="T19" fmla="*/ 114 h 220"/>
                <a:gd name="T20" fmla="*/ 33 w 226"/>
                <a:gd name="T21" fmla="*/ 114 h 220"/>
                <a:gd name="T22" fmla="*/ 16 w 226"/>
                <a:gd name="T23" fmla="*/ 107 h 220"/>
                <a:gd name="T24" fmla="*/ 16 w 226"/>
                <a:gd name="T25" fmla="*/ 107 h 220"/>
                <a:gd name="T26" fmla="*/ 9 w 226"/>
                <a:gd name="T27" fmla="*/ 85 h 220"/>
                <a:gd name="T28" fmla="*/ 21 w 226"/>
                <a:gd name="T29" fmla="*/ 52 h 220"/>
                <a:gd name="T30" fmla="*/ 0 w 226"/>
                <a:gd name="T31" fmla="*/ 17 h 220"/>
                <a:gd name="T32" fmla="*/ 101 w 226"/>
                <a:gd name="T33" fmla="*/ 12 h 220"/>
                <a:gd name="T34" fmla="*/ 108 w 226"/>
                <a:gd name="T35" fmla="*/ 0 h 220"/>
                <a:gd name="T36" fmla="*/ 125 w 226"/>
                <a:gd name="T37" fmla="*/ 17 h 220"/>
                <a:gd name="T38" fmla="*/ 118 w 226"/>
                <a:gd name="T39" fmla="*/ 29 h 220"/>
                <a:gd name="T40" fmla="*/ 156 w 226"/>
                <a:gd name="T41" fmla="*/ 41 h 220"/>
                <a:gd name="T42" fmla="*/ 139 w 226"/>
                <a:gd name="T43" fmla="*/ 57 h 220"/>
                <a:gd name="T44" fmla="*/ 146 w 226"/>
                <a:gd name="T45" fmla="*/ 85 h 220"/>
                <a:gd name="T46" fmla="*/ 177 w 226"/>
                <a:gd name="T47" fmla="*/ 97 h 220"/>
                <a:gd name="T48" fmla="*/ 172 w 226"/>
                <a:gd name="T49" fmla="*/ 114 h 220"/>
                <a:gd name="T50" fmla="*/ 156 w 226"/>
                <a:gd name="T51" fmla="*/ 126 h 220"/>
                <a:gd name="T52" fmla="*/ 163 w 226"/>
                <a:gd name="T53" fmla="*/ 126 h 220"/>
                <a:gd name="T54" fmla="*/ 193 w 226"/>
                <a:gd name="T55" fmla="*/ 152 h 220"/>
                <a:gd name="T56" fmla="*/ 217 w 226"/>
                <a:gd name="T57" fmla="*/ 152 h 220"/>
                <a:gd name="T58" fmla="*/ 210 w 226"/>
                <a:gd name="T59" fmla="*/ 170 h 220"/>
                <a:gd name="T60" fmla="*/ 226 w 226"/>
                <a:gd name="T61" fmla="*/ 187 h 220"/>
                <a:gd name="T62" fmla="*/ 210 w 226"/>
                <a:gd name="T63" fmla="*/ 187 h 220"/>
                <a:gd name="T64" fmla="*/ 217 w 226"/>
                <a:gd name="T65" fmla="*/ 208 h 220"/>
                <a:gd name="T66" fmla="*/ 217 w 226"/>
                <a:gd name="T67" fmla="*/ 208 h 220"/>
                <a:gd name="T68" fmla="*/ 217 w 226"/>
                <a:gd name="T69" fmla="*/ 208 h 220"/>
                <a:gd name="T70" fmla="*/ 146 w 226"/>
                <a:gd name="T71" fmla="*/ 69 h 220"/>
                <a:gd name="T72" fmla="*/ 146 w 226"/>
                <a:gd name="T73" fmla="*/ 57 h 220"/>
                <a:gd name="T74" fmla="*/ 146 w 226"/>
                <a:gd name="T75" fmla="*/ 57 h 220"/>
                <a:gd name="T76" fmla="*/ 146 w 226"/>
                <a:gd name="T77" fmla="*/ 69 h 220"/>
                <a:gd name="T78" fmla="*/ 146 w 226"/>
                <a:gd name="T79" fmla="*/ 69 h 220"/>
                <a:gd name="T80" fmla="*/ 146 w 226"/>
                <a:gd name="T81" fmla="*/ 69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226" h="220">
                  <a:moveTo>
                    <a:pt x="217" y="208"/>
                  </a:moveTo>
                  <a:lnTo>
                    <a:pt x="193" y="220"/>
                  </a:lnTo>
                  <a:lnTo>
                    <a:pt x="177" y="187"/>
                  </a:lnTo>
                  <a:lnTo>
                    <a:pt x="177" y="180"/>
                  </a:lnTo>
                  <a:lnTo>
                    <a:pt x="172" y="170"/>
                  </a:lnTo>
                  <a:lnTo>
                    <a:pt x="163" y="152"/>
                  </a:lnTo>
                  <a:lnTo>
                    <a:pt x="139" y="163"/>
                  </a:lnTo>
                  <a:lnTo>
                    <a:pt x="118" y="142"/>
                  </a:lnTo>
                  <a:lnTo>
                    <a:pt x="92" y="147"/>
                  </a:lnTo>
                  <a:lnTo>
                    <a:pt x="63" y="114"/>
                  </a:lnTo>
                  <a:lnTo>
                    <a:pt x="33" y="114"/>
                  </a:lnTo>
                  <a:lnTo>
                    <a:pt x="16" y="107"/>
                  </a:lnTo>
                  <a:lnTo>
                    <a:pt x="16" y="107"/>
                  </a:lnTo>
                  <a:lnTo>
                    <a:pt x="9" y="85"/>
                  </a:lnTo>
                  <a:lnTo>
                    <a:pt x="21" y="52"/>
                  </a:lnTo>
                  <a:lnTo>
                    <a:pt x="0" y="17"/>
                  </a:lnTo>
                  <a:lnTo>
                    <a:pt x="101" y="12"/>
                  </a:lnTo>
                  <a:lnTo>
                    <a:pt x="108" y="0"/>
                  </a:lnTo>
                  <a:lnTo>
                    <a:pt x="125" y="17"/>
                  </a:lnTo>
                  <a:lnTo>
                    <a:pt x="118" y="29"/>
                  </a:lnTo>
                  <a:lnTo>
                    <a:pt x="156" y="41"/>
                  </a:lnTo>
                  <a:lnTo>
                    <a:pt x="139" y="57"/>
                  </a:lnTo>
                  <a:lnTo>
                    <a:pt x="146" y="85"/>
                  </a:lnTo>
                  <a:lnTo>
                    <a:pt x="177" y="97"/>
                  </a:lnTo>
                  <a:lnTo>
                    <a:pt x="172" y="114"/>
                  </a:lnTo>
                  <a:lnTo>
                    <a:pt x="156" y="126"/>
                  </a:lnTo>
                  <a:lnTo>
                    <a:pt x="163" y="126"/>
                  </a:lnTo>
                  <a:lnTo>
                    <a:pt x="193" y="152"/>
                  </a:lnTo>
                  <a:lnTo>
                    <a:pt x="217" y="152"/>
                  </a:lnTo>
                  <a:lnTo>
                    <a:pt x="210" y="170"/>
                  </a:lnTo>
                  <a:lnTo>
                    <a:pt x="226" y="187"/>
                  </a:lnTo>
                  <a:lnTo>
                    <a:pt x="210" y="187"/>
                  </a:lnTo>
                  <a:lnTo>
                    <a:pt x="217" y="208"/>
                  </a:lnTo>
                  <a:lnTo>
                    <a:pt x="217" y="208"/>
                  </a:lnTo>
                  <a:lnTo>
                    <a:pt x="217" y="208"/>
                  </a:lnTo>
                  <a:close/>
                  <a:moveTo>
                    <a:pt x="146" y="69"/>
                  </a:moveTo>
                  <a:lnTo>
                    <a:pt x="146" y="57"/>
                  </a:lnTo>
                  <a:lnTo>
                    <a:pt x="146" y="57"/>
                  </a:lnTo>
                  <a:lnTo>
                    <a:pt x="146" y="69"/>
                  </a:lnTo>
                  <a:lnTo>
                    <a:pt x="146" y="69"/>
                  </a:lnTo>
                  <a:lnTo>
                    <a:pt x="146" y="69"/>
                  </a:lnTo>
                  <a:close/>
                </a:path>
              </a:pathLst>
            </a:custGeom>
            <a:solidFill>
              <a:schemeClr val="bg2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32" name="Freeform 384">
              <a:extLst>
                <a:ext uri="{FF2B5EF4-FFF2-40B4-BE49-F238E27FC236}">
                  <a16:creationId xmlns:a16="http://schemas.microsoft.com/office/drawing/2014/main" id="{5775ADB9-BE8F-435F-9C36-5839E6AD7832}"/>
                </a:ext>
              </a:extLst>
            </p:cNvPr>
            <p:cNvSpPr>
              <a:spLocks/>
            </p:cNvSpPr>
            <p:nvPr/>
          </p:nvSpPr>
          <p:spPr bwMode="gray">
            <a:xfrm>
              <a:off x="6176354" y="2239874"/>
              <a:ext cx="4604" cy="2609"/>
            </a:xfrm>
            <a:custGeom>
              <a:avLst/>
              <a:gdLst>
                <a:gd name="T0" fmla="*/ 0 w 30"/>
                <a:gd name="T1" fmla="*/ 0 h 17"/>
                <a:gd name="T2" fmla="*/ 30 w 30"/>
                <a:gd name="T3" fmla="*/ 0 h 17"/>
                <a:gd name="T4" fmla="*/ 30 w 30"/>
                <a:gd name="T5" fmla="*/ 12 h 17"/>
                <a:gd name="T6" fmla="*/ 0 w 30"/>
                <a:gd name="T7" fmla="*/ 17 h 17"/>
                <a:gd name="T8" fmla="*/ 0 w 30"/>
                <a:gd name="T9" fmla="*/ 0 h 17"/>
                <a:gd name="T10" fmla="*/ 0 w 30"/>
                <a:gd name="T11" fmla="*/ 0 h 17"/>
                <a:gd name="T12" fmla="*/ 0 w 30"/>
                <a:gd name="T13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" h="17">
                  <a:moveTo>
                    <a:pt x="0" y="0"/>
                  </a:moveTo>
                  <a:lnTo>
                    <a:pt x="30" y="0"/>
                  </a:lnTo>
                  <a:lnTo>
                    <a:pt x="30" y="12"/>
                  </a:lnTo>
                  <a:lnTo>
                    <a:pt x="0" y="17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2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33" name="Freeform 385">
              <a:extLst>
                <a:ext uri="{FF2B5EF4-FFF2-40B4-BE49-F238E27FC236}">
                  <a16:creationId xmlns:a16="http://schemas.microsoft.com/office/drawing/2014/main" id="{17EE984B-EB5E-4370-AE42-8FC12058A8B2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288391" y="2791831"/>
              <a:ext cx="133063" cy="151497"/>
            </a:xfrm>
            <a:custGeom>
              <a:avLst/>
              <a:gdLst>
                <a:gd name="T0" fmla="*/ 75 w 867"/>
                <a:gd name="T1" fmla="*/ 23 h 987"/>
                <a:gd name="T2" fmla="*/ 54 w 867"/>
                <a:gd name="T3" fmla="*/ 94 h 987"/>
                <a:gd name="T4" fmla="*/ 21 w 867"/>
                <a:gd name="T5" fmla="*/ 85 h 987"/>
                <a:gd name="T6" fmla="*/ 9 w 867"/>
                <a:gd name="T7" fmla="*/ 40 h 987"/>
                <a:gd name="T8" fmla="*/ 37 w 867"/>
                <a:gd name="T9" fmla="*/ 23 h 987"/>
                <a:gd name="T10" fmla="*/ 59 w 867"/>
                <a:gd name="T11" fmla="*/ 7 h 987"/>
                <a:gd name="T12" fmla="*/ 75 w 867"/>
                <a:gd name="T13" fmla="*/ 0 h 987"/>
                <a:gd name="T14" fmla="*/ 92 w 867"/>
                <a:gd name="T15" fmla="*/ 16 h 987"/>
                <a:gd name="T16" fmla="*/ 817 w 867"/>
                <a:gd name="T17" fmla="*/ 966 h 987"/>
                <a:gd name="T18" fmla="*/ 654 w 867"/>
                <a:gd name="T19" fmla="*/ 982 h 987"/>
                <a:gd name="T20" fmla="*/ 616 w 867"/>
                <a:gd name="T21" fmla="*/ 987 h 987"/>
                <a:gd name="T22" fmla="*/ 498 w 867"/>
                <a:gd name="T23" fmla="*/ 970 h 987"/>
                <a:gd name="T24" fmla="*/ 470 w 867"/>
                <a:gd name="T25" fmla="*/ 942 h 987"/>
                <a:gd name="T26" fmla="*/ 118 w 867"/>
                <a:gd name="T27" fmla="*/ 916 h 987"/>
                <a:gd name="T28" fmla="*/ 54 w 867"/>
                <a:gd name="T29" fmla="*/ 933 h 987"/>
                <a:gd name="T30" fmla="*/ 0 w 867"/>
                <a:gd name="T31" fmla="*/ 933 h 987"/>
                <a:gd name="T32" fmla="*/ 0 w 867"/>
                <a:gd name="T33" fmla="*/ 838 h 987"/>
                <a:gd name="T34" fmla="*/ 9 w 867"/>
                <a:gd name="T35" fmla="*/ 814 h 987"/>
                <a:gd name="T36" fmla="*/ 37 w 867"/>
                <a:gd name="T37" fmla="*/ 748 h 987"/>
                <a:gd name="T38" fmla="*/ 54 w 867"/>
                <a:gd name="T39" fmla="*/ 682 h 987"/>
                <a:gd name="T40" fmla="*/ 80 w 867"/>
                <a:gd name="T41" fmla="*/ 616 h 987"/>
                <a:gd name="T42" fmla="*/ 113 w 867"/>
                <a:gd name="T43" fmla="*/ 583 h 987"/>
                <a:gd name="T44" fmla="*/ 146 w 867"/>
                <a:gd name="T45" fmla="*/ 472 h 987"/>
                <a:gd name="T46" fmla="*/ 134 w 867"/>
                <a:gd name="T47" fmla="*/ 451 h 987"/>
                <a:gd name="T48" fmla="*/ 80 w 867"/>
                <a:gd name="T49" fmla="*/ 333 h 987"/>
                <a:gd name="T50" fmla="*/ 80 w 867"/>
                <a:gd name="T51" fmla="*/ 333 h 987"/>
                <a:gd name="T52" fmla="*/ 113 w 867"/>
                <a:gd name="T53" fmla="*/ 283 h 987"/>
                <a:gd name="T54" fmla="*/ 75 w 867"/>
                <a:gd name="T55" fmla="*/ 184 h 987"/>
                <a:gd name="T56" fmla="*/ 26 w 867"/>
                <a:gd name="T57" fmla="*/ 118 h 987"/>
                <a:gd name="T58" fmla="*/ 96 w 867"/>
                <a:gd name="T59" fmla="*/ 101 h 987"/>
                <a:gd name="T60" fmla="*/ 335 w 867"/>
                <a:gd name="T61" fmla="*/ 111 h 987"/>
                <a:gd name="T62" fmla="*/ 344 w 867"/>
                <a:gd name="T63" fmla="*/ 139 h 987"/>
                <a:gd name="T64" fmla="*/ 361 w 867"/>
                <a:gd name="T65" fmla="*/ 196 h 987"/>
                <a:gd name="T66" fmla="*/ 432 w 867"/>
                <a:gd name="T67" fmla="*/ 262 h 987"/>
                <a:gd name="T68" fmla="*/ 444 w 867"/>
                <a:gd name="T69" fmla="*/ 262 h 987"/>
                <a:gd name="T70" fmla="*/ 470 w 867"/>
                <a:gd name="T71" fmla="*/ 250 h 987"/>
                <a:gd name="T72" fmla="*/ 529 w 867"/>
                <a:gd name="T73" fmla="*/ 229 h 987"/>
                <a:gd name="T74" fmla="*/ 545 w 867"/>
                <a:gd name="T75" fmla="*/ 184 h 987"/>
                <a:gd name="T76" fmla="*/ 600 w 867"/>
                <a:gd name="T77" fmla="*/ 184 h 987"/>
                <a:gd name="T78" fmla="*/ 616 w 867"/>
                <a:gd name="T79" fmla="*/ 205 h 987"/>
                <a:gd name="T80" fmla="*/ 708 w 867"/>
                <a:gd name="T81" fmla="*/ 222 h 987"/>
                <a:gd name="T82" fmla="*/ 708 w 867"/>
                <a:gd name="T83" fmla="*/ 295 h 987"/>
                <a:gd name="T84" fmla="*/ 708 w 867"/>
                <a:gd name="T85" fmla="*/ 377 h 987"/>
                <a:gd name="T86" fmla="*/ 741 w 867"/>
                <a:gd name="T87" fmla="*/ 427 h 987"/>
                <a:gd name="T88" fmla="*/ 730 w 867"/>
                <a:gd name="T89" fmla="*/ 467 h 987"/>
                <a:gd name="T90" fmla="*/ 758 w 867"/>
                <a:gd name="T91" fmla="*/ 472 h 987"/>
                <a:gd name="T92" fmla="*/ 817 w 867"/>
                <a:gd name="T93" fmla="*/ 472 h 987"/>
                <a:gd name="T94" fmla="*/ 855 w 867"/>
                <a:gd name="T95" fmla="*/ 467 h 987"/>
                <a:gd name="T96" fmla="*/ 855 w 867"/>
                <a:gd name="T97" fmla="*/ 522 h 987"/>
                <a:gd name="T98" fmla="*/ 867 w 867"/>
                <a:gd name="T99" fmla="*/ 578 h 987"/>
                <a:gd name="T100" fmla="*/ 855 w 867"/>
                <a:gd name="T101" fmla="*/ 628 h 987"/>
                <a:gd name="T102" fmla="*/ 720 w 867"/>
                <a:gd name="T103" fmla="*/ 855 h 987"/>
                <a:gd name="T104" fmla="*/ 800 w 867"/>
                <a:gd name="T105" fmla="*/ 949 h 987"/>
                <a:gd name="T106" fmla="*/ 817 w 867"/>
                <a:gd name="T107" fmla="*/ 966 h 9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867" h="987">
                  <a:moveTo>
                    <a:pt x="92" y="16"/>
                  </a:moveTo>
                  <a:lnTo>
                    <a:pt x="75" y="23"/>
                  </a:lnTo>
                  <a:lnTo>
                    <a:pt x="54" y="40"/>
                  </a:lnTo>
                  <a:lnTo>
                    <a:pt x="54" y="94"/>
                  </a:lnTo>
                  <a:lnTo>
                    <a:pt x="26" y="94"/>
                  </a:lnTo>
                  <a:lnTo>
                    <a:pt x="21" y="85"/>
                  </a:lnTo>
                  <a:lnTo>
                    <a:pt x="26" y="73"/>
                  </a:lnTo>
                  <a:lnTo>
                    <a:pt x="9" y="40"/>
                  </a:lnTo>
                  <a:lnTo>
                    <a:pt x="26" y="23"/>
                  </a:lnTo>
                  <a:lnTo>
                    <a:pt x="37" y="23"/>
                  </a:lnTo>
                  <a:lnTo>
                    <a:pt x="42" y="16"/>
                  </a:lnTo>
                  <a:lnTo>
                    <a:pt x="59" y="7"/>
                  </a:lnTo>
                  <a:lnTo>
                    <a:pt x="63" y="0"/>
                  </a:lnTo>
                  <a:lnTo>
                    <a:pt x="75" y="0"/>
                  </a:lnTo>
                  <a:lnTo>
                    <a:pt x="92" y="16"/>
                  </a:lnTo>
                  <a:lnTo>
                    <a:pt x="92" y="16"/>
                  </a:lnTo>
                  <a:lnTo>
                    <a:pt x="92" y="16"/>
                  </a:lnTo>
                  <a:close/>
                  <a:moveTo>
                    <a:pt x="817" y="966"/>
                  </a:moveTo>
                  <a:lnTo>
                    <a:pt x="670" y="987"/>
                  </a:lnTo>
                  <a:lnTo>
                    <a:pt x="654" y="982"/>
                  </a:lnTo>
                  <a:lnTo>
                    <a:pt x="637" y="987"/>
                  </a:lnTo>
                  <a:lnTo>
                    <a:pt x="616" y="987"/>
                  </a:lnTo>
                  <a:lnTo>
                    <a:pt x="600" y="982"/>
                  </a:lnTo>
                  <a:lnTo>
                    <a:pt x="498" y="970"/>
                  </a:lnTo>
                  <a:lnTo>
                    <a:pt x="474" y="966"/>
                  </a:lnTo>
                  <a:lnTo>
                    <a:pt x="470" y="942"/>
                  </a:lnTo>
                  <a:lnTo>
                    <a:pt x="151" y="949"/>
                  </a:lnTo>
                  <a:lnTo>
                    <a:pt x="118" y="916"/>
                  </a:lnTo>
                  <a:lnTo>
                    <a:pt x="96" y="909"/>
                  </a:lnTo>
                  <a:lnTo>
                    <a:pt x="54" y="933"/>
                  </a:lnTo>
                  <a:lnTo>
                    <a:pt x="21" y="925"/>
                  </a:lnTo>
                  <a:lnTo>
                    <a:pt x="0" y="933"/>
                  </a:lnTo>
                  <a:lnTo>
                    <a:pt x="0" y="876"/>
                  </a:lnTo>
                  <a:lnTo>
                    <a:pt x="0" y="838"/>
                  </a:lnTo>
                  <a:lnTo>
                    <a:pt x="0" y="831"/>
                  </a:lnTo>
                  <a:lnTo>
                    <a:pt x="9" y="814"/>
                  </a:lnTo>
                  <a:lnTo>
                    <a:pt x="21" y="781"/>
                  </a:lnTo>
                  <a:lnTo>
                    <a:pt x="37" y="748"/>
                  </a:lnTo>
                  <a:lnTo>
                    <a:pt x="37" y="703"/>
                  </a:lnTo>
                  <a:lnTo>
                    <a:pt x="54" y="682"/>
                  </a:lnTo>
                  <a:lnTo>
                    <a:pt x="54" y="649"/>
                  </a:lnTo>
                  <a:lnTo>
                    <a:pt x="80" y="616"/>
                  </a:lnTo>
                  <a:lnTo>
                    <a:pt x="80" y="600"/>
                  </a:lnTo>
                  <a:lnTo>
                    <a:pt x="113" y="583"/>
                  </a:lnTo>
                  <a:lnTo>
                    <a:pt x="134" y="526"/>
                  </a:lnTo>
                  <a:lnTo>
                    <a:pt x="146" y="472"/>
                  </a:lnTo>
                  <a:lnTo>
                    <a:pt x="134" y="460"/>
                  </a:lnTo>
                  <a:lnTo>
                    <a:pt x="134" y="451"/>
                  </a:lnTo>
                  <a:lnTo>
                    <a:pt x="118" y="432"/>
                  </a:lnTo>
                  <a:lnTo>
                    <a:pt x="80" y="333"/>
                  </a:lnTo>
                  <a:lnTo>
                    <a:pt x="92" y="316"/>
                  </a:lnTo>
                  <a:lnTo>
                    <a:pt x="80" y="333"/>
                  </a:lnTo>
                  <a:lnTo>
                    <a:pt x="113" y="304"/>
                  </a:lnTo>
                  <a:lnTo>
                    <a:pt x="113" y="283"/>
                  </a:lnTo>
                  <a:lnTo>
                    <a:pt x="75" y="205"/>
                  </a:lnTo>
                  <a:lnTo>
                    <a:pt x="75" y="184"/>
                  </a:lnTo>
                  <a:lnTo>
                    <a:pt x="54" y="155"/>
                  </a:lnTo>
                  <a:lnTo>
                    <a:pt x="26" y="118"/>
                  </a:lnTo>
                  <a:lnTo>
                    <a:pt x="63" y="111"/>
                  </a:lnTo>
                  <a:lnTo>
                    <a:pt x="96" y="101"/>
                  </a:lnTo>
                  <a:lnTo>
                    <a:pt x="297" y="101"/>
                  </a:lnTo>
                  <a:lnTo>
                    <a:pt x="335" y="111"/>
                  </a:lnTo>
                  <a:lnTo>
                    <a:pt x="344" y="127"/>
                  </a:lnTo>
                  <a:lnTo>
                    <a:pt x="344" y="139"/>
                  </a:lnTo>
                  <a:lnTo>
                    <a:pt x="361" y="184"/>
                  </a:lnTo>
                  <a:lnTo>
                    <a:pt x="361" y="196"/>
                  </a:lnTo>
                  <a:lnTo>
                    <a:pt x="406" y="262"/>
                  </a:lnTo>
                  <a:lnTo>
                    <a:pt x="432" y="262"/>
                  </a:lnTo>
                  <a:lnTo>
                    <a:pt x="444" y="262"/>
                  </a:lnTo>
                  <a:lnTo>
                    <a:pt x="444" y="262"/>
                  </a:lnTo>
                  <a:lnTo>
                    <a:pt x="470" y="250"/>
                  </a:lnTo>
                  <a:lnTo>
                    <a:pt x="470" y="250"/>
                  </a:lnTo>
                  <a:lnTo>
                    <a:pt x="529" y="250"/>
                  </a:lnTo>
                  <a:lnTo>
                    <a:pt x="529" y="229"/>
                  </a:lnTo>
                  <a:lnTo>
                    <a:pt x="545" y="222"/>
                  </a:lnTo>
                  <a:lnTo>
                    <a:pt x="545" y="184"/>
                  </a:lnTo>
                  <a:lnTo>
                    <a:pt x="600" y="184"/>
                  </a:lnTo>
                  <a:lnTo>
                    <a:pt x="600" y="184"/>
                  </a:lnTo>
                  <a:lnTo>
                    <a:pt x="621" y="184"/>
                  </a:lnTo>
                  <a:lnTo>
                    <a:pt x="616" y="205"/>
                  </a:lnTo>
                  <a:lnTo>
                    <a:pt x="704" y="205"/>
                  </a:lnTo>
                  <a:lnTo>
                    <a:pt x="708" y="222"/>
                  </a:lnTo>
                  <a:lnTo>
                    <a:pt x="704" y="250"/>
                  </a:lnTo>
                  <a:lnTo>
                    <a:pt x="708" y="295"/>
                  </a:lnTo>
                  <a:lnTo>
                    <a:pt x="704" y="356"/>
                  </a:lnTo>
                  <a:lnTo>
                    <a:pt x="708" y="377"/>
                  </a:lnTo>
                  <a:lnTo>
                    <a:pt x="725" y="394"/>
                  </a:lnTo>
                  <a:lnTo>
                    <a:pt x="741" y="427"/>
                  </a:lnTo>
                  <a:lnTo>
                    <a:pt x="741" y="460"/>
                  </a:lnTo>
                  <a:lnTo>
                    <a:pt x="730" y="467"/>
                  </a:lnTo>
                  <a:lnTo>
                    <a:pt x="730" y="488"/>
                  </a:lnTo>
                  <a:lnTo>
                    <a:pt x="758" y="472"/>
                  </a:lnTo>
                  <a:lnTo>
                    <a:pt x="796" y="484"/>
                  </a:lnTo>
                  <a:lnTo>
                    <a:pt x="817" y="472"/>
                  </a:lnTo>
                  <a:lnTo>
                    <a:pt x="850" y="472"/>
                  </a:lnTo>
                  <a:lnTo>
                    <a:pt x="855" y="467"/>
                  </a:lnTo>
                  <a:lnTo>
                    <a:pt x="867" y="505"/>
                  </a:lnTo>
                  <a:lnTo>
                    <a:pt x="855" y="522"/>
                  </a:lnTo>
                  <a:lnTo>
                    <a:pt x="855" y="559"/>
                  </a:lnTo>
                  <a:lnTo>
                    <a:pt x="867" y="578"/>
                  </a:lnTo>
                  <a:lnTo>
                    <a:pt x="850" y="600"/>
                  </a:lnTo>
                  <a:lnTo>
                    <a:pt x="855" y="628"/>
                  </a:lnTo>
                  <a:lnTo>
                    <a:pt x="720" y="616"/>
                  </a:lnTo>
                  <a:lnTo>
                    <a:pt x="720" y="855"/>
                  </a:lnTo>
                  <a:lnTo>
                    <a:pt x="725" y="876"/>
                  </a:lnTo>
                  <a:lnTo>
                    <a:pt x="800" y="949"/>
                  </a:lnTo>
                  <a:lnTo>
                    <a:pt x="817" y="966"/>
                  </a:lnTo>
                  <a:lnTo>
                    <a:pt x="817" y="966"/>
                  </a:lnTo>
                  <a:lnTo>
                    <a:pt x="817" y="966"/>
                  </a:lnTo>
                  <a:close/>
                </a:path>
              </a:pathLst>
            </a:custGeom>
            <a:solidFill>
              <a:schemeClr val="bg2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34" name="Freeform 386">
              <a:extLst>
                <a:ext uri="{FF2B5EF4-FFF2-40B4-BE49-F238E27FC236}">
                  <a16:creationId xmlns:a16="http://schemas.microsoft.com/office/drawing/2014/main" id="{E58D1252-AAB0-49D1-8282-5ECF55D0E163}"/>
                </a:ext>
              </a:extLst>
            </p:cNvPr>
            <p:cNvSpPr>
              <a:spLocks/>
            </p:cNvSpPr>
            <p:nvPr/>
          </p:nvSpPr>
          <p:spPr bwMode="gray">
            <a:xfrm>
              <a:off x="4322991" y="2900503"/>
              <a:ext cx="1074" cy="2149"/>
            </a:xfrm>
            <a:custGeom>
              <a:avLst/>
              <a:gdLst>
                <a:gd name="T0" fmla="*/ 5 w 7"/>
                <a:gd name="T1" fmla="*/ 14 h 14"/>
                <a:gd name="T2" fmla="*/ 0 w 7"/>
                <a:gd name="T3" fmla="*/ 14 h 14"/>
                <a:gd name="T4" fmla="*/ 7 w 7"/>
                <a:gd name="T5" fmla="*/ 0 h 14"/>
                <a:gd name="T6" fmla="*/ 5 w 7"/>
                <a:gd name="T7" fmla="*/ 14 h 14"/>
                <a:gd name="T8" fmla="*/ 5 w 7"/>
                <a:gd name="T9" fmla="*/ 14 h 14"/>
                <a:gd name="T10" fmla="*/ 5 w 7"/>
                <a:gd name="T11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" h="14">
                  <a:moveTo>
                    <a:pt x="5" y="14"/>
                  </a:moveTo>
                  <a:lnTo>
                    <a:pt x="0" y="14"/>
                  </a:lnTo>
                  <a:lnTo>
                    <a:pt x="7" y="0"/>
                  </a:lnTo>
                  <a:lnTo>
                    <a:pt x="5" y="14"/>
                  </a:lnTo>
                  <a:lnTo>
                    <a:pt x="5" y="14"/>
                  </a:lnTo>
                  <a:lnTo>
                    <a:pt x="5" y="14"/>
                  </a:lnTo>
                  <a:close/>
                </a:path>
              </a:pathLst>
            </a:custGeom>
            <a:solidFill>
              <a:schemeClr val="bg2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35" name="Freeform 387">
              <a:extLst>
                <a:ext uri="{FF2B5EF4-FFF2-40B4-BE49-F238E27FC236}">
                  <a16:creationId xmlns:a16="http://schemas.microsoft.com/office/drawing/2014/main" id="{910E9C6A-99DA-4C98-A7A9-D23F81DA64D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369230" y="2987534"/>
              <a:ext cx="213637" cy="434075"/>
            </a:xfrm>
            <a:custGeom>
              <a:avLst/>
              <a:gdLst>
                <a:gd name="T0" fmla="*/ 508 w 1392"/>
                <a:gd name="T1" fmla="*/ 21 h 2828"/>
                <a:gd name="T2" fmla="*/ 652 w 1392"/>
                <a:gd name="T3" fmla="*/ 54 h 2828"/>
                <a:gd name="T4" fmla="*/ 870 w 1392"/>
                <a:gd name="T5" fmla="*/ 132 h 2828"/>
                <a:gd name="T6" fmla="*/ 1118 w 1392"/>
                <a:gd name="T7" fmla="*/ 267 h 2828"/>
                <a:gd name="T8" fmla="*/ 1080 w 1392"/>
                <a:gd name="T9" fmla="*/ 333 h 2828"/>
                <a:gd name="T10" fmla="*/ 1170 w 1392"/>
                <a:gd name="T11" fmla="*/ 428 h 2828"/>
                <a:gd name="T12" fmla="*/ 1245 w 1392"/>
                <a:gd name="T13" fmla="*/ 428 h 2828"/>
                <a:gd name="T14" fmla="*/ 1333 w 1392"/>
                <a:gd name="T15" fmla="*/ 284 h 2828"/>
                <a:gd name="T16" fmla="*/ 1392 w 1392"/>
                <a:gd name="T17" fmla="*/ 350 h 2828"/>
                <a:gd name="T18" fmla="*/ 1278 w 1392"/>
                <a:gd name="T19" fmla="*/ 465 h 2828"/>
                <a:gd name="T20" fmla="*/ 1208 w 1392"/>
                <a:gd name="T21" fmla="*/ 539 h 2828"/>
                <a:gd name="T22" fmla="*/ 1118 w 1392"/>
                <a:gd name="T23" fmla="*/ 650 h 2828"/>
                <a:gd name="T24" fmla="*/ 1094 w 1392"/>
                <a:gd name="T25" fmla="*/ 754 h 2828"/>
                <a:gd name="T26" fmla="*/ 1063 w 1392"/>
                <a:gd name="T27" fmla="*/ 876 h 2828"/>
                <a:gd name="T28" fmla="*/ 1059 w 1392"/>
                <a:gd name="T29" fmla="*/ 997 h 2828"/>
                <a:gd name="T30" fmla="*/ 1156 w 1392"/>
                <a:gd name="T31" fmla="*/ 1141 h 2828"/>
                <a:gd name="T32" fmla="*/ 1068 w 1392"/>
                <a:gd name="T33" fmla="*/ 1321 h 2828"/>
                <a:gd name="T34" fmla="*/ 787 w 1392"/>
                <a:gd name="T35" fmla="*/ 1387 h 2828"/>
                <a:gd name="T36" fmla="*/ 787 w 1392"/>
                <a:gd name="T37" fmla="*/ 1465 h 2828"/>
                <a:gd name="T38" fmla="*/ 740 w 1392"/>
                <a:gd name="T39" fmla="*/ 1547 h 2828"/>
                <a:gd name="T40" fmla="*/ 593 w 1392"/>
                <a:gd name="T41" fmla="*/ 1547 h 2828"/>
                <a:gd name="T42" fmla="*/ 638 w 1392"/>
                <a:gd name="T43" fmla="*/ 1658 h 2828"/>
                <a:gd name="T44" fmla="*/ 702 w 1392"/>
                <a:gd name="T45" fmla="*/ 1668 h 2828"/>
                <a:gd name="T46" fmla="*/ 600 w 1392"/>
                <a:gd name="T47" fmla="*/ 1680 h 2828"/>
                <a:gd name="T48" fmla="*/ 584 w 1392"/>
                <a:gd name="T49" fmla="*/ 1791 h 2828"/>
                <a:gd name="T50" fmla="*/ 563 w 1392"/>
                <a:gd name="T51" fmla="*/ 1869 h 2828"/>
                <a:gd name="T52" fmla="*/ 421 w 1392"/>
                <a:gd name="T53" fmla="*/ 2013 h 2828"/>
                <a:gd name="T54" fmla="*/ 518 w 1392"/>
                <a:gd name="T55" fmla="*/ 2140 h 2828"/>
                <a:gd name="T56" fmla="*/ 421 w 1392"/>
                <a:gd name="T57" fmla="*/ 2251 h 2828"/>
                <a:gd name="T58" fmla="*/ 369 w 1392"/>
                <a:gd name="T59" fmla="*/ 2350 h 2828"/>
                <a:gd name="T60" fmla="*/ 315 w 1392"/>
                <a:gd name="T61" fmla="*/ 2391 h 2828"/>
                <a:gd name="T62" fmla="*/ 324 w 1392"/>
                <a:gd name="T63" fmla="*/ 2495 h 2828"/>
                <a:gd name="T64" fmla="*/ 93 w 1392"/>
                <a:gd name="T65" fmla="*/ 2502 h 2828"/>
                <a:gd name="T66" fmla="*/ 60 w 1392"/>
                <a:gd name="T67" fmla="*/ 2400 h 2828"/>
                <a:gd name="T68" fmla="*/ 8 w 1392"/>
                <a:gd name="T69" fmla="*/ 2322 h 2828"/>
                <a:gd name="T70" fmla="*/ 38 w 1392"/>
                <a:gd name="T71" fmla="*/ 2239 h 2828"/>
                <a:gd name="T72" fmla="*/ 83 w 1392"/>
                <a:gd name="T73" fmla="*/ 2112 h 2828"/>
                <a:gd name="T74" fmla="*/ 130 w 1392"/>
                <a:gd name="T75" fmla="*/ 1996 h 2828"/>
                <a:gd name="T76" fmla="*/ 147 w 1392"/>
                <a:gd name="T77" fmla="*/ 1923 h 2828"/>
                <a:gd name="T78" fmla="*/ 180 w 1392"/>
                <a:gd name="T79" fmla="*/ 1835 h 2828"/>
                <a:gd name="T80" fmla="*/ 130 w 1392"/>
                <a:gd name="T81" fmla="*/ 1769 h 2828"/>
                <a:gd name="T82" fmla="*/ 97 w 1392"/>
                <a:gd name="T83" fmla="*/ 1713 h 2828"/>
                <a:gd name="T84" fmla="*/ 130 w 1392"/>
                <a:gd name="T85" fmla="*/ 1625 h 2828"/>
                <a:gd name="T86" fmla="*/ 130 w 1392"/>
                <a:gd name="T87" fmla="*/ 1474 h 2828"/>
                <a:gd name="T88" fmla="*/ 152 w 1392"/>
                <a:gd name="T89" fmla="*/ 1354 h 2828"/>
                <a:gd name="T90" fmla="*/ 180 w 1392"/>
                <a:gd name="T91" fmla="*/ 1235 h 2828"/>
                <a:gd name="T92" fmla="*/ 201 w 1392"/>
                <a:gd name="T93" fmla="*/ 1132 h 2828"/>
                <a:gd name="T94" fmla="*/ 244 w 1392"/>
                <a:gd name="T95" fmla="*/ 976 h 2828"/>
                <a:gd name="T96" fmla="*/ 244 w 1392"/>
                <a:gd name="T97" fmla="*/ 888 h 2828"/>
                <a:gd name="T98" fmla="*/ 239 w 1392"/>
                <a:gd name="T99" fmla="*/ 782 h 2828"/>
                <a:gd name="T100" fmla="*/ 239 w 1392"/>
                <a:gd name="T101" fmla="*/ 666 h 2828"/>
                <a:gd name="T102" fmla="*/ 308 w 1392"/>
                <a:gd name="T103" fmla="*/ 477 h 2828"/>
                <a:gd name="T104" fmla="*/ 362 w 1392"/>
                <a:gd name="T105" fmla="*/ 333 h 2828"/>
                <a:gd name="T106" fmla="*/ 438 w 1392"/>
                <a:gd name="T107" fmla="*/ 165 h 2828"/>
                <a:gd name="T108" fmla="*/ 799 w 1392"/>
                <a:gd name="T109" fmla="*/ 1370 h 2828"/>
                <a:gd name="T110" fmla="*/ 345 w 1392"/>
                <a:gd name="T111" fmla="*/ 2589 h 2828"/>
                <a:gd name="T112" fmla="*/ 378 w 1392"/>
                <a:gd name="T113" fmla="*/ 2655 h 2828"/>
                <a:gd name="T114" fmla="*/ 593 w 1392"/>
                <a:gd name="T115" fmla="*/ 2790 h 2828"/>
                <a:gd name="T116" fmla="*/ 345 w 1392"/>
                <a:gd name="T117" fmla="*/ 2806 h 2828"/>
                <a:gd name="T118" fmla="*/ 686 w 1392"/>
                <a:gd name="T119" fmla="*/ 2794 h 2828"/>
                <a:gd name="T120" fmla="*/ 345 w 1392"/>
                <a:gd name="T121" fmla="*/ 2811 h 28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392" h="2828">
                  <a:moveTo>
                    <a:pt x="449" y="78"/>
                  </a:moveTo>
                  <a:lnTo>
                    <a:pt x="466" y="61"/>
                  </a:lnTo>
                  <a:lnTo>
                    <a:pt x="466" y="54"/>
                  </a:lnTo>
                  <a:lnTo>
                    <a:pt x="475" y="45"/>
                  </a:lnTo>
                  <a:lnTo>
                    <a:pt x="475" y="33"/>
                  </a:lnTo>
                  <a:lnTo>
                    <a:pt x="508" y="21"/>
                  </a:lnTo>
                  <a:lnTo>
                    <a:pt x="518" y="0"/>
                  </a:lnTo>
                  <a:lnTo>
                    <a:pt x="546" y="21"/>
                  </a:lnTo>
                  <a:lnTo>
                    <a:pt x="600" y="21"/>
                  </a:lnTo>
                  <a:lnTo>
                    <a:pt x="631" y="33"/>
                  </a:lnTo>
                  <a:lnTo>
                    <a:pt x="648" y="78"/>
                  </a:lnTo>
                  <a:lnTo>
                    <a:pt x="652" y="54"/>
                  </a:lnTo>
                  <a:lnTo>
                    <a:pt x="681" y="17"/>
                  </a:lnTo>
                  <a:lnTo>
                    <a:pt x="756" y="17"/>
                  </a:lnTo>
                  <a:lnTo>
                    <a:pt x="761" y="33"/>
                  </a:lnTo>
                  <a:lnTo>
                    <a:pt x="794" y="54"/>
                  </a:lnTo>
                  <a:lnTo>
                    <a:pt x="811" y="95"/>
                  </a:lnTo>
                  <a:lnTo>
                    <a:pt x="870" y="132"/>
                  </a:lnTo>
                  <a:lnTo>
                    <a:pt x="879" y="149"/>
                  </a:lnTo>
                  <a:lnTo>
                    <a:pt x="934" y="165"/>
                  </a:lnTo>
                  <a:lnTo>
                    <a:pt x="950" y="165"/>
                  </a:lnTo>
                  <a:lnTo>
                    <a:pt x="1030" y="227"/>
                  </a:lnTo>
                  <a:lnTo>
                    <a:pt x="1101" y="255"/>
                  </a:lnTo>
                  <a:lnTo>
                    <a:pt x="1118" y="267"/>
                  </a:lnTo>
                  <a:lnTo>
                    <a:pt x="1123" y="276"/>
                  </a:lnTo>
                  <a:lnTo>
                    <a:pt x="1123" y="284"/>
                  </a:lnTo>
                  <a:lnTo>
                    <a:pt x="1101" y="300"/>
                  </a:lnTo>
                  <a:lnTo>
                    <a:pt x="1101" y="317"/>
                  </a:lnTo>
                  <a:lnTo>
                    <a:pt x="1101" y="317"/>
                  </a:lnTo>
                  <a:lnTo>
                    <a:pt x="1080" y="333"/>
                  </a:lnTo>
                  <a:lnTo>
                    <a:pt x="1080" y="371"/>
                  </a:lnTo>
                  <a:lnTo>
                    <a:pt x="1047" y="411"/>
                  </a:lnTo>
                  <a:lnTo>
                    <a:pt x="1047" y="421"/>
                  </a:lnTo>
                  <a:lnTo>
                    <a:pt x="1111" y="421"/>
                  </a:lnTo>
                  <a:lnTo>
                    <a:pt x="1156" y="432"/>
                  </a:lnTo>
                  <a:lnTo>
                    <a:pt x="1170" y="428"/>
                  </a:lnTo>
                  <a:lnTo>
                    <a:pt x="1177" y="432"/>
                  </a:lnTo>
                  <a:lnTo>
                    <a:pt x="1193" y="432"/>
                  </a:lnTo>
                  <a:lnTo>
                    <a:pt x="1203" y="444"/>
                  </a:lnTo>
                  <a:lnTo>
                    <a:pt x="1224" y="421"/>
                  </a:lnTo>
                  <a:lnTo>
                    <a:pt x="1241" y="421"/>
                  </a:lnTo>
                  <a:lnTo>
                    <a:pt x="1245" y="428"/>
                  </a:lnTo>
                  <a:lnTo>
                    <a:pt x="1262" y="421"/>
                  </a:lnTo>
                  <a:lnTo>
                    <a:pt x="1262" y="404"/>
                  </a:lnTo>
                  <a:lnTo>
                    <a:pt x="1274" y="395"/>
                  </a:lnTo>
                  <a:lnTo>
                    <a:pt x="1300" y="378"/>
                  </a:lnTo>
                  <a:lnTo>
                    <a:pt x="1328" y="354"/>
                  </a:lnTo>
                  <a:lnTo>
                    <a:pt x="1333" y="284"/>
                  </a:lnTo>
                  <a:lnTo>
                    <a:pt x="1337" y="293"/>
                  </a:lnTo>
                  <a:lnTo>
                    <a:pt x="1366" y="276"/>
                  </a:lnTo>
                  <a:lnTo>
                    <a:pt x="1380" y="293"/>
                  </a:lnTo>
                  <a:lnTo>
                    <a:pt x="1387" y="317"/>
                  </a:lnTo>
                  <a:lnTo>
                    <a:pt x="1392" y="338"/>
                  </a:lnTo>
                  <a:lnTo>
                    <a:pt x="1392" y="350"/>
                  </a:lnTo>
                  <a:lnTo>
                    <a:pt x="1392" y="387"/>
                  </a:lnTo>
                  <a:lnTo>
                    <a:pt x="1387" y="404"/>
                  </a:lnTo>
                  <a:lnTo>
                    <a:pt x="1349" y="428"/>
                  </a:lnTo>
                  <a:lnTo>
                    <a:pt x="1316" y="432"/>
                  </a:lnTo>
                  <a:lnTo>
                    <a:pt x="1300" y="461"/>
                  </a:lnTo>
                  <a:lnTo>
                    <a:pt x="1278" y="465"/>
                  </a:lnTo>
                  <a:lnTo>
                    <a:pt x="1274" y="482"/>
                  </a:lnTo>
                  <a:lnTo>
                    <a:pt x="1245" y="489"/>
                  </a:lnTo>
                  <a:lnTo>
                    <a:pt x="1257" y="498"/>
                  </a:lnTo>
                  <a:lnTo>
                    <a:pt x="1257" y="506"/>
                  </a:lnTo>
                  <a:lnTo>
                    <a:pt x="1241" y="506"/>
                  </a:lnTo>
                  <a:lnTo>
                    <a:pt x="1208" y="539"/>
                  </a:lnTo>
                  <a:lnTo>
                    <a:pt x="1203" y="560"/>
                  </a:lnTo>
                  <a:lnTo>
                    <a:pt x="1186" y="560"/>
                  </a:lnTo>
                  <a:lnTo>
                    <a:pt x="1156" y="610"/>
                  </a:lnTo>
                  <a:lnTo>
                    <a:pt x="1139" y="614"/>
                  </a:lnTo>
                  <a:lnTo>
                    <a:pt x="1139" y="633"/>
                  </a:lnTo>
                  <a:lnTo>
                    <a:pt x="1118" y="650"/>
                  </a:lnTo>
                  <a:lnTo>
                    <a:pt x="1118" y="654"/>
                  </a:lnTo>
                  <a:lnTo>
                    <a:pt x="1101" y="671"/>
                  </a:lnTo>
                  <a:lnTo>
                    <a:pt x="1111" y="699"/>
                  </a:lnTo>
                  <a:lnTo>
                    <a:pt x="1094" y="725"/>
                  </a:lnTo>
                  <a:lnTo>
                    <a:pt x="1085" y="742"/>
                  </a:lnTo>
                  <a:lnTo>
                    <a:pt x="1094" y="754"/>
                  </a:lnTo>
                  <a:lnTo>
                    <a:pt x="1085" y="765"/>
                  </a:lnTo>
                  <a:lnTo>
                    <a:pt x="1080" y="782"/>
                  </a:lnTo>
                  <a:lnTo>
                    <a:pt x="1085" y="815"/>
                  </a:lnTo>
                  <a:lnTo>
                    <a:pt x="1080" y="820"/>
                  </a:lnTo>
                  <a:lnTo>
                    <a:pt x="1080" y="869"/>
                  </a:lnTo>
                  <a:lnTo>
                    <a:pt x="1063" y="876"/>
                  </a:lnTo>
                  <a:lnTo>
                    <a:pt x="1059" y="910"/>
                  </a:lnTo>
                  <a:lnTo>
                    <a:pt x="1059" y="926"/>
                  </a:lnTo>
                  <a:lnTo>
                    <a:pt x="1063" y="959"/>
                  </a:lnTo>
                  <a:lnTo>
                    <a:pt x="1063" y="964"/>
                  </a:lnTo>
                  <a:lnTo>
                    <a:pt x="1059" y="976"/>
                  </a:lnTo>
                  <a:lnTo>
                    <a:pt x="1059" y="997"/>
                  </a:lnTo>
                  <a:lnTo>
                    <a:pt x="1123" y="1037"/>
                  </a:lnTo>
                  <a:lnTo>
                    <a:pt x="1149" y="1058"/>
                  </a:lnTo>
                  <a:lnTo>
                    <a:pt x="1156" y="1070"/>
                  </a:lnTo>
                  <a:lnTo>
                    <a:pt x="1132" y="1091"/>
                  </a:lnTo>
                  <a:lnTo>
                    <a:pt x="1132" y="1108"/>
                  </a:lnTo>
                  <a:lnTo>
                    <a:pt x="1156" y="1141"/>
                  </a:lnTo>
                  <a:lnTo>
                    <a:pt x="1165" y="1141"/>
                  </a:lnTo>
                  <a:lnTo>
                    <a:pt x="1177" y="1141"/>
                  </a:lnTo>
                  <a:lnTo>
                    <a:pt x="1186" y="1186"/>
                  </a:lnTo>
                  <a:lnTo>
                    <a:pt x="1123" y="1264"/>
                  </a:lnTo>
                  <a:lnTo>
                    <a:pt x="1123" y="1292"/>
                  </a:lnTo>
                  <a:lnTo>
                    <a:pt x="1068" y="1321"/>
                  </a:lnTo>
                  <a:lnTo>
                    <a:pt x="960" y="1347"/>
                  </a:lnTo>
                  <a:lnTo>
                    <a:pt x="879" y="1363"/>
                  </a:lnTo>
                  <a:lnTo>
                    <a:pt x="825" y="1363"/>
                  </a:lnTo>
                  <a:lnTo>
                    <a:pt x="787" y="1347"/>
                  </a:lnTo>
                  <a:lnTo>
                    <a:pt x="794" y="1363"/>
                  </a:lnTo>
                  <a:lnTo>
                    <a:pt x="787" y="1387"/>
                  </a:lnTo>
                  <a:lnTo>
                    <a:pt x="811" y="1391"/>
                  </a:lnTo>
                  <a:lnTo>
                    <a:pt x="794" y="1391"/>
                  </a:lnTo>
                  <a:lnTo>
                    <a:pt x="811" y="1408"/>
                  </a:lnTo>
                  <a:lnTo>
                    <a:pt x="799" y="1432"/>
                  </a:lnTo>
                  <a:lnTo>
                    <a:pt x="794" y="1432"/>
                  </a:lnTo>
                  <a:lnTo>
                    <a:pt x="787" y="1465"/>
                  </a:lnTo>
                  <a:lnTo>
                    <a:pt x="778" y="1474"/>
                  </a:lnTo>
                  <a:lnTo>
                    <a:pt x="794" y="1498"/>
                  </a:lnTo>
                  <a:lnTo>
                    <a:pt x="787" y="1502"/>
                  </a:lnTo>
                  <a:lnTo>
                    <a:pt x="799" y="1502"/>
                  </a:lnTo>
                  <a:lnTo>
                    <a:pt x="787" y="1531"/>
                  </a:lnTo>
                  <a:lnTo>
                    <a:pt x="740" y="1547"/>
                  </a:lnTo>
                  <a:lnTo>
                    <a:pt x="686" y="1547"/>
                  </a:lnTo>
                  <a:lnTo>
                    <a:pt x="626" y="1519"/>
                  </a:lnTo>
                  <a:lnTo>
                    <a:pt x="615" y="1514"/>
                  </a:lnTo>
                  <a:lnTo>
                    <a:pt x="600" y="1514"/>
                  </a:lnTo>
                  <a:lnTo>
                    <a:pt x="593" y="1519"/>
                  </a:lnTo>
                  <a:lnTo>
                    <a:pt x="593" y="1547"/>
                  </a:lnTo>
                  <a:lnTo>
                    <a:pt x="600" y="1576"/>
                  </a:lnTo>
                  <a:lnTo>
                    <a:pt x="593" y="1613"/>
                  </a:lnTo>
                  <a:lnTo>
                    <a:pt x="600" y="1625"/>
                  </a:lnTo>
                  <a:lnTo>
                    <a:pt x="638" y="1642"/>
                  </a:lnTo>
                  <a:lnTo>
                    <a:pt x="631" y="1658"/>
                  </a:lnTo>
                  <a:lnTo>
                    <a:pt x="638" y="1658"/>
                  </a:lnTo>
                  <a:lnTo>
                    <a:pt x="664" y="1658"/>
                  </a:lnTo>
                  <a:lnTo>
                    <a:pt x="669" y="1642"/>
                  </a:lnTo>
                  <a:lnTo>
                    <a:pt x="648" y="1642"/>
                  </a:lnTo>
                  <a:lnTo>
                    <a:pt x="686" y="1625"/>
                  </a:lnTo>
                  <a:lnTo>
                    <a:pt x="702" y="1646"/>
                  </a:lnTo>
                  <a:lnTo>
                    <a:pt x="702" y="1668"/>
                  </a:lnTo>
                  <a:lnTo>
                    <a:pt x="690" y="1687"/>
                  </a:lnTo>
                  <a:lnTo>
                    <a:pt x="664" y="1696"/>
                  </a:lnTo>
                  <a:lnTo>
                    <a:pt x="652" y="1687"/>
                  </a:lnTo>
                  <a:lnTo>
                    <a:pt x="652" y="1668"/>
                  </a:lnTo>
                  <a:lnTo>
                    <a:pt x="648" y="1663"/>
                  </a:lnTo>
                  <a:lnTo>
                    <a:pt x="600" y="1680"/>
                  </a:lnTo>
                  <a:lnTo>
                    <a:pt x="600" y="1687"/>
                  </a:lnTo>
                  <a:lnTo>
                    <a:pt x="652" y="1703"/>
                  </a:lnTo>
                  <a:lnTo>
                    <a:pt x="610" y="1724"/>
                  </a:lnTo>
                  <a:lnTo>
                    <a:pt x="577" y="1769"/>
                  </a:lnTo>
                  <a:lnTo>
                    <a:pt x="577" y="1774"/>
                  </a:lnTo>
                  <a:lnTo>
                    <a:pt x="584" y="1791"/>
                  </a:lnTo>
                  <a:lnTo>
                    <a:pt x="577" y="1814"/>
                  </a:lnTo>
                  <a:lnTo>
                    <a:pt x="584" y="1824"/>
                  </a:lnTo>
                  <a:lnTo>
                    <a:pt x="577" y="1835"/>
                  </a:lnTo>
                  <a:lnTo>
                    <a:pt x="556" y="1852"/>
                  </a:lnTo>
                  <a:lnTo>
                    <a:pt x="556" y="1869"/>
                  </a:lnTo>
                  <a:lnTo>
                    <a:pt x="563" y="1869"/>
                  </a:lnTo>
                  <a:lnTo>
                    <a:pt x="563" y="1885"/>
                  </a:lnTo>
                  <a:lnTo>
                    <a:pt x="518" y="1880"/>
                  </a:lnTo>
                  <a:lnTo>
                    <a:pt x="466" y="1902"/>
                  </a:lnTo>
                  <a:lnTo>
                    <a:pt x="421" y="1975"/>
                  </a:lnTo>
                  <a:lnTo>
                    <a:pt x="416" y="1991"/>
                  </a:lnTo>
                  <a:lnTo>
                    <a:pt x="421" y="2013"/>
                  </a:lnTo>
                  <a:lnTo>
                    <a:pt x="475" y="2058"/>
                  </a:lnTo>
                  <a:lnTo>
                    <a:pt x="530" y="2069"/>
                  </a:lnTo>
                  <a:lnTo>
                    <a:pt x="546" y="2074"/>
                  </a:lnTo>
                  <a:lnTo>
                    <a:pt x="546" y="2107"/>
                  </a:lnTo>
                  <a:lnTo>
                    <a:pt x="541" y="2128"/>
                  </a:lnTo>
                  <a:lnTo>
                    <a:pt x="518" y="2140"/>
                  </a:lnTo>
                  <a:lnTo>
                    <a:pt x="530" y="2128"/>
                  </a:lnTo>
                  <a:lnTo>
                    <a:pt x="546" y="2145"/>
                  </a:lnTo>
                  <a:lnTo>
                    <a:pt x="530" y="2145"/>
                  </a:lnTo>
                  <a:lnTo>
                    <a:pt x="530" y="2161"/>
                  </a:lnTo>
                  <a:lnTo>
                    <a:pt x="454" y="2213"/>
                  </a:lnTo>
                  <a:lnTo>
                    <a:pt x="421" y="2251"/>
                  </a:lnTo>
                  <a:lnTo>
                    <a:pt x="416" y="2268"/>
                  </a:lnTo>
                  <a:lnTo>
                    <a:pt x="400" y="2280"/>
                  </a:lnTo>
                  <a:lnTo>
                    <a:pt x="416" y="2272"/>
                  </a:lnTo>
                  <a:lnTo>
                    <a:pt x="412" y="2329"/>
                  </a:lnTo>
                  <a:lnTo>
                    <a:pt x="400" y="2334"/>
                  </a:lnTo>
                  <a:lnTo>
                    <a:pt x="369" y="2350"/>
                  </a:lnTo>
                  <a:lnTo>
                    <a:pt x="345" y="2329"/>
                  </a:lnTo>
                  <a:lnTo>
                    <a:pt x="324" y="2334"/>
                  </a:lnTo>
                  <a:lnTo>
                    <a:pt x="345" y="2334"/>
                  </a:lnTo>
                  <a:lnTo>
                    <a:pt x="362" y="2350"/>
                  </a:lnTo>
                  <a:lnTo>
                    <a:pt x="324" y="2379"/>
                  </a:lnTo>
                  <a:lnTo>
                    <a:pt x="315" y="2391"/>
                  </a:lnTo>
                  <a:lnTo>
                    <a:pt x="308" y="2424"/>
                  </a:lnTo>
                  <a:lnTo>
                    <a:pt x="293" y="2440"/>
                  </a:lnTo>
                  <a:lnTo>
                    <a:pt x="308" y="2433"/>
                  </a:lnTo>
                  <a:lnTo>
                    <a:pt x="324" y="2490"/>
                  </a:lnTo>
                  <a:lnTo>
                    <a:pt x="277" y="2495"/>
                  </a:lnTo>
                  <a:lnTo>
                    <a:pt x="324" y="2495"/>
                  </a:lnTo>
                  <a:lnTo>
                    <a:pt x="362" y="2556"/>
                  </a:lnTo>
                  <a:lnTo>
                    <a:pt x="362" y="2568"/>
                  </a:lnTo>
                  <a:lnTo>
                    <a:pt x="256" y="2528"/>
                  </a:lnTo>
                  <a:lnTo>
                    <a:pt x="114" y="2528"/>
                  </a:lnTo>
                  <a:lnTo>
                    <a:pt x="114" y="2518"/>
                  </a:lnTo>
                  <a:lnTo>
                    <a:pt x="93" y="2502"/>
                  </a:lnTo>
                  <a:lnTo>
                    <a:pt x="83" y="2478"/>
                  </a:lnTo>
                  <a:lnTo>
                    <a:pt x="93" y="2457"/>
                  </a:lnTo>
                  <a:lnTo>
                    <a:pt x="83" y="2445"/>
                  </a:lnTo>
                  <a:lnTo>
                    <a:pt x="93" y="2433"/>
                  </a:lnTo>
                  <a:lnTo>
                    <a:pt x="93" y="2400"/>
                  </a:lnTo>
                  <a:lnTo>
                    <a:pt x="60" y="2400"/>
                  </a:lnTo>
                  <a:lnTo>
                    <a:pt x="29" y="2407"/>
                  </a:lnTo>
                  <a:lnTo>
                    <a:pt x="22" y="2367"/>
                  </a:lnTo>
                  <a:lnTo>
                    <a:pt x="8" y="2350"/>
                  </a:lnTo>
                  <a:lnTo>
                    <a:pt x="8" y="2334"/>
                  </a:lnTo>
                  <a:lnTo>
                    <a:pt x="0" y="2329"/>
                  </a:lnTo>
                  <a:lnTo>
                    <a:pt x="8" y="2322"/>
                  </a:lnTo>
                  <a:lnTo>
                    <a:pt x="0" y="2296"/>
                  </a:lnTo>
                  <a:lnTo>
                    <a:pt x="8" y="2272"/>
                  </a:lnTo>
                  <a:lnTo>
                    <a:pt x="29" y="2272"/>
                  </a:lnTo>
                  <a:lnTo>
                    <a:pt x="38" y="2272"/>
                  </a:lnTo>
                  <a:lnTo>
                    <a:pt x="29" y="2268"/>
                  </a:lnTo>
                  <a:lnTo>
                    <a:pt x="38" y="2239"/>
                  </a:lnTo>
                  <a:lnTo>
                    <a:pt x="71" y="2223"/>
                  </a:lnTo>
                  <a:lnTo>
                    <a:pt x="71" y="2197"/>
                  </a:lnTo>
                  <a:lnTo>
                    <a:pt x="93" y="2185"/>
                  </a:lnTo>
                  <a:lnTo>
                    <a:pt x="83" y="2161"/>
                  </a:lnTo>
                  <a:lnTo>
                    <a:pt x="76" y="2145"/>
                  </a:lnTo>
                  <a:lnTo>
                    <a:pt x="83" y="2112"/>
                  </a:lnTo>
                  <a:lnTo>
                    <a:pt x="83" y="2107"/>
                  </a:lnTo>
                  <a:lnTo>
                    <a:pt x="126" y="2086"/>
                  </a:lnTo>
                  <a:lnTo>
                    <a:pt x="114" y="2069"/>
                  </a:lnTo>
                  <a:lnTo>
                    <a:pt x="114" y="2046"/>
                  </a:lnTo>
                  <a:lnTo>
                    <a:pt x="130" y="2034"/>
                  </a:lnTo>
                  <a:lnTo>
                    <a:pt x="130" y="1996"/>
                  </a:lnTo>
                  <a:lnTo>
                    <a:pt x="114" y="1991"/>
                  </a:lnTo>
                  <a:lnTo>
                    <a:pt x="135" y="1975"/>
                  </a:lnTo>
                  <a:lnTo>
                    <a:pt x="130" y="1958"/>
                  </a:lnTo>
                  <a:lnTo>
                    <a:pt x="126" y="1942"/>
                  </a:lnTo>
                  <a:lnTo>
                    <a:pt x="130" y="1935"/>
                  </a:lnTo>
                  <a:lnTo>
                    <a:pt x="147" y="1923"/>
                  </a:lnTo>
                  <a:lnTo>
                    <a:pt x="163" y="1906"/>
                  </a:lnTo>
                  <a:lnTo>
                    <a:pt x="135" y="1880"/>
                  </a:lnTo>
                  <a:lnTo>
                    <a:pt x="109" y="1880"/>
                  </a:lnTo>
                  <a:lnTo>
                    <a:pt x="109" y="1864"/>
                  </a:lnTo>
                  <a:lnTo>
                    <a:pt x="163" y="1864"/>
                  </a:lnTo>
                  <a:lnTo>
                    <a:pt x="180" y="1835"/>
                  </a:lnTo>
                  <a:lnTo>
                    <a:pt x="168" y="1831"/>
                  </a:lnTo>
                  <a:lnTo>
                    <a:pt x="126" y="1831"/>
                  </a:lnTo>
                  <a:lnTo>
                    <a:pt x="126" y="1807"/>
                  </a:lnTo>
                  <a:lnTo>
                    <a:pt x="135" y="1791"/>
                  </a:lnTo>
                  <a:lnTo>
                    <a:pt x="126" y="1774"/>
                  </a:lnTo>
                  <a:lnTo>
                    <a:pt x="130" y="1769"/>
                  </a:lnTo>
                  <a:lnTo>
                    <a:pt x="130" y="1758"/>
                  </a:lnTo>
                  <a:lnTo>
                    <a:pt x="114" y="1741"/>
                  </a:lnTo>
                  <a:lnTo>
                    <a:pt x="114" y="1736"/>
                  </a:lnTo>
                  <a:lnTo>
                    <a:pt x="130" y="1736"/>
                  </a:lnTo>
                  <a:lnTo>
                    <a:pt x="130" y="1720"/>
                  </a:lnTo>
                  <a:lnTo>
                    <a:pt x="97" y="1713"/>
                  </a:lnTo>
                  <a:lnTo>
                    <a:pt x="97" y="1668"/>
                  </a:lnTo>
                  <a:lnTo>
                    <a:pt x="109" y="1646"/>
                  </a:lnTo>
                  <a:lnTo>
                    <a:pt x="97" y="1646"/>
                  </a:lnTo>
                  <a:lnTo>
                    <a:pt x="109" y="1630"/>
                  </a:lnTo>
                  <a:lnTo>
                    <a:pt x="114" y="1630"/>
                  </a:lnTo>
                  <a:lnTo>
                    <a:pt x="130" y="1625"/>
                  </a:lnTo>
                  <a:lnTo>
                    <a:pt x="114" y="1592"/>
                  </a:lnTo>
                  <a:lnTo>
                    <a:pt x="126" y="1585"/>
                  </a:lnTo>
                  <a:lnTo>
                    <a:pt x="126" y="1531"/>
                  </a:lnTo>
                  <a:lnTo>
                    <a:pt x="114" y="1514"/>
                  </a:lnTo>
                  <a:lnTo>
                    <a:pt x="126" y="1481"/>
                  </a:lnTo>
                  <a:lnTo>
                    <a:pt x="130" y="1474"/>
                  </a:lnTo>
                  <a:lnTo>
                    <a:pt x="126" y="1465"/>
                  </a:lnTo>
                  <a:lnTo>
                    <a:pt x="135" y="1441"/>
                  </a:lnTo>
                  <a:lnTo>
                    <a:pt x="130" y="1408"/>
                  </a:lnTo>
                  <a:lnTo>
                    <a:pt x="147" y="1420"/>
                  </a:lnTo>
                  <a:lnTo>
                    <a:pt x="152" y="1387"/>
                  </a:lnTo>
                  <a:lnTo>
                    <a:pt x="152" y="1354"/>
                  </a:lnTo>
                  <a:lnTo>
                    <a:pt x="185" y="1337"/>
                  </a:lnTo>
                  <a:lnTo>
                    <a:pt x="189" y="1330"/>
                  </a:lnTo>
                  <a:lnTo>
                    <a:pt x="185" y="1313"/>
                  </a:lnTo>
                  <a:lnTo>
                    <a:pt x="185" y="1280"/>
                  </a:lnTo>
                  <a:lnTo>
                    <a:pt x="168" y="1252"/>
                  </a:lnTo>
                  <a:lnTo>
                    <a:pt x="180" y="1235"/>
                  </a:lnTo>
                  <a:lnTo>
                    <a:pt x="168" y="1219"/>
                  </a:lnTo>
                  <a:lnTo>
                    <a:pt x="180" y="1202"/>
                  </a:lnTo>
                  <a:lnTo>
                    <a:pt x="168" y="1181"/>
                  </a:lnTo>
                  <a:lnTo>
                    <a:pt x="180" y="1153"/>
                  </a:lnTo>
                  <a:lnTo>
                    <a:pt x="201" y="1148"/>
                  </a:lnTo>
                  <a:lnTo>
                    <a:pt x="201" y="1132"/>
                  </a:lnTo>
                  <a:lnTo>
                    <a:pt x="223" y="1124"/>
                  </a:lnTo>
                  <a:lnTo>
                    <a:pt x="232" y="1098"/>
                  </a:lnTo>
                  <a:lnTo>
                    <a:pt x="223" y="1058"/>
                  </a:lnTo>
                  <a:lnTo>
                    <a:pt x="206" y="1054"/>
                  </a:lnTo>
                  <a:lnTo>
                    <a:pt x="223" y="1042"/>
                  </a:lnTo>
                  <a:lnTo>
                    <a:pt x="244" y="976"/>
                  </a:lnTo>
                  <a:lnTo>
                    <a:pt x="260" y="964"/>
                  </a:lnTo>
                  <a:lnTo>
                    <a:pt x="256" y="931"/>
                  </a:lnTo>
                  <a:lnTo>
                    <a:pt x="270" y="905"/>
                  </a:lnTo>
                  <a:lnTo>
                    <a:pt x="260" y="893"/>
                  </a:lnTo>
                  <a:lnTo>
                    <a:pt x="256" y="893"/>
                  </a:lnTo>
                  <a:lnTo>
                    <a:pt x="244" y="888"/>
                  </a:lnTo>
                  <a:lnTo>
                    <a:pt x="256" y="865"/>
                  </a:lnTo>
                  <a:lnTo>
                    <a:pt x="239" y="848"/>
                  </a:lnTo>
                  <a:lnTo>
                    <a:pt x="239" y="832"/>
                  </a:lnTo>
                  <a:lnTo>
                    <a:pt x="232" y="810"/>
                  </a:lnTo>
                  <a:lnTo>
                    <a:pt x="223" y="798"/>
                  </a:lnTo>
                  <a:lnTo>
                    <a:pt x="239" y="782"/>
                  </a:lnTo>
                  <a:lnTo>
                    <a:pt x="223" y="777"/>
                  </a:lnTo>
                  <a:lnTo>
                    <a:pt x="206" y="754"/>
                  </a:lnTo>
                  <a:lnTo>
                    <a:pt x="218" y="725"/>
                  </a:lnTo>
                  <a:lnTo>
                    <a:pt x="232" y="709"/>
                  </a:lnTo>
                  <a:lnTo>
                    <a:pt x="232" y="699"/>
                  </a:lnTo>
                  <a:lnTo>
                    <a:pt x="239" y="666"/>
                  </a:lnTo>
                  <a:lnTo>
                    <a:pt x="256" y="654"/>
                  </a:lnTo>
                  <a:lnTo>
                    <a:pt x="260" y="650"/>
                  </a:lnTo>
                  <a:lnTo>
                    <a:pt x="244" y="576"/>
                  </a:lnTo>
                  <a:lnTo>
                    <a:pt x="270" y="560"/>
                  </a:lnTo>
                  <a:lnTo>
                    <a:pt x="277" y="506"/>
                  </a:lnTo>
                  <a:lnTo>
                    <a:pt x="308" y="477"/>
                  </a:lnTo>
                  <a:lnTo>
                    <a:pt x="331" y="404"/>
                  </a:lnTo>
                  <a:lnTo>
                    <a:pt x="362" y="404"/>
                  </a:lnTo>
                  <a:lnTo>
                    <a:pt x="369" y="387"/>
                  </a:lnTo>
                  <a:lnTo>
                    <a:pt x="345" y="354"/>
                  </a:lnTo>
                  <a:lnTo>
                    <a:pt x="352" y="338"/>
                  </a:lnTo>
                  <a:lnTo>
                    <a:pt x="362" y="333"/>
                  </a:lnTo>
                  <a:lnTo>
                    <a:pt x="345" y="276"/>
                  </a:lnTo>
                  <a:lnTo>
                    <a:pt x="352" y="255"/>
                  </a:lnTo>
                  <a:lnTo>
                    <a:pt x="369" y="255"/>
                  </a:lnTo>
                  <a:lnTo>
                    <a:pt x="352" y="222"/>
                  </a:lnTo>
                  <a:lnTo>
                    <a:pt x="369" y="199"/>
                  </a:lnTo>
                  <a:lnTo>
                    <a:pt x="438" y="165"/>
                  </a:lnTo>
                  <a:lnTo>
                    <a:pt x="466" y="87"/>
                  </a:lnTo>
                  <a:lnTo>
                    <a:pt x="449" y="78"/>
                  </a:lnTo>
                  <a:lnTo>
                    <a:pt x="449" y="78"/>
                  </a:lnTo>
                  <a:lnTo>
                    <a:pt x="449" y="78"/>
                  </a:lnTo>
                  <a:close/>
                  <a:moveTo>
                    <a:pt x="815" y="1387"/>
                  </a:moveTo>
                  <a:lnTo>
                    <a:pt x="799" y="1370"/>
                  </a:lnTo>
                  <a:lnTo>
                    <a:pt x="815" y="1375"/>
                  </a:lnTo>
                  <a:lnTo>
                    <a:pt x="815" y="1387"/>
                  </a:lnTo>
                  <a:lnTo>
                    <a:pt x="815" y="1387"/>
                  </a:lnTo>
                  <a:lnTo>
                    <a:pt x="815" y="1387"/>
                  </a:lnTo>
                  <a:close/>
                  <a:moveTo>
                    <a:pt x="345" y="2806"/>
                  </a:moveTo>
                  <a:lnTo>
                    <a:pt x="345" y="2589"/>
                  </a:lnTo>
                  <a:lnTo>
                    <a:pt x="369" y="2622"/>
                  </a:lnTo>
                  <a:lnTo>
                    <a:pt x="378" y="2639"/>
                  </a:lnTo>
                  <a:lnTo>
                    <a:pt x="362" y="2629"/>
                  </a:lnTo>
                  <a:lnTo>
                    <a:pt x="352" y="2639"/>
                  </a:lnTo>
                  <a:lnTo>
                    <a:pt x="352" y="2646"/>
                  </a:lnTo>
                  <a:lnTo>
                    <a:pt x="378" y="2655"/>
                  </a:lnTo>
                  <a:lnTo>
                    <a:pt x="395" y="2683"/>
                  </a:lnTo>
                  <a:lnTo>
                    <a:pt x="421" y="2712"/>
                  </a:lnTo>
                  <a:lnTo>
                    <a:pt x="421" y="2717"/>
                  </a:lnTo>
                  <a:lnTo>
                    <a:pt x="518" y="2778"/>
                  </a:lnTo>
                  <a:lnTo>
                    <a:pt x="556" y="2790"/>
                  </a:lnTo>
                  <a:lnTo>
                    <a:pt x="593" y="2790"/>
                  </a:lnTo>
                  <a:lnTo>
                    <a:pt x="577" y="2823"/>
                  </a:lnTo>
                  <a:lnTo>
                    <a:pt x="541" y="2811"/>
                  </a:lnTo>
                  <a:lnTo>
                    <a:pt x="504" y="2828"/>
                  </a:lnTo>
                  <a:lnTo>
                    <a:pt x="466" y="2811"/>
                  </a:lnTo>
                  <a:lnTo>
                    <a:pt x="352" y="2811"/>
                  </a:lnTo>
                  <a:lnTo>
                    <a:pt x="345" y="2806"/>
                  </a:lnTo>
                  <a:lnTo>
                    <a:pt x="345" y="2806"/>
                  </a:lnTo>
                  <a:lnTo>
                    <a:pt x="345" y="2806"/>
                  </a:lnTo>
                  <a:close/>
                  <a:moveTo>
                    <a:pt x="626" y="2811"/>
                  </a:moveTo>
                  <a:lnTo>
                    <a:pt x="615" y="2806"/>
                  </a:lnTo>
                  <a:lnTo>
                    <a:pt x="626" y="2806"/>
                  </a:lnTo>
                  <a:lnTo>
                    <a:pt x="686" y="2794"/>
                  </a:lnTo>
                  <a:lnTo>
                    <a:pt x="681" y="2806"/>
                  </a:lnTo>
                  <a:lnTo>
                    <a:pt x="648" y="2806"/>
                  </a:lnTo>
                  <a:lnTo>
                    <a:pt x="626" y="2811"/>
                  </a:lnTo>
                  <a:lnTo>
                    <a:pt x="626" y="2811"/>
                  </a:lnTo>
                  <a:lnTo>
                    <a:pt x="626" y="2811"/>
                  </a:lnTo>
                  <a:close/>
                  <a:moveTo>
                    <a:pt x="345" y="2811"/>
                  </a:moveTo>
                  <a:lnTo>
                    <a:pt x="345" y="2806"/>
                  </a:lnTo>
                  <a:lnTo>
                    <a:pt x="352" y="2811"/>
                  </a:lnTo>
                  <a:lnTo>
                    <a:pt x="345" y="2811"/>
                  </a:lnTo>
                  <a:lnTo>
                    <a:pt x="345" y="2811"/>
                  </a:lnTo>
                  <a:lnTo>
                    <a:pt x="345" y="2811"/>
                  </a:lnTo>
                  <a:close/>
                </a:path>
              </a:pathLst>
            </a:custGeom>
            <a:solidFill>
              <a:schemeClr val="bg2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37" name="Freeform 388">
              <a:extLst>
                <a:ext uri="{FF2B5EF4-FFF2-40B4-BE49-F238E27FC236}">
                  <a16:creationId xmlns:a16="http://schemas.microsoft.com/office/drawing/2014/main" id="{FA3D00A3-DFC1-4E4E-8E68-47519D6999B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377449" y="2853688"/>
              <a:ext cx="495571" cy="562702"/>
            </a:xfrm>
            <a:custGeom>
              <a:avLst/>
              <a:gdLst>
                <a:gd name="T0" fmla="*/ 2050 w 3229"/>
                <a:gd name="T1" fmla="*/ 41 h 3666"/>
                <a:gd name="T2" fmla="*/ 2239 w 3229"/>
                <a:gd name="T3" fmla="*/ 2190 h 3666"/>
                <a:gd name="T4" fmla="*/ 1939 w 3229"/>
                <a:gd name="T5" fmla="*/ 2152 h 3666"/>
                <a:gd name="T6" fmla="*/ 1835 w 3229"/>
                <a:gd name="T7" fmla="*/ 1930 h 3666"/>
                <a:gd name="T8" fmla="*/ 1712 w 3229"/>
                <a:gd name="T9" fmla="*/ 1902 h 3666"/>
                <a:gd name="T10" fmla="*/ 1603 w 3229"/>
                <a:gd name="T11" fmla="*/ 1885 h 3666"/>
                <a:gd name="T12" fmla="*/ 1495 w 3229"/>
                <a:gd name="T13" fmla="*/ 1746 h 3666"/>
                <a:gd name="T14" fmla="*/ 1204 w 3229"/>
                <a:gd name="T15" fmla="*/ 1630 h 3666"/>
                <a:gd name="T16" fmla="*/ 621 w 3229"/>
                <a:gd name="T17" fmla="*/ 1815 h 3666"/>
                <a:gd name="T18" fmla="*/ 309 w 3229"/>
                <a:gd name="T19" fmla="*/ 1902 h 3666"/>
                <a:gd name="T20" fmla="*/ 196 w 3229"/>
                <a:gd name="T21" fmla="*/ 1647 h 3666"/>
                <a:gd name="T22" fmla="*/ 49 w 3229"/>
                <a:gd name="T23" fmla="*/ 1243 h 3666"/>
                <a:gd name="T24" fmla="*/ 33 w 3229"/>
                <a:gd name="T25" fmla="*/ 1071 h 3666"/>
                <a:gd name="T26" fmla="*/ 285 w 3229"/>
                <a:gd name="T27" fmla="*/ 782 h 3666"/>
                <a:gd name="T28" fmla="*/ 649 w 3229"/>
                <a:gd name="T29" fmla="*/ 527 h 3666"/>
                <a:gd name="T30" fmla="*/ 751 w 3229"/>
                <a:gd name="T31" fmla="*/ 482 h 3666"/>
                <a:gd name="T32" fmla="*/ 836 w 3229"/>
                <a:gd name="T33" fmla="*/ 466 h 3666"/>
                <a:gd name="T34" fmla="*/ 848 w 3229"/>
                <a:gd name="T35" fmla="*/ 388 h 3666"/>
                <a:gd name="T36" fmla="*/ 890 w 3229"/>
                <a:gd name="T37" fmla="*/ 305 h 3666"/>
                <a:gd name="T38" fmla="*/ 956 w 3229"/>
                <a:gd name="T39" fmla="*/ 305 h 3666"/>
                <a:gd name="T40" fmla="*/ 1091 w 3229"/>
                <a:gd name="T41" fmla="*/ 362 h 3666"/>
                <a:gd name="T42" fmla="*/ 1171 w 3229"/>
                <a:gd name="T43" fmla="*/ 345 h 3666"/>
                <a:gd name="T44" fmla="*/ 1226 w 3229"/>
                <a:gd name="T45" fmla="*/ 189 h 3666"/>
                <a:gd name="T46" fmla="*/ 1365 w 3229"/>
                <a:gd name="T47" fmla="*/ 156 h 3666"/>
                <a:gd name="T48" fmla="*/ 1419 w 3229"/>
                <a:gd name="T49" fmla="*/ 123 h 3666"/>
                <a:gd name="T50" fmla="*/ 1613 w 3229"/>
                <a:gd name="T51" fmla="*/ 123 h 3666"/>
                <a:gd name="T52" fmla="*/ 1674 w 3229"/>
                <a:gd name="T53" fmla="*/ 156 h 3666"/>
                <a:gd name="T54" fmla="*/ 1603 w 3229"/>
                <a:gd name="T55" fmla="*/ 305 h 3666"/>
                <a:gd name="T56" fmla="*/ 1953 w 3229"/>
                <a:gd name="T57" fmla="*/ 544 h 3666"/>
                <a:gd name="T58" fmla="*/ 2012 w 3229"/>
                <a:gd name="T59" fmla="*/ 178 h 3666"/>
                <a:gd name="T60" fmla="*/ 2121 w 3229"/>
                <a:gd name="T61" fmla="*/ 140 h 3666"/>
                <a:gd name="T62" fmla="*/ 2267 w 3229"/>
                <a:gd name="T63" fmla="*/ 355 h 3666"/>
                <a:gd name="T64" fmla="*/ 2414 w 3229"/>
                <a:gd name="T65" fmla="*/ 676 h 3666"/>
                <a:gd name="T66" fmla="*/ 2548 w 3229"/>
                <a:gd name="T67" fmla="*/ 832 h 3666"/>
                <a:gd name="T68" fmla="*/ 2671 w 3229"/>
                <a:gd name="T69" fmla="*/ 1004 h 3666"/>
                <a:gd name="T70" fmla="*/ 2822 w 3229"/>
                <a:gd name="T71" fmla="*/ 1304 h 3666"/>
                <a:gd name="T72" fmla="*/ 2700 w 3229"/>
                <a:gd name="T73" fmla="*/ 1774 h 3666"/>
                <a:gd name="T74" fmla="*/ 2603 w 3229"/>
                <a:gd name="T75" fmla="*/ 2079 h 3666"/>
                <a:gd name="T76" fmla="*/ 1667 w 3229"/>
                <a:gd name="T77" fmla="*/ 67 h 3666"/>
                <a:gd name="T78" fmla="*/ 1280 w 3229"/>
                <a:gd name="T79" fmla="*/ 100 h 3666"/>
                <a:gd name="T80" fmla="*/ 1226 w 3229"/>
                <a:gd name="T81" fmla="*/ 133 h 3666"/>
                <a:gd name="T82" fmla="*/ 1684 w 3229"/>
                <a:gd name="T83" fmla="*/ 300 h 3666"/>
                <a:gd name="T84" fmla="*/ 1629 w 3229"/>
                <a:gd name="T85" fmla="*/ 279 h 3666"/>
                <a:gd name="T86" fmla="*/ 810 w 3229"/>
                <a:gd name="T87" fmla="*/ 378 h 3666"/>
                <a:gd name="T88" fmla="*/ 1689 w 3229"/>
                <a:gd name="T89" fmla="*/ 428 h 3666"/>
                <a:gd name="T90" fmla="*/ 1835 w 3229"/>
                <a:gd name="T91" fmla="*/ 489 h 3666"/>
                <a:gd name="T92" fmla="*/ 2338 w 3229"/>
                <a:gd name="T93" fmla="*/ 622 h 3666"/>
                <a:gd name="T94" fmla="*/ 2520 w 3229"/>
                <a:gd name="T95" fmla="*/ 745 h 3666"/>
                <a:gd name="T96" fmla="*/ 2629 w 3229"/>
                <a:gd name="T97" fmla="*/ 910 h 3666"/>
                <a:gd name="T98" fmla="*/ 2834 w 3229"/>
                <a:gd name="T99" fmla="*/ 1115 h 3666"/>
                <a:gd name="T100" fmla="*/ 2839 w 3229"/>
                <a:gd name="T101" fmla="*/ 1297 h 3666"/>
                <a:gd name="T102" fmla="*/ 1651 w 3229"/>
                <a:gd name="T103" fmla="*/ 1980 h 3666"/>
                <a:gd name="T104" fmla="*/ 2267 w 3229"/>
                <a:gd name="T105" fmla="*/ 2202 h 3666"/>
                <a:gd name="T106" fmla="*/ 2187 w 3229"/>
                <a:gd name="T107" fmla="*/ 2313 h 3666"/>
                <a:gd name="T108" fmla="*/ 2461 w 3229"/>
                <a:gd name="T109" fmla="*/ 2363 h 3666"/>
                <a:gd name="T110" fmla="*/ 2466 w 3229"/>
                <a:gd name="T111" fmla="*/ 2363 h 3666"/>
                <a:gd name="T112" fmla="*/ 2305 w 3229"/>
                <a:gd name="T113" fmla="*/ 2606 h 3666"/>
                <a:gd name="T114" fmla="*/ 2385 w 3229"/>
                <a:gd name="T115" fmla="*/ 2417 h 3666"/>
                <a:gd name="T116" fmla="*/ 2456 w 3229"/>
                <a:gd name="T117" fmla="*/ 2596 h 3666"/>
                <a:gd name="T118" fmla="*/ 2390 w 3229"/>
                <a:gd name="T119" fmla="*/ 2606 h 3666"/>
                <a:gd name="T120" fmla="*/ 2414 w 3229"/>
                <a:gd name="T121" fmla="*/ 2596 h 36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229" h="3666">
                  <a:moveTo>
                    <a:pt x="2045" y="12"/>
                  </a:moveTo>
                  <a:lnTo>
                    <a:pt x="2045" y="5"/>
                  </a:lnTo>
                  <a:lnTo>
                    <a:pt x="2045" y="0"/>
                  </a:lnTo>
                  <a:lnTo>
                    <a:pt x="2045" y="12"/>
                  </a:lnTo>
                  <a:lnTo>
                    <a:pt x="2045" y="12"/>
                  </a:lnTo>
                  <a:lnTo>
                    <a:pt x="2045" y="12"/>
                  </a:lnTo>
                  <a:close/>
                  <a:moveTo>
                    <a:pt x="2050" y="12"/>
                  </a:moveTo>
                  <a:lnTo>
                    <a:pt x="2050" y="5"/>
                  </a:lnTo>
                  <a:lnTo>
                    <a:pt x="2062" y="12"/>
                  </a:lnTo>
                  <a:lnTo>
                    <a:pt x="2050" y="12"/>
                  </a:lnTo>
                  <a:lnTo>
                    <a:pt x="2050" y="12"/>
                  </a:lnTo>
                  <a:lnTo>
                    <a:pt x="2050" y="12"/>
                  </a:lnTo>
                  <a:close/>
                  <a:moveTo>
                    <a:pt x="2050" y="57"/>
                  </a:moveTo>
                  <a:lnTo>
                    <a:pt x="2045" y="45"/>
                  </a:lnTo>
                  <a:lnTo>
                    <a:pt x="2050" y="41"/>
                  </a:lnTo>
                  <a:lnTo>
                    <a:pt x="2050" y="45"/>
                  </a:lnTo>
                  <a:lnTo>
                    <a:pt x="2050" y="57"/>
                  </a:lnTo>
                  <a:lnTo>
                    <a:pt x="2050" y="57"/>
                  </a:lnTo>
                  <a:lnTo>
                    <a:pt x="2050" y="57"/>
                  </a:lnTo>
                  <a:close/>
                  <a:moveTo>
                    <a:pt x="2348" y="2247"/>
                  </a:moveTo>
                  <a:lnTo>
                    <a:pt x="2331" y="2219"/>
                  </a:lnTo>
                  <a:lnTo>
                    <a:pt x="2305" y="2223"/>
                  </a:lnTo>
                  <a:lnTo>
                    <a:pt x="2305" y="2202"/>
                  </a:lnTo>
                  <a:lnTo>
                    <a:pt x="2293" y="2207"/>
                  </a:lnTo>
                  <a:lnTo>
                    <a:pt x="2277" y="2190"/>
                  </a:lnTo>
                  <a:lnTo>
                    <a:pt x="2284" y="2181"/>
                  </a:lnTo>
                  <a:lnTo>
                    <a:pt x="2277" y="2169"/>
                  </a:lnTo>
                  <a:lnTo>
                    <a:pt x="2267" y="2169"/>
                  </a:lnTo>
                  <a:lnTo>
                    <a:pt x="2251" y="2190"/>
                  </a:lnTo>
                  <a:lnTo>
                    <a:pt x="2239" y="2190"/>
                  </a:lnTo>
                  <a:lnTo>
                    <a:pt x="2229" y="2181"/>
                  </a:lnTo>
                  <a:lnTo>
                    <a:pt x="2246" y="2181"/>
                  </a:lnTo>
                  <a:lnTo>
                    <a:pt x="2251" y="2164"/>
                  </a:lnTo>
                  <a:lnTo>
                    <a:pt x="2246" y="2136"/>
                  </a:lnTo>
                  <a:lnTo>
                    <a:pt x="2196" y="2164"/>
                  </a:lnTo>
                  <a:lnTo>
                    <a:pt x="2225" y="2164"/>
                  </a:lnTo>
                  <a:lnTo>
                    <a:pt x="2225" y="2181"/>
                  </a:lnTo>
                  <a:lnTo>
                    <a:pt x="2196" y="2181"/>
                  </a:lnTo>
                  <a:lnTo>
                    <a:pt x="2142" y="2223"/>
                  </a:lnTo>
                  <a:lnTo>
                    <a:pt x="2062" y="2181"/>
                  </a:lnTo>
                  <a:lnTo>
                    <a:pt x="2045" y="2185"/>
                  </a:lnTo>
                  <a:lnTo>
                    <a:pt x="2024" y="2169"/>
                  </a:lnTo>
                  <a:lnTo>
                    <a:pt x="2007" y="2185"/>
                  </a:lnTo>
                  <a:lnTo>
                    <a:pt x="1977" y="2164"/>
                  </a:lnTo>
                  <a:lnTo>
                    <a:pt x="1939" y="2152"/>
                  </a:lnTo>
                  <a:lnTo>
                    <a:pt x="1873" y="2079"/>
                  </a:lnTo>
                  <a:lnTo>
                    <a:pt x="1873" y="2058"/>
                  </a:lnTo>
                  <a:lnTo>
                    <a:pt x="1885" y="2053"/>
                  </a:lnTo>
                  <a:lnTo>
                    <a:pt x="1885" y="2025"/>
                  </a:lnTo>
                  <a:lnTo>
                    <a:pt x="1873" y="2001"/>
                  </a:lnTo>
                  <a:lnTo>
                    <a:pt x="1830" y="1959"/>
                  </a:lnTo>
                  <a:lnTo>
                    <a:pt x="1852" y="1968"/>
                  </a:lnTo>
                  <a:lnTo>
                    <a:pt x="1873" y="2001"/>
                  </a:lnTo>
                  <a:lnTo>
                    <a:pt x="1868" y="1985"/>
                  </a:lnTo>
                  <a:lnTo>
                    <a:pt x="1835" y="1959"/>
                  </a:lnTo>
                  <a:lnTo>
                    <a:pt x="1835" y="1942"/>
                  </a:lnTo>
                  <a:lnTo>
                    <a:pt x="1847" y="1959"/>
                  </a:lnTo>
                  <a:lnTo>
                    <a:pt x="1852" y="1959"/>
                  </a:lnTo>
                  <a:lnTo>
                    <a:pt x="1852" y="1930"/>
                  </a:lnTo>
                  <a:lnTo>
                    <a:pt x="1835" y="1930"/>
                  </a:lnTo>
                  <a:lnTo>
                    <a:pt x="1818" y="1942"/>
                  </a:lnTo>
                  <a:lnTo>
                    <a:pt x="1830" y="1947"/>
                  </a:lnTo>
                  <a:lnTo>
                    <a:pt x="1809" y="1947"/>
                  </a:lnTo>
                  <a:lnTo>
                    <a:pt x="1792" y="1959"/>
                  </a:lnTo>
                  <a:lnTo>
                    <a:pt x="1759" y="1959"/>
                  </a:lnTo>
                  <a:lnTo>
                    <a:pt x="1792" y="1930"/>
                  </a:lnTo>
                  <a:lnTo>
                    <a:pt x="1792" y="1909"/>
                  </a:lnTo>
                  <a:lnTo>
                    <a:pt x="1792" y="1874"/>
                  </a:lnTo>
                  <a:lnTo>
                    <a:pt x="1759" y="1831"/>
                  </a:lnTo>
                  <a:lnTo>
                    <a:pt x="1755" y="1857"/>
                  </a:lnTo>
                  <a:lnTo>
                    <a:pt x="1738" y="1914"/>
                  </a:lnTo>
                  <a:lnTo>
                    <a:pt x="1722" y="1909"/>
                  </a:lnTo>
                  <a:lnTo>
                    <a:pt x="1674" y="1926"/>
                  </a:lnTo>
                  <a:lnTo>
                    <a:pt x="1689" y="1893"/>
                  </a:lnTo>
                  <a:lnTo>
                    <a:pt x="1712" y="1902"/>
                  </a:lnTo>
                  <a:lnTo>
                    <a:pt x="1722" y="1874"/>
                  </a:lnTo>
                  <a:lnTo>
                    <a:pt x="1722" y="1836"/>
                  </a:lnTo>
                  <a:lnTo>
                    <a:pt x="1726" y="1815"/>
                  </a:lnTo>
                  <a:lnTo>
                    <a:pt x="1755" y="1791"/>
                  </a:lnTo>
                  <a:lnTo>
                    <a:pt x="1743" y="1765"/>
                  </a:lnTo>
                  <a:lnTo>
                    <a:pt x="1759" y="1746"/>
                  </a:lnTo>
                  <a:lnTo>
                    <a:pt x="1738" y="1704"/>
                  </a:lnTo>
                  <a:lnTo>
                    <a:pt x="1743" y="1741"/>
                  </a:lnTo>
                  <a:lnTo>
                    <a:pt x="1722" y="1746"/>
                  </a:lnTo>
                  <a:lnTo>
                    <a:pt x="1700" y="1798"/>
                  </a:lnTo>
                  <a:lnTo>
                    <a:pt x="1684" y="1798"/>
                  </a:lnTo>
                  <a:lnTo>
                    <a:pt x="1674" y="1803"/>
                  </a:lnTo>
                  <a:lnTo>
                    <a:pt x="1646" y="1819"/>
                  </a:lnTo>
                  <a:lnTo>
                    <a:pt x="1613" y="1869"/>
                  </a:lnTo>
                  <a:lnTo>
                    <a:pt x="1603" y="1885"/>
                  </a:lnTo>
                  <a:lnTo>
                    <a:pt x="1613" y="1885"/>
                  </a:lnTo>
                  <a:lnTo>
                    <a:pt x="1613" y="1902"/>
                  </a:lnTo>
                  <a:lnTo>
                    <a:pt x="1599" y="1893"/>
                  </a:lnTo>
                  <a:lnTo>
                    <a:pt x="1592" y="1902"/>
                  </a:lnTo>
                  <a:lnTo>
                    <a:pt x="1566" y="1869"/>
                  </a:lnTo>
                  <a:lnTo>
                    <a:pt x="1549" y="1869"/>
                  </a:lnTo>
                  <a:lnTo>
                    <a:pt x="1561" y="1852"/>
                  </a:lnTo>
                  <a:lnTo>
                    <a:pt x="1575" y="1874"/>
                  </a:lnTo>
                  <a:lnTo>
                    <a:pt x="1582" y="1869"/>
                  </a:lnTo>
                  <a:lnTo>
                    <a:pt x="1575" y="1869"/>
                  </a:lnTo>
                  <a:lnTo>
                    <a:pt x="1566" y="1819"/>
                  </a:lnTo>
                  <a:lnTo>
                    <a:pt x="1537" y="1791"/>
                  </a:lnTo>
                  <a:lnTo>
                    <a:pt x="1537" y="1782"/>
                  </a:lnTo>
                  <a:lnTo>
                    <a:pt x="1528" y="1758"/>
                  </a:lnTo>
                  <a:lnTo>
                    <a:pt x="1495" y="1746"/>
                  </a:lnTo>
                  <a:lnTo>
                    <a:pt x="1485" y="1720"/>
                  </a:lnTo>
                  <a:lnTo>
                    <a:pt x="1490" y="1725"/>
                  </a:lnTo>
                  <a:lnTo>
                    <a:pt x="1495" y="1720"/>
                  </a:lnTo>
                  <a:lnTo>
                    <a:pt x="1490" y="1704"/>
                  </a:lnTo>
                  <a:lnTo>
                    <a:pt x="1469" y="1704"/>
                  </a:lnTo>
                  <a:lnTo>
                    <a:pt x="1474" y="1692"/>
                  </a:lnTo>
                  <a:lnTo>
                    <a:pt x="1452" y="1670"/>
                  </a:lnTo>
                  <a:lnTo>
                    <a:pt x="1436" y="1680"/>
                  </a:lnTo>
                  <a:lnTo>
                    <a:pt x="1415" y="1680"/>
                  </a:lnTo>
                  <a:lnTo>
                    <a:pt x="1386" y="1654"/>
                  </a:lnTo>
                  <a:lnTo>
                    <a:pt x="1351" y="1663"/>
                  </a:lnTo>
                  <a:lnTo>
                    <a:pt x="1322" y="1637"/>
                  </a:lnTo>
                  <a:lnTo>
                    <a:pt x="1275" y="1614"/>
                  </a:lnTo>
                  <a:lnTo>
                    <a:pt x="1252" y="1630"/>
                  </a:lnTo>
                  <a:lnTo>
                    <a:pt x="1204" y="1630"/>
                  </a:lnTo>
                  <a:lnTo>
                    <a:pt x="1129" y="1637"/>
                  </a:lnTo>
                  <a:lnTo>
                    <a:pt x="1058" y="1670"/>
                  </a:lnTo>
                  <a:lnTo>
                    <a:pt x="1003" y="1687"/>
                  </a:lnTo>
                  <a:lnTo>
                    <a:pt x="911" y="1680"/>
                  </a:lnTo>
                  <a:lnTo>
                    <a:pt x="826" y="1737"/>
                  </a:lnTo>
                  <a:lnTo>
                    <a:pt x="793" y="1741"/>
                  </a:lnTo>
                  <a:lnTo>
                    <a:pt x="784" y="1746"/>
                  </a:lnTo>
                  <a:lnTo>
                    <a:pt x="772" y="1791"/>
                  </a:lnTo>
                  <a:lnTo>
                    <a:pt x="755" y="1803"/>
                  </a:lnTo>
                  <a:lnTo>
                    <a:pt x="718" y="1819"/>
                  </a:lnTo>
                  <a:lnTo>
                    <a:pt x="701" y="1815"/>
                  </a:lnTo>
                  <a:lnTo>
                    <a:pt x="659" y="1815"/>
                  </a:lnTo>
                  <a:lnTo>
                    <a:pt x="642" y="1819"/>
                  </a:lnTo>
                  <a:lnTo>
                    <a:pt x="633" y="1803"/>
                  </a:lnTo>
                  <a:lnTo>
                    <a:pt x="621" y="1815"/>
                  </a:lnTo>
                  <a:lnTo>
                    <a:pt x="595" y="1803"/>
                  </a:lnTo>
                  <a:lnTo>
                    <a:pt x="557" y="1815"/>
                  </a:lnTo>
                  <a:lnTo>
                    <a:pt x="524" y="1819"/>
                  </a:lnTo>
                  <a:lnTo>
                    <a:pt x="498" y="1815"/>
                  </a:lnTo>
                  <a:lnTo>
                    <a:pt x="465" y="1831"/>
                  </a:lnTo>
                  <a:lnTo>
                    <a:pt x="448" y="1857"/>
                  </a:lnTo>
                  <a:lnTo>
                    <a:pt x="444" y="1857"/>
                  </a:lnTo>
                  <a:lnTo>
                    <a:pt x="415" y="1857"/>
                  </a:lnTo>
                  <a:lnTo>
                    <a:pt x="373" y="1893"/>
                  </a:lnTo>
                  <a:lnTo>
                    <a:pt x="340" y="1909"/>
                  </a:lnTo>
                  <a:lnTo>
                    <a:pt x="356" y="1909"/>
                  </a:lnTo>
                  <a:lnTo>
                    <a:pt x="352" y="1914"/>
                  </a:lnTo>
                  <a:lnTo>
                    <a:pt x="335" y="1909"/>
                  </a:lnTo>
                  <a:lnTo>
                    <a:pt x="323" y="1914"/>
                  </a:lnTo>
                  <a:lnTo>
                    <a:pt x="309" y="1902"/>
                  </a:lnTo>
                  <a:lnTo>
                    <a:pt x="255" y="1909"/>
                  </a:lnTo>
                  <a:lnTo>
                    <a:pt x="210" y="1885"/>
                  </a:lnTo>
                  <a:lnTo>
                    <a:pt x="189" y="1857"/>
                  </a:lnTo>
                  <a:lnTo>
                    <a:pt x="163" y="1848"/>
                  </a:lnTo>
                  <a:lnTo>
                    <a:pt x="158" y="1852"/>
                  </a:lnTo>
                  <a:lnTo>
                    <a:pt x="146" y="1848"/>
                  </a:lnTo>
                  <a:lnTo>
                    <a:pt x="141" y="1782"/>
                  </a:lnTo>
                  <a:lnTo>
                    <a:pt x="158" y="1791"/>
                  </a:lnTo>
                  <a:lnTo>
                    <a:pt x="172" y="1791"/>
                  </a:lnTo>
                  <a:lnTo>
                    <a:pt x="196" y="1765"/>
                  </a:lnTo>
                  <a:lnTo>
                    <a:pt x="189" y="1720"/>
                  </a:lnTo>
                  <a:lnTo>
                    <a:pt x="196" y="1704"/>
                  </a:lnTo>
                  <a:lnTo>
                    <a:pt x="189" y="1708"/>
                  </a:lnTo>
                  <a:lnTo>
                    <a:pt x="196" y="1725"/>
                  </a:lnTo>
                  <a:lnTo>
                    <a:pt x="196" y="1647"/>
                  </a:lnTo>
                  <a:lnTo>
                    <a:pt x="146" y="1543"/>
                  </a:lnTo>
                  <a:lnTo>
                    <a:pt x="141" y="1503"/>
                  </a:lnTo>
                  <a:lnTo>
                    <a:pt x="141" y="1465"/>
                  </a:lnTo>
                  <a:lnTo>
                    <a:pt x="134" y="1441"/>
                  </a:lnTo>
                  <a:lnTo>
                    <a:pt x="120" y="1408"/>
                  </a:lnTo>
                  <a:lnTo>
                    <a:pt x="108" y="1387"/>
                  </a:lnTo>
                  <a:lnTo>
                    <a:pt x="87" y="1354"/>
                  </a:lnTo>
                  <a:lnTo>
                    <a:pt x="87" y="1314"/>
                  </a:lnTo>
                  <a:lnTo>
                    <a:pt x="70" y="1281"/>
                  </a:lnTo>
                  <a:lnTo>
                    <a:pt x="16" y="1210"/>
                  </a:lnTo>
                  <a:lnTo>
                    <a:pt x="28" y="1193"/>
                  </a:lnTo>
                  <a:lnTo>
                    <a:pt x="28" y="1210"/>
                  </a:lnTo>
                  <a:lnTo>
                    <a:pt x="33" y="1203"/>
                  </a:lnTo>
                  <a:lnTo>
                    <a:pt x="37" y="1210"/>
                  </a:lnTo>
                  <a:lnTo>
                    <a:pt x="49" y="1243"/>
                  </a:lnTo>
                  <a:lnTo>
                    <a:pt x="66" y="1226"/>
                  </a:lnTo>
                  <a:lnTo>
                    <a:pt x="66" y="1210"/>
                  </a:lnTo>
                  <a:lnTo>
                    <a:pt x="37" y="1193"/>
                  </a:lnTo>
                  <a:lnTo>
                    <a:pt x="33" y="1170"/>
                  </a:lnTo>
                  <a:lnTo>
                    <a:pt x="37" y="1153"/>
                  </a:lnTo>
                  <a:lnTo>
                    <a:pt x="54" y="1182"/>
                  </a:lnTo>
                  <a:lnTo>
                    <a:pt x="54" y="1203"/>
                  </a:lnTo>
                  <a:lnTo>
                    <a:pt x="66" y="1193"/>
                  </a:lnTo>
                  <a:lnTo>
                    <a:pt x="82" y="1226"/>
                  </a:lnTo>
                  <a:lnTo>
                    <a:pt x="87" y="1210"/>
                  </a:lnTo>
                  <a:lnTo>
                    <a:pt x="87" y="1203"/>
                  </a:lnTo>
                  <a:lnTo>
                    <a:pt x="92" y="1182"/>
                  </a:lnTo>
                  <a:lnTo>
                    <a:pt x="54" y="1127"/>
                  </a:lnTo>
                  <a:lnTo>
                    <a:pt x="49" y="1094"/>
                  </a:lnTo>
                  <a:lnTo>
                    <a:pt x="33" y="1071"/>
                  </a:lnTo>
                  <a:lnTo>
                    <a:pt x="37" y="1021"/>
                  </a:lnTo>
                  <a:lnTo>
                    <a:pt x="54" y="1000"/>
                  </a:lnTo>
                  <a:lnTo>
                    <a:pt x="66" y="959"/>
                  </a:lnTo>
                  <a:lnTo>
                    <a:pt x="49" y="931"/>
                  </a:lnTo>
                  <a:lnTo>
                    <a:pt x="70" y="889"/>
                  </a:lnTo>
                  <a:lnTo>
                    <a:pt x="87" y="872"/>
                  </a:lnTo>
                  <a:lnTo>
                    <a:pt x="82" y="893"/>
                  </a:lnTo>
                  <a:lnTo>
                    <a:pt x="87" y="926"/>
                  </a:lnTo>
                  <a:lnTo>
                    <a:pt x="104" y="915"/>
                  </a:lnTo>
                  <a:lnTo>
                    <a:pt x="120" y="872"/>
                  </a:lnTo>
                  <a:lnTo>
                    <a:pt x="179" y="848"/>
                  </a:lnTo>
                  <a:lnTo>
                    <a:pt x="210" y="815"/>
                  </a:lnTo>
                  <a:lnTo>
                    <a:pt x="264" y="782"/>
                  </a:lnTo>
                  <a:lnTo>
                    <a:pt x="271" y="794"/>
                  </a:lnTo>
                  <a:lnTo>
                    <a:pt x="285" y="782"/>
                  </a:lnTo>
                  <a:lnTo>
                    <a:pt x="309" y="794"/>
                  </a:lnTo>
                  <a:lnTo>
                    <a:pt x="335" y="782"/>
                  </a:lnTo>
                  <a:lnTo>
                    <a:pt x="361" y="761"/>
                  </a:lnTo>
                  <a:lnTo>
                    <a:pt x="411" y="761"/>
                  </a:lnTo>
                  <a:lnTo>
                    <a:pt x="432" y="733"/>
                  </a:lnTo>
                  <a:lnTo>
                    <a:pt x="465" y="745"/>
                  </a:lnTo>
                  <a:lnTo>
                    <a:pt x="519" y="728"/>
                  </a:lnTo>
                  <a:lnTo>
                    <a:pt x="566" y="704"/>
                  </a:lnTo>
                  <a:lnTo>
                    <a:pt x="595" y="671"/>
                  </a:lnTo>
                  <a:lnTo>
                    <a:pt x="621" y="617"/>
                  </a:lnTo>
                  <a:lnTo>
                    <a:pt x="633" y="617"/>
                  </a:lnTo>
                  <a:lnTo>
                    <a:pt x="659" y="593"/>
                  </a:lnTo>
                  <a:lnTo>
                    <a:pt x="659" y="584"/>
                  </a:lnTo>
                  <a:lnTo>
                    <a:pt x="649" y="577"/>
                  </a:lnTo>
                  <a:lnTo>
                    <a:pt x="649" y="527"/>
                  </a:lnTo>
                  <a:lnTo>
                    <a:pt x="663" y="511"/>
                  </a:lnTo>
                  <a:lnTo>
                    <a:pt x="675" y="506"/>
                  </a:lnTo>
                  <a:lnTo>
                    <a:pt x="675" y="499"/>
                  </a:lnTo>
                  <a:lnTo>
                    <a:pt x="687" y="489"/>
                  </a:lnTo>
                  <a:lnTo>
                    <a:pt x="687" y="482"/>
                  </a:lnTo>
                  <a:lnTo>
                    <a:pt x="696" y="466"/>
                  </a:lnTo>
                  <a:lnTo>
                    <a:pt x="713" y="466"/>
                  </a:lnTo>
                  <a:lnTo>
                    <a:pt x="701" y="482"/>
                  </a:lnTo>
                  <a:lnTo>
                    <a:pt x="739" y="556"/>
                  </a:lnTo>
                  <a:lnTo>
                    <a:pt x="751" y="511"/>
                  </a:lnTo>
                  <a:lnTo>
                    <a:pt x="772" y="527"/>
                  </a:lnTo>
                  <a:lnTo>
                    <a:pt x="755" y="511"/>
                  </a:lnTo>
                  <a:lnTo>
                    <a:pt x="767" y="506"/>
                  </a:lnTo>
                  <a:lnTo>
                    <a:pt x="755" y="506"/>
                  </a:lnTo>
                  <a:lnTo>
                    <a:pt x="751" y="482"/>
                  </a:lnTo>
                  <a:lnTo>
                    <a:pt x="734" y="473"/>
                  </a:lnTo>
                  <a:lnTo>
                    <a:pt x="751" y="473"/>
                  </a:lnTo>
                  <a:lnTo>
                    <a:pt x="755" y="466"/>
                  </a:lnTo>
                  <a:lnTo>
                    <a:pt x="755" y="456"/>
                  </a:lnTo>
                  <a:lnTo>
                    <a:pt x="739" y="456"/>
                  </a:lnTo>
                  <a:lnTo>
                    <a:pt x="739" y="449"/>
                  </a:lnTo>
                  <a:lnTo>
                    <a:pt x="755" y="449"/>
                  </a:lnTo>
                  <a:lnTo>
                    <a:pt x="767" y="449"/>
                  </a:lnTo>
                  <a:lnTo>
                    <a:pt x="755" y="456"/>
                  </a:lnTo>
                  <a:lnTo>
                    <a:pt x="767" y="466"/>
                  </a:lnTo>
                  <a:lnTo>
                    <a:pt x="772" y="456"/>
                  </a:lnTo>
                  <a:lnTo>
                    <a:pt x="789" y="456"/>
                  </a:lnTo>
                  <a:lnTo>
                    <a:pt x="789" y="466"/>
                  </a:lnTo>
                  <a:lnTo>
                    <a:pt x="805" y="466"/>
                  </a:lnTo>
                  <a:lnTo>
                    <a:pt x="836" y="466"/>
                  </a:lnTo>
                  <a:lnTo>
                    <a:pt x="805" y="456"/>
                  </a:lnTo>
                  <a:lnTo>
                    <a:pt x="805" y="445"/>
                  </a:lnTo>
                  <a:lnTo>
                    <a:pt x="810" y="449"/>
                  </a:lnTo>
                  <a:lnTo>
                    <a:pt x="822" y="445"/>
                  </a:lnTo>
                  <a:lnTo>
                    <a:pt x="822" y="433"/>
                  </a:lnTo>
                  <a:lnTo>
                    <a:pt x="826" y="428"/>
                  </a:lnTo>
                  <a:lnTo>
                    <a:pt x="822" y="416"/>
                  </a:lnTo>
                  <a:lnTo>
                    <a:pt x="810" y="433"/>
                  </a:lnTo>
                  <a:lnTo>
                    <a:pt x="805" y="428"/>
                  </a:lnTo>
                  <a:lnTo>
                    <a:pt x="805" y="400"/>
                  </a:lnTo>
                  <a:lnTo>
                    <a:pt x="822" y="395"/>
                  </a:lnTo>
                  <a:lnTo>
                    <a:pt x="826" y="378"/>
                  </a:lnTo>
                  <a:lnTo>
                    <a:pt x="859" y="400"/>
                  </a:lnTo>
                  <a:lnTo>
                    <a:pt x="848" y="395"/>
                  </a:lnTo>
                  <a:lnTo>
                    <a:pt x="848" y="388"/>
                  </a:lnTo>
                  <a:lnTo>
                    <a:pt x="836" y="388"/>
                  </a:lnTo>
                  <a:lnTo>
                    <a:pt x="848" y="371"/>
                  </a:lnTo>
                  <a:lnTo>
                    <a:pt x="836" y="378"/>
                  </a:lnTo>
                  <a:lnTo>
                    <a:pt x="836" y="371"/>
                  </a:lnTo>
                  <a:lnTo>
                    <a:pt x="848" y="362"/>
                  </a:lnTo>
                  <a:lnTo>
                    <a:pt x="859" y="378"/>
                  </a:lnTo>
                  <a:lnTo>
                    <a:pt x="859" y="362"/>
                  </a:lnTo>
                  <a:lnTo>
                    <a:pt x="864" y="371"/>
                  </a:lnTo>
                  <a:lnTo>
                    <a:pt x="874" y="371"/>
                  </a:lnTo>
                  <a:lnTo>
                    <a:pt x="859" y="362"/>
                  </a:lnTo>
                  <a:lnTo>
                    <a:pt x="864" y="355"/>
                  </a:lnTo>
                  <a:lnTo>
                    <a:pt x="859" y="345"/>
                  </a:lnTo>
                  <a:lnTo>
                    <a:pt x="864" y="334"/>
                  </a:lnTo>
                  <a:lnTo>
                    <a:pt x="890" y="334"/>
                  </a:lnTo>
                  <a:lnTo>
                    <a:pt x="890" y="305"/>
                  </a:lnTo>
                  <a:lnTo>
                    <a:pt x="897" y="305"/>
                  </a:lnTo>
                  <a:lnTo>
                    <a:pt x="890" y="338"/>
                  </a:lnTo>
                  <a:lnTo>
                    <a:pt x="897" y="317"/>
                  </a:lnTo>
                  <a:lnTo>
                    <a:pt x="902" y="322"/>
                  </a:lnTo>
                  <a:lnTo>
                    <a:pt x="911" y="338"/>
                  </a:lnTo>
                  <a:lnTo>
                    <a:pt x="918" y="334"/>
                  </a:lnTo>
                  <a:lnTo>
                    <a:pt x="928" y="300"/>
                  </a:lnTo>
                  <a:lnTo>
                    <a:pt x="918" y="284"/>
                  </a:lnTo>
                  <a:lnTo>
                    <a:pt x="928" y="284"/>
                  </a:lnTo>
                  <a:lnTo>
                    <a:pt x="928" y="289"/>
                  </a:lnTo>
                  <a:lnTo>
                    <a:pt x="935" y="305"/>
                  </a:lnTo>
                  <a:lnTo>
                    <a:pt x="944" y="289"/>
                  </a:lnTo>
                  <a:lnTo>
                    <a:pt x="949" y="284"/>
                  </a:lnTo>
                  <a:lnTo>
                    <a:pt x="949" y="289"/>
                  </a:lnTo>
                  <a:lnTo>
                    <a:pt x="956" y="305"/>
                  </a:lnTo>
                  <a:lnTo>
                    <a:pt x="973" y="284"/>
                  </a:lnTo>
                  <a:lnTo>
                    <a:pt x="966" y="279"/>
                  </a:lnTo>
                  <a:lnTo>
                    <a:pt x="973" y="267"/>
                  </a:lnTo>
                  <a:lnTo>
                    <a:pt x="987" y="279"/>
                  </a:lnTo>
                  <a:lnTo>
                    <a:pt x="999" y="284"/>
                  </a:lnTo>
                  <a:lnTo>
                    <a:pt x="1011" y="284"/>
                  </a:lnTo>
                  <a:lnTo>
                    <a:pt x="1053" y="334"/>
                  </a:lnTo>
                  <a:lnTo>
                    <a:pt x="1063" y="338"/>
                  </a:lnTo>
                  <a:lnTo>
                    <a:pt x="1058" y="400"/>
                  </a:lnTo>
                  <a:lnTo>
                    <a:pt x="1063" y="378"/>
                  </a:lnTo>
                  <a:lnTo>
                    <a:pt x="1074" y="395"/>
                  </a:lnTo>
                  <a:lnTo>
                    <a:pt x="1063" y="371"/>
                  </a:lnTo>
                  <a:lnTo>
                    <a:pt x="1079" y="355"/>
                  </a:lnTo>
                  <a:lnTo>
                    <a:pt x="1079" y="362"/>
                  </a:lnTo>
                  <a:lnTo>
                    <a:pt x="1091" y="362"/>
                  </a:lnTo>
                  <a:lnTo>
                    <a:pt x="1079" y="345"/>
                  </a:lnTo>
                  <a:lnTo>
                    <a:pt x="1096" y="345"/>
                  </a:lnTo>
                  <a:lnTo>
                    <a:pt x="1133" y="355"/>
                  </a:lnTo>
                  <a:lnTo>
                    <a:pt x="1133" y="362"/>
                  </a:lnTo>
                  <a:lnTo>
                    <a:pt x="1133" y="378"/>
                  </a:lnTo>
                  <a:lnTo>
                    <a:pt x="1145" y="371"/>
                  </a:lnTo>
                  <a:lnTo>
                    <a:pt x="1145" y="355"/>
                  </a:lnTo>
                  <a:lnTo>
                    <a:pt x="1150" y="355"/>
                  </a:lnTo>
                  <a:lnTo>
                    <a:pt x="1171" y="378"/>
                  </a:lnTo>
                  <a:lnTo>
                    <a:pt x="1166" y="362"/>
                  </a:lnTo>
                  <a:lnTo>
                    <a:pt x="1171" y="345"/>
                  </a:lnTo>
                  <a:lnTo>
                    <a:pt x="1183" y="355"/>
                  </a:lnTo>
                  <a:lnTo>
                    <a:pt x="1188" y="345"/>
                  </a:lnTo>
                  <a:lnTo>
                    <a:pt x="1183" y="345"/>
                  </a:lnTo>
                  <a:lnTo>
                    <a:pt x="1171" y="345"/>
                  </a:lnTo>
                  <a:lnTo>
                    <a:pt x="1166" y="334"/>
                  </a:lnTo>
                  <a:lnTo>
                    <a:pt x="1183" y="334"/>
                  </a:lnTo>
                  <a:lnTo>
                    <a:pt x="1166" y="334"/>
                  </a:lnTo>
                  <a:lnTo>
                    <a:pt x="1150" y="322"/>
                  </a:lnTo>
                  <a:lnTo>
                    <a:pt x="1150" y="317"/>
                  </a:lnTo>
                  <a:lnTo>
                    <a:pt x="1162" y="300"/>
                  </a:lnTo>
                  <a:lnTo>
                    <a:pt x="1171" y="289"/>
                  </a:lnTo>
                  <a:lnTo>
                    <a:pt x="1188" y="251"/>
                  </a:lnTo>
                  <a:lnTo>
                    <a:pt x="1200" y="251"/>
                  </a:lnTo>
                  <a:lnTo>
                    <a:pt x="1214" y="234"/>
                  </a:lnTo>
                  <a:lnTo>
                    <a:pt x="1204" y="227"/>
                  </a:lnTo>
                  <a:lnTo>
                    <a:pt x="1204" y="211"/>
                  </a:lnTo>
                  <a:lnTo>
                    <a:pt x="1221" y="211"/>
                  </a:lnTo>
                  <a:lnTo>
                    <a:pt x="1221" y="189"/>
                  </a:lnTo>
                  <a:lnTo>
                    <a:pt x="1226" y="189"/>
                  </a:lnTo>
                  <a:lnTo>
                    <a:pt x="1242" y="194"/>
                  </a:lnTo>
                  <a:lnTo>
                    <a:pt x="1237" y="189"/>
                  </a:lnTo>
                  <a:lnTo>
                    <a:pt x="1237" y="173"/>
                  </a:lnTo>
                  <a:lnTo>
                    <a:pt x="1252" y="173"/>
                  </a:lnTo>
                  <a:lnTo>
                    <a:pt x="1259" y="189"/>
                  </a:lnTo>
                  <a:lnTo>
                    <a:pt x="1268" y="178"/>
                  </a:lnTo>
                  <a:lnTo>
                    <a:pt x="1252" y="173"/>
                  </a:lnTo>
                  <a:lnTo>
                    <a:pt x="1259" y="168"/>
                  </a:lnTo>
                  <a:lnTo>
                    <a:pt x="1268" y="173"/>
                  </a:lnTo>
                  <a:lnTo>
                    <a:pt x="1268" y="156"/>
                  </a:lnTo>
                  <a:lnTo>
                    <a:pt x="1296" y="168"/>
                  </a:lnTo>
                  <a:lnTo>
                    <a:pt x="1344" y="168"/>
                  </a:lnTo>
                  <a:lnTo>
                    <a:pt x="1360" y="156"/>
                  </a:lnTo>
                  <a:lnTo>
                    <a:pt x="1365" y="173"/>
                  </a:lnTo>
                  <a:lnTo>
                    <a:pt x="1365" y="156"/>
                  </a:lnTo>
                  <a:lnTo>
                    <a:pt x="1386" y="152"/>
                  </a:lnTo>
                  <a:lnTo>
                    <a:pt x="1381" y="152"/>
                  </a:lnTo>
                  <a:lnTo>
                    <a:pt x="1381" y="116"/>
                  </a:lnTo>
                  <a:lnTo>
                    <a:pt x="1365" y="100"/>
                  </a:lnTo>
                  <a:lnTo>
                    <a:pt x="1344" y="111"/>
                  </a:lnTo>
                  <a:lnTo>
                    <a:pt x="1334" y="95"/>
                  </a:lnTo>
                  <a:lnTo>
                    <a:pt x="1322" y="95"/>
                  </a:lnTo>
                  <a:lnTo>
                    <a:pt x="1334" y="78"/>
                  </a:lnTo>
                  <a:lnTo>
                    <a:pt x="1351" y="100"/>
                  </a:lnTo>
                  <a:lnTo>
                    <a:pt x="1351" y="95"/>
                  </a:lnTo>
                  <a:lnTo>
                    <a:pt x="1344" y="78"/>
                  </a:lnTo>
                  <a:lnTo>
                    <a:pt x="1360" y="78"/>
                  </a:lnTo>
                  <a:lnTo>
                    <a:pt x="1381" y="111"/>
                  </a:lnTo>
                  <a:lnTo>
                    <a:pt x="1398" y="95"/>
                  </a:lnTo>
                  <a:lnTo>
                    <a:pt x="1419" y="123"/>
                  </a:lnTo>
                  <a:lnTo>
                    <a:pt x="1431" y="116"/>
                  </a:lnTo>
                  <a:lnTo>
                    <a:pt x="1452" y="133"/>
                  </a:lnTo>
                  <a:lnTo>
                    <a:pt x="1469" y="123"/>
                  </a:lnTo>
                  <a:lnTo>
                    <a:pt x="1469" y="133"/>
                  </a:lnTo>
                  <a:lnTo>
                    <a:pt x="1474" y="133"/>
                  </a:lnTo>
                  <a:lnTo>
                    <a:pt x="1485" y="133"/>
                  </a:lnTo>
                  <a:lnTo>
                    <a:pt x="1490" y="152"/>
                  </a:lnTo>
                  <a:lnTo>
                    <a:pt x="1528" y="140"/>
                  </a:lnTo>
                  <a:lnTo>
                    <a:pt x="1537" y="152"/>
                  </a:lnTo>
                  <a:lnTo>
                    <a:pt x="1561" y="168"/>
                  </a:lnTo>
                  <a:lnTo>
                    <a:pt x="1566" y="152"/>
                  </a:lnTo>
                  <a:lnTo>
                    <a:pt x="1592" y="152"/>
                  </a:lnTo>
                  <a:lnTo>
                    <a:pt x="1592" y="140"/>
                  </a:lnTo>
                  <a:lnTo>
                    <a:pt x="1599" y="140"/>
                  </a:lnTo>
                  <a:lnTo>
                    <a:pt x="1613" y="123"/>
                  </a:lnTo>
                  <a:lnTo>
                    <a:pt x="1599" y="140"/>
                  </a:lnTo>
                  <a:lnTo>
                    <a:pt x="1599" y="152"/>
                  </a:lnTo>
                  <a:lnTo>
                    <a:pt x="1592" y="156"/>
                  </a:lnTo>
                  <a:lnTo>
                    <a:pt x="1599" y="168"/>
                  </a:lnTo>
                  <a:lnTo>
                    <a:pt x="1620" y="152"/>
                  </a:lnTo>
                  <a:lnTo>
                    <a:pt x="1613" y="156"/>
                  </a:lnTo>
                  <a:lnTo>
                    <a:pt x="1620" y="156"/>
                  </a:lnTo>
                  <a:lnTo>
                    <a:pt x="1613" y="173"/>
                  </a:lnTo>
                  <a:lnTo>
                    <a:pt x="1620" y="178"/>
                  </a:lnTo>
                  <a:lnTo>
                    <a:pt x="1637" y="173"/>
                  </a:lnTo>
                  <a:lnTo>
                    <a:pt x="1646" y="156"/>
                  </a:lnTo>
                  <a:lnTo>
                    <a:pt x="1629" y="156"/>
                  </a:lnTo>
                  <a:lnTo>
                    <a:pt x="1658" y="140"/>
                  </a:lnTo>
                  <a:lnTo>
                    <a:pt x="1658" y="168"/>
                  </a:lnTo>
                  <a:lnTo>
                    <a:pt x="1674" y="156"/>
                  </a:lnTo>
                  <a:lnTo>
                    <a:pt x="1684" y="173"/>
                  </a:lnTo>
                  <a:lnTo>
                    <a:pt x="1667" y="178"/>
                  </a:lnTo>
                  <a:lnTo>
                    <a:pt x="1658" y="206"/>
                  </a:lnTo>
                  <a:lnTo>
                    <a:pt x="1651" y="194"/>
                  </a:lnTo>
                  <a:lnTo>
                    <a:pt x="1651" y="222"/>
                  </a:lnTo>
                  <a:lnTo>
                    <a:pt x="1651" y="234"/>
                  </a:lnTo>
                  <a:lnTo>
                    <a:pt x="1646" y="234"/>
                  </a:lnTo>
                  <a:lnTo>
                    <a:pt x="1646" y="222"/>
                  </a:lnTo>
                  <a:lnTo>
                    <a:pt x="1629" y="234"/>
                  </a:lnTo>
                  <a:lnTo>
                    <a:pt x="1620" y="227"/>
                  </a:lnTo>
                  <a:lnTo>
                    <a:pt x="1613" y="234"/>
                  </a:lnTo>
                  <a:lnTo>
                    <a:pt x="1603" y="260"/>
                  </a:lnTo>
                  <a:lnTo>
                    <a:pt x="1603" y="267"/>
                  </a:lnTo>
                  <a:lnTo>
                    <a:pt x="1620" y="267"/>
                  </a:lnTo>
                  <a:lnTo>
                    <a:pt x="1603" y="305"/>
                  </a:lnTo>
                  <a:lnTo>
                    <a:pt x="1592" y="322"/>
                  </a:lnTo>
                  <a:lnTo>
                    <a:pt x="1582" y="338"/>
                  </a:lnTo>
                  <a:lnTo>
                    <a:pt x="1575" y="338"/>
                  </a:lnTo>
                  <a:lnTo>
                    <a:pt x="1575" y="355"/>
                  </a:lnTo>
                  <a:lnTo>
                    <a:pt x="1629" y="395"/>
                  </a:lnTo>
                  <a:lnTo>
                    <a:pt x="1637" y="400"/>
                  </a:lnTo>
                  <a:lnTo>
                    <a:pt x="1667" y="428"/>
                  </a:lnTo>
                  <a:lnTo>
                    <a:pt x="1689" y="428"/>
                  </a:lnTo>
                  <a:lnTo>
                    <a:pt x="1738" y="456"/>
                  </a:lnTo>
                  <a:lnTo>
                    <a:pt x="1764" y="489"/>
                  </a:lnTo>
                  <a:lnTo>
                    <a:pt x="1830" y="506"/>
                  </a:lnTo>
                  <a:lnTo>
                    <a:pt x="1847" y="539"/>
                  </a:lnTo>
                  <a:lnTo>
                    <a:pt x="1901" y="560"/>
                  </a:lnTo>
                  <a:lnTo>
                    <a:pt x="1927" y="560"/>
                  </a:lnTo>
                  <a:lnTo>
                    <a:pt x="1953" y="544"/>
                  </a:lnTo>
                  <a:lnTo>
                    <a:pt x="1960" y="511"/>
                  </a:lnTo>
                  <a:lnTo>
                    <a:pt x="1981" y="482"/>
                  </a:lnTo>
                  <a:lnTo>
                    <a:pt x="1998" y="445"/>
                  </a:lnTo>
                  <a:lnTo>
                    <a:pt x="1998" y="400"/>
                  </a:lnTo>
                  <a:lnTo>
                    <a:pt x="2012" y="362"/>
                  </a:lnTo>
                  <a:lnTo>
                    <a:pt x="2007" y="322"/>
                  </a:lnTo>
                  <a:lnTo>
                    <a:pt x="2007" y="300"/>
                  </a:lnTo>
                  <a:lnTo>
                    <a:pt x="1998" y="279"/>
                  </a:lnTo>
                  <a:lnTo>
                    <a:pt x="2012" y="234"/>
                  </a:lnTo>
                  <a:lnTo>
                    <a:pt x="2007" y="211"/>
                  </a:lnTo>
                  <a:lnTo>
                    <a:pt x="2024" y="194"/>
                  </a:lnTo>
                  <a:lnTo>
                    <a:pt x="2029" y="206"/>
                  </a:lnTo>
                  <a:lnTo>
                    <a:pt x="2024" y="178"/>
                  </a:lnTo>
                  <a:lnTo>
                    <a:pt x="2012" y="173"/>
                  </a:lnTo>
                  <a:lnTo>
                    <a:pt x="2012" y="178"/>
                  </a:lnTo>
                  <a:lnTo>
                    <a:pt x="2007" y="178"/>
                  </a:lnTo>
                  <a:lnTo>
                    <a:pt x="2029" y="140"/>
                  </a:lnTo>
                  <a:lnTo>
                    <a:pt x="2029" y="152"/>
                  </a:lnTo>
                  <a:lnTo>
                    <a:pt x="2036" y="152"/>
                  </a:lnTo>
                  <a:lnTo>
                    <a:pt x="2029" y="140"/>
                  </a:lnTo>
                  <a:lnTo>
                    <a:pt x="2045" y="95"/>
                  </a:lnTo>
                  <a:lnTo>
                    <a:pt x="2045" y="67"/>
                  </a:lnTo>
                  <a:lnTo>
                    <a:pt x="2062" y="62"/>
                  </a:lnTo>
                  <a:lnTo>
                    <a:pt x="2066" y="45"/>
                  </a:lnTo>
                  <a:lnTo>
                    <a:pt x="2078" y="57"/>
                  </a:lnTo>
                  <a:lnTo>
                    <a:pt x="2066" y="67"/>
                  </a:lnTo>
                  <a:lnTo>
                    <a:pt x="2078" y="62"/>
                  </a:lnTo>
                  <a:lnTo>
                    <a:pt x="2088" y="78"/>
                  </a:lnTo>
                  <a:lnTo>
                    <a:pt x="2100" y="133"/>
                  </a:lnTo>
                  <a:lnTo>
                    <a:pt x="2121" y="140"/>
                  </a:lnTo>
                  <a:lnTo>
                    <a:pt x="2116" y="168"/>
                  </a:lnTo>
                  <a:lnTo>
                    <a:pt x="2133" y="173"/>
                  </a:lnTo>
                  <a:lnTo>
                    <a:pt x="2133" y="178"/>
                  </a:lnTo>
                  <a:lnTo>
                    <a:pt x="2137" y="189"/>
                  </a:lnTo>
                  <a:lnTo>
                    <a:pt x="2133" y="206"/>
                  </a:lnTo>
                  <a:lnTo>
                    <a:pt x="2142" y="206"/>
                  </a:lnTo>
                  <a:lnTo>
                    <a:pt x="2142" y="251"/>
                  </a:lnTo>
                  <a:lnTo>
                    <a:pt x="2142" y="267"/>
                  </a:lnTo>
                  <a:lnTo>
                    <a:pt x="2159" y="322"/>
                  </a:lnTo>
                  <a:lnTo>
                    <a:pt x="2175" y="322"/>
                  </a:lnTo>
                  <a:lnTo>
                    <a:pt x="2213" y="300"/>
                  </a:lnTo>
                  <a:lnTo>
                    <a:pt x="2225" y="334"/>
                  </a:lnTo>
                  <a:lnTo>
                    <a:pt x="2239" y="334"/>
                  </a:lnTo>
                  <a:lnTo>
                    <a:pt x="2246" y="345"/>
                  </a:lnTo>
                  <a:lnTo>
                    <a:pt x="2267" y="355"/>
                  </a:lnTo>
                  <a:lnTo>
                    <a:pt x="2263" y="371"/>
                  </a:lnTo>
                  <a:lnTo>
                    <a:pt x="2263" y="395"/>
                  </a:lnTo>
                  <a:lnTo>
                    <a:pt x="2277" y="445"/>
                  </a:lnTo>
                  <a:lnTo>
                    <a:pt x="2277" y="473"/>
                  </a:lnTo>
                  <a:lnTo>
                    <a:pt x="2305" y="506"/>
                  </a:lnTo>
                  <a:lnTo>
                    <a:pt x="2315" y="506"/>
                  </a:lnTo>
                  <a:lnTo>
                    <a:pt x="2305" y="511"/>
                  </a:lnTo>
                  <a:lnTo>
                    <a:pt x="2322" y="560"/>
                  </a:lnTo>
                  <a:lnTo>
                    <a:pt x="2315" y="600"/>
                  </a:lnTo>
                  <a:lnTo>
                    <a:pt x="2338" y="622"/>
                  </a:lnTo>
                  <a:lnTo>
                    <a:pt x="2338" y="650"/>
                  </a:lnTo>
                  <a:lnTo>
                    <a:pt x="2352" y="671"/>
                  </a:lnTo>
                  <a:lnTo>
                    <a:pt x="2402" y="688"/>
                  </a:lnTo>
                  <a:lnTo>
                    <a:pt x="2414" y="688"/>
                  </a:lnTo>
                  <a:lnTo>
                    <a:pt x="2414" y="676"/>
                  </a:lnTo>
                  <a:lnTo>
                    <a:pt x="2428" y="721"/>
                  </a:lnTo>
                  <a:lnTo>
                    <a:pt x="2440" y="721"/>
                  </a:lnTo>
                  <a:lnTo>
                    <a:pt x="2440" y="711"/>
                  </a:lnTo>
                  <a:lnTo>
                    <a:pt x="2444" y="711"/>
                  </a:lnTo>
                  <a:lnTo>
                    <a:pt x="2444" y="728"/>
                  </a:lnTo>
                  <a:lnTo>
                    <a:pt x="2466" y="728"/>
                  </a:lnTo>
                  <a:lnTo>
                    <a:pt x="2482" y="749"/>
                  </a:lnTo>
                  <a:lnTo>
                    <a:pt x="2494" y="733"/>
                  </a:lnTo>
                  <a:lnTo>
                    <a:pt x="2515" y="749"/>
                  </a:lnTo>
                  <a:lnTo>
                    <a:pt x="2520" y="778"/>
                  </a:lnTo>
                  <a:lnTo>
                    <a:pt x="2515" y="766"/>
                  </a:lnTo>
                  <a:lnTo>
                    <a:pt x="2511" y="782"/>
                  </a:lnTo>
                  <a:lnTo>
                    <a:pt x="2515" y="799"/>
                  </a:lnTo>
                  <a:lnTo>
                    <a:pt x="2548" y="815"/>
                  </a:lnTo>
                  <a:lnTo>
                    <a:pt x="2548" y="832"/>
                  </a:lnTo>
                  <a:lnTo>
                    <a:pt x="2565" y="856"/>
                  </a:lnTo>
                  <a:lnTo>
                    <a:pt x="2565" y="893"/>
                  </a:lnTo>
                  <a:lnTo>
                    <a:pt x="2574" y="910"/>
                  </a:lnTo>
                  <a:lnTo>
                    <a:pt x="2574" y="926"/>
                  </a:lnTo>
                  <a:lnTo>
                    <a:pt x="2586" y="910"/>
                  </a:lnTo>
                  <a:lnTo>
                    <a:pt x="2603" y="931"/>
                  </a:lnTo>
                  <a:lnTo>
                    <a:pt x="2591" y="910"/>
                  </a:lnTo>
                  <a:lnTo>
                    <a:pt x="2603" y="893"/>
                  </a:lnTo>
                  <a:lnTo>
                    <a:pt x="2607" y="915"/>
                  </a:lnTo>
                  <a:lnTo>
                    <a:pt x="2638" y="926"/>
                  </a:lnTo>
                  <a:lnTo>
                    <a:pt x="2638" y="910"/>
                  </a:lnTo>
                  <a:lnTo>
                    <a:pt x="2655" y="943"/>
                  </a:lnTo>
                  <a:lnTo>
                    <a:pt x="2655" y="971"/>
                  </a:lnTo>
                  <a:lnTo>
                    <a:pt x="2662" y="1000"/>
                  </a:lnTo>
                  <a:lnTo>
                    <a:pt x="2671" y="1004"/>
                  </a:lnTo>
                  <a:lnTo>
                    <a:pt x="2676" y="1021"/>
                  </a:lnTo>
                  <a:lnTo>
                    <a:pt x="2709" y="1042"/>
                  </a:lnTo>
                  <a:lnTo>
                    <a:pt x="2714" y="1037"/>
                  </a:lnTo>
                  <a:lnTo>
                    <a:pt x="2730" y="1054"/>
                  </a:lnTo>
                  <a:lnTo>
                    <a:pt x="2747" y="1082"/>
                  </a:lnTo>
                  <a:lnTo>
                    <a:pt x="2768" y="1099"/>
                  </a:lnTo>
                  <a:lnTo>
                    <a:pt x="2785" y="1132"/>
                  </a:lnTo>
                  <a:lnTo>
                    <a:pt x="2801" y="1137"/>
                  </a:lnTo>
                  <a:lnTo>
                    <a:pt x="2801" y="1170"/>
                  </a:lnTo>
                  <a:lnTo>
                    <a:pt x="2822" y="1186"/>
                  </a:lnTo>
                  <a:lnTo>
                    <a:pt x="2818" y="1210"/>
                  </a:lnTo>
                  <a:lnTo>
                    <a:pt x="2818" y="1276"/>
                  </a:lnTo>
                  <a:lnTo>
                    <a:pt x="2806" y="1281"/>
                  </a:lnTo>
                  <a:lnTo>
                    <a:pt x="2806" y="1293"/>
                  </a:lnTo>
                  <a:lnTo>
                    <a:pt x="2822" y="1304"/>
                  </a:lnTo>
                  <a:lnTo>
                    <a:pt x="2851" y="1370"/>
                  </a:lnTo>
                  <a:lnTo>
                    <a:pt x="2851" y="1408"/>
                  </a:lnTo>
                  <a:lnTo>
                    <a:pt x="2834" y="1448"/>
                  </a:lnTo>
                  <a:lnTo>
                    <a:pt x="2822" y="1498"/>
                  </a:lnTo>
                  <a:lnTo>
                    <a:pt x="2806" y="1543"/>
                  </a:lnTo>
                  <a:lnTo>
                    <a:pt x="2818" y="1576"/>
                  </a:lnTo>
                  <a:lnTo>
                    <a:pt x="2801" y="1630"/>
                  </a:lnTo>
                  <a:lnTo>
                    <a:pt x="2780" y="1670"/>
                  </a:lnTo>
                  <a:lnTo>
                    <a:pt x="2780" y="1692"/>
                  </a:lnTo>
                  <a:lnTo>
                    <a:pt x="2747" y="1720"/>
                  </a:lnTo>
                  <a:lnTo>
                    <a:pt x="2747" y="1725"/>
                  </a:lnTo>
                  <a:lnTo>
                    <a:pt x="2726" y="1737"/>
                  </a:lnTo>
                  <a:lnTo>
                    <a:pt x="2709" y="1765"/>
                  </a:lnTo>
                  <a:lnTo>
                    <a:pt x="2700" y="1765"/>
                  </a:lnTo>
                  <a:lnTo>
                    <a:pt x="2700" y="1774"/>
                  </a:lnTo>
                  <a:lnTo>
                    <a:pt x="2692" y="1791"/>
                  </a:lnTo>
                  <a:lnTo>
                    <a:pt x="2688" y="1819"/>
                  </a:lnTo>
                  <a:lnTo>
                    <a:pt x="2676" y="1819"/>
                  </a:lnTo>
                  <a:lnTo>
                    <a:pt x="2688" y="1831"/>
                  </a:lnTo>
                  <a:lnTo>
                    <a:pt x="2662" y="1848"/>
                  </a:lnTo>
                  <a:lnTo>
                    <a:pt x="2655" y="1885"/>
                  </a:lnTo>
                  <a:lnTo>
                    <a:pt x="2645" y="1893"/>
                  </a:lnTo>
                  <a:lnTo>
                    <a:pt x="2655" y="1909"/>
                  </a:lnTo>
                  <a:lnTo>
                    <a:pt x="2645" y="1909"/>
                  </a:lnTo>
                  <a:lnTo>
                    <a:pt x="2645" y="1914"/>
                  </a:lnTo>
                  <a:lnTo>
                    <a:pt x="2638" y="1926"/>
                  </a:lnTo>
                  <a:lnTo>
                    <a:pt x="2607" y="1980"/>
                  </a:lnTo>
                  <a:lnTo>
                    <a:pt x="2607" y="2013"/>
                  </a:lnTo>
                  <a:lnTo>
                    <a:pt x="2591" y="2058"/>
                  </a:lnTo>
                  <a:lnTo>
                    <a:pt x="2603" y="2079"/>
                  </a:lnTo>
                  <a:lnTo>
                    <a:pt x="2591" y="2091"/>
                  </a:lnTo>
                  <a:lnTo>
                    <a:pt x="2591" y="2107"/>
                  </a:lnTo>
                  <a:lnTo>
                    <a:pt x="2565" y="2129"/>
                  </a:lnTo>
                  <a:lnTo>
                    <a:pt x="2477" y="2136"/>
                  </a:lnTo>
                  <a:lnTo>
                    <a:pt x="2440" y="2145"/>
                  </a:lnTo>
                  <a:lnTo>
                    <a:pt x="2376" y="2202"/>
                  </a:lnTo>
                  <a:lnTo>
                    <a:pt x="2331" y="2207"/>
                  </a:lnTo>
                  <a:lnTo>
                    <a:pt x="2338" y="2223"/>
                  </a:lnTo>
                  <a:lnTo>
                    <a:pt x="2352" y="2219"/>
                  </a:lnTo>
                  <a:lnTo>
                    <a:pt x="2352" y="2240"/>
                  </a:lnTo>
                  <a:lnTo>
                    <a:pt x="2348" y="2247"/>
                  </a:lnTo>
                  <a:lnTo>
                    <a:pt x="2348" y="2247"/>
                  </a:lnTo>
                  <a:lnTo>
                    <a:pt x="2348" y="2247"/>
                  </a:lnTo>
                  <a:close/>
                  <a:moveTo>
                    <a:pt x="1651" y="100"/>
                  </a:moveTo>
                  <a:lnTo>
                    <a:pt x="1667" y="67"/>
                  </a:lnTo>
                  <a:lnTo>
                    <a:pt x="1667" y="83"/>
                  </a:lnTo>
                  <a:lnTo>
                    <a:pt x="1651" y="100"/>
                  </a:lnTo>
                  <a:lnTo>
                    <a:pt x="1651" y="100"/>
                  </a:lnTo>
                  <a:lnTo>
                    <a:pt x="1651" y="100"/>
                  </a:lnTo>
                  <a:close/>
                  <a:moveTo>
                    <a:pt x="1377" y="95"/>
                  </a:moveTo>
                  <a:lnTo>
                    <a:pt x="1377" y="67"/>
                  </a:lnTo>
                  <a:lnTo>
                    <a:pt x="1377" y="95"/>
                  </a:lnTo>
                  <a:lnTo>
                    <a:pt x="1377" y="95"/>
                  </a:lnTo>
                  <a:lnTo>
                    <a:pt x="1377" y="95"/>
                  </a:lnTo>
                  <a:close/>
                  <a:moveTo>
                    <a:pt x="1268" y="140"/>
                  </a:moveTo>
                  <a:lnTo>
                    <a:pt x="1226" y="116"/>
                  </a:lnTo>
                  <a:lnTo>
                    <a:pt x="1221" y="83"/>
                  </a:lnTo>
                  <a:lnTo>
                    <a:pt x="1242" y="100"/>
                  </a:lnTo>
                  <a:lnTo>
                    <a:pt x="1275" y="83"/>
                  </a:lnTo>
                  <a:lnTo>
                    <a:pt x="1280" y="100"/>
                  </a:lnTo>
                  <a:lnTo>
                    <a:pt x="1280" y="83"/>
                  </a:lnTo>
                  <a:lnTo>
                    <a:pt x="1306" y="100"/>
                  </a:lnTo>
                  <a:lnTo>
                    <a:pt x="1289" y="123"/>
                  </a:lnTo>
                  <a:lnTo>
                    <a:pt x="1268" y="140"/>
                  </a:lnTo>
                  <a:lnTo>
                    <a:pt x="1268" y="140"/>
                  </a:lnTo>
                  <a:lnTo>
                    <a:pt x="1268" y="140"/>
                  </a:lnTo>
                  <a:close/>
                  <a:moveTo>
                    <a:pt x="1226" y="133"/>
                  </a:moveTo>
                  <a:lnTo>
                    <a:pt x="1200" y="123"/>
                  </a:lnTo>
                  <a:lnTo>
                    <a:pt x="1204" y="116"/>
                  </a:lnTo>
                  <a:lnTo>
                    <a:pt x="1214" y="116"/>
                  </a:lnTo>
                  <a:lnTo>
                    <a:pt x="1214" y="95"/>
                  </a:lnTo>
                  <a:lnTo>
                    <a:pt x="1221" y="95"/>
                  </a:lnTo>
                  <a:lnTo>
                    <a:pt x="1226" y="116"/>
                  </a:lnTo>
                  <a:lnTo>
                    <a:pt x="1242" y="123"/>
                  </a:lnTo>
                  <a:lnTo>
                    <a:pt x="1226" y="133"/>
                  </a:lnTo>
                  <a:lnTo>
                    <a:pt x="1226" y="133"/>
                  </a:lnTo>
                  <a:lnTo>
                    <a:pt x="1226" y="133"/>
                  </a:lnTo>
                  <a:close/>
                  <a:moveTo>
                    <a:pt x="1377" y="123"/>
                  </a:moveTo>
                  <a:lnTo>
                    <a:pt x="1377" y="116"/>
                  </a:lnTo>
                  <a:lnTo>
                    <a:pt x="1381" y="116"/>
                  </a:lnTo>
                  <a:lnTo>
                    <a:pt x="1377" y="123"/>
                  </a:lnTo>
                  <a:lnTo>
                    <a:pt x="1377" y="123"/>
                  </a:lnTo>
                  <a:lnTo>
                    <a:pt x="1377" y="123"/>
                  </a:lnTo>
                  <a:close/>
                  <a:moveTo>
                    <a:pt x="1613" y="123"/>
                  </a:moveTo>
                  <a:lnTo>
                    <a:pt x="1613" y="116"/>
                  </a:lnTo>
                  <a:lnTo>
                    <a:pt x="1620" y="116"/>
                  </a:lnTo>
                  <a:lnTo>
                    <a:pt x="1613" y="123"/>
                  </a:lnTo>
                  <a:lnTo>
                    <a:pt x="1613" y="123"/>
                  </a:lnTo>
                  <a:lnTo>
                    <a:pt x="1613" y="123"/>
                  </a:lnTo>
                  <a:close/>
                  <a:moveTo>
                    <a:pt x="1684" y="300"/>
                  </a:moveTo>
                  <a:lnTo>
                    <a:pt x="1674" y="305"/>
                  </a:lnTo>
                  <a:lnTo>
                    <a:pt x="1646" y="305"/>
                  </a:lnTo>
                  <a:lnTo>
                    <a:pt x="1651" y="279"/>
                  </a:lnTo>
                  <a:lnTo>
                    <a:pt x="1658" y="279"/>
                  </a:lnTo>
                  <a:lnTo>
                    <a:pt x="1667" y="267"/>
                  </a:lnTo>
                  <a:lnTo>
                    <a:pt x="1667" y="279"/>
                  </a:lnTo>
                  <a:lnTo>
                    <a:pt x="1674" y="279"/>
                  </a:lnTo>
                  <a:lnTo>
                    <a:pt x="1674" y="267"/>
                  </a:lnTo>
                  <a:lnTo>
                    <a:pt x="1684" y="279"/>
                  </a:lnTo>
                  <a:lnTo>
                    <a:pt x="1667" y="284"/>
                  </a:lnTo>
                  <a:lnTo>
                    <a:pt x="1667" y="300"/>
                  </a:lnTo>
                  <a:lnTo>
                    <a:pt x="1684" y="300"/>
                  </a:lnTo>
                  <a:lnTo>
                    <a:pt x="1684" y="300"/>
                  </a:lnTo>
                  <a:lnTo>
                    <a:pt x="1684" y="300"/>
                  </a:lnTo>
                  <a:close/>
                  <a:moveTo>
                    <a:pt x="1629" y="279"/>
                  </a:moveTo>
                  <a:lnTo>
                    <a:pt x="1620" y="279"/>
                  </a:lnTo>
                  <a:lnTo>
                    <a:pt x="1629" y="267"/>
                  </a:lnTo>
                  <a:lnTo>
                    <a:pt x="1637" y="267"/>
                  </a:lnTo>
                  <a:lnTo>
                    <a:pt x="1629" y="279"/>
                  </a:lnTo>
                  <a:lnTo>
                    <a:pt x="1629" y="279"/>
                  </a:lnTo>
                  <a:lnTo>
                    <a:pt x="1629" y="279"/>
                  </a:lnTo>
                  <a:close/>
                  <a:moveTo>
                    <a:pt x="859" y="338"/>
                  </a:moveTo>
                  <a:lnTo>
                    <a:pt x="848" y="334"/>
                  </a:lnTo>
                  <a:lnTo>
                    <a:pt x="859" y="322"/>
                  </a:lnTo>
                  <a:lnTo>
                    <a:pt x="859" y="338"/>
                  </a:lnTo>
                  <a:lnTo>
                    <a:pt x="859" y="338"/>
                  </a:lnTo>
                  <a:lnTo>
                    <a:pt x="859" y="338"/>
                  </a:lnTo>
                  <a:close/>
                  <a:moveTo>
                    <a:pt x="810" y="395"/>
                  </a:moveTo>
                  <a:lnTo>
                    <a:pt x="805" y="388"/>
                  </a:lnTo>
                  <a:lnTo>
                    <a:pt x="810" y="378"/>
                  </a:lnTo>
                  <a:lnTo>
                    <a:pt x="822" y="395"/>
                  </a:lnTo>
                  <a:lnTo>
                    <a:pt x="810" y="395"/>
                  </a:lnTo>
                  <a:lnTo>
                    <a:pt x="810" y="395"/>
                  </a:lnTo>
                  <a:lnTo>
                    <a:pt x="810" y="395"/>
                  </a:lnTo>
                  <a:close/>
                  <a:moveTo>
                    <a:pt x="1651" y="411"/>
                  </a:moveTo>
                  <a:lnTo>
                    <a:pt x="1651" y="400"/>
                  </a:lnTo>
                  <a:lnTo>
                    <a:pt x="1658" y="400"/>
                  </a:lnTo>
                  <a:lnTo>
                    <a:pt x="1651" y="411"/>
                  </a:lnTo>
                  <a:lnTo>
                    <a:pt x="1651" y="411"/>
                  </a:lnTo>
                  <a:lnTo>
                    <a:pt x="1651" y="411"/>
                  </a:lnTo>
                  <a:close/>
                  <a:moveTo>
                    <a:pt x="1689" y="428"/>
                  </a:moveTo>
                  <a:lnTo>
                    <a:pt x="1684" y="411"/>
                  </a:lnTo>
                  <a:lnTo>
                    <a:pt x="1689" y="400"/>
                  </a:lnTo>
                  <a:lnTo>
                    <a:pt x="1689" y="428"/>
                  </a:lnTo>
                  <a:lnTo>
                    <a:pt x="1689" y="428"/>
                  </a:lnTo>
                  <a:lnTo>
                    <a:pt x="1689" y="428"/>
                  </a:lnTo>
                  <a:close/>
                  <a:moveTo>
                    <a:pt x="1667" y="416"/>
                  </a:moveTo>
                  <a:lnTo>
                    <a:pt x="1667" y="411"/>
                  </a:lnTo>
                  <a:lnTo>
                    <a:pt x="1674" y="411"/>
                  </a:lnTo>
                  <a:lnTo>
                    <a:pt x="1667" y="416"/>
                  </a:lnTo>
                  <a:lnTo>
                    <a:pt x="1667" y="416"/>
                  </a:lnTo>
                  <a:lnTo>
                    <a:pt x="1667" y="416"/>
                  </a:lnTo>
                  <a:close/>
                  <a:moveTo>
                    <a:pt x="1835" y="489"/>
                  </a:moveTo>
                  <a:lnTo>
                    <a:pt x="1835" y="482"/>
                  </a:lnTo>
                  <a:lnTo>
                    <a:pt x="1847" y="473"/>
                  </a:lnTo>
                  <a:lnTo>
                    <a:pt x="1873" y="466"/>
                  </a:lnTo>
                  <a:lnTo>
                    <a:pt x="1873" y="473"/>
                  </a:lnTo>
                  <a:lnTo>
                    <a:pt x="1863" y="473"/>
                  </a:lnTo>
                  <a:lnTo>
                    <a:pt x="1863" y="489"/>
                  </a:lnTo>
                  <a:lnTo>
                    <a:pt x="1835" y="489"/>
                  </a:lnTo>
                  <a:lnTo>
                    <a:pt x="1835" y="489"/>
                  </a:lnTo>
                  <a:lnTo>
                    <a:pt x="1835" y="489"/>
                  </a:lnTo>
                  <a:close/>
                  <a:moveTo>
                    <a:pt x="1863" y="522"/>
                  </a:moveTo>
                  <a:lnTo>
                    <a:pt x="1852" y="511"/>
                  </a:lnTo>
                  <a:lnTo>
                    <a:pt x="1868" y="511"/>
                  </a:lnTo>
                  <a:lnTo>
                    <a:pt x="1868" y="522"/>
                  </a:lnTo>
                  <a:lnTo>
                    <a:pt x="1863" y="522"/>
                  </a:lnTo>
                  <a:lnTo>
                    <a:pt x="1863" y="522"/>
                  </a:lnTo>
                  <a:lnTo>
                    <a:pt x="1863" y="522"/>
                  </a:lnTo>
                  <a:close/>
                  <a:moveTo>
                    <a:pt x="2338" y="622"/>
                  </a:moveTo>
                  <a:lnTo>
                    <a:pt x="2322" y="600"/>
                  </a:lnTo>
                  <a:lnTo>
                    <a:pt x="2338" y="610"/>
                  </a:lnTo>
                  <a:lnTo>
                    <a:pt x="2348" y="617"/>
                  </a:lnTo>
                  <a:lnTo>
                    <a:pt x="2338" y="622"/>
                  </a:lnTo>
                  <a:lnTo>
                    <a:pt x="2338" y="622"/>
                  </a:lnTo>
                  <a:lnTo>
                    <a:pt x="2338" y="622"/>
                  </a:lnTo>
                  <a:close/>
                  <a:moveTo>
                    <a:pt x="2376" y="671"/>
                  </a:moveTo>
                  <a:lnTo>
                    <a:pt x="2369" y="671"/>
                  </a:lnTo>
                  <a:lnTo>
                    <a:pt x="2376" y="667"/>
                  </a:lnTo>
                  <a:lnTo>
                    <a:pt x="2376" y="671"/>
                  </a:lnTo>
                  <a:lnTo>
                    <a:pt x="2376" y="671"/>
                  </a:lnTo>
                  <a:lnTo>
                    <a:pt x="2376" y="671"/>
                  </a:lnTo>
                  <a:close/>
                  <a:moveTo>
                    <a:pt x="2520" y="749"/>
                  </a:moveTo>
                  <a:lnTo>
                    <a:pt x="2515" y="745"/>
                  </a:lnTo>
                  <a:lnTo>
                    <a:pt x="2520" y="733"/>
                  </a:lnTo>
                  <a:lnTo>
                    <a:pt x="2520" y="749"/>
                  </a:lnTo>
                  <a:lnTo>
                    <a:pt x="2520" y="749"/>
                  </a:lnTo>
                  <a:lnTo>
                    <a:pt x="2520" y="749"/>
                  </a:lnTo>
                  <a:close/>
                  <a:moveTo>
                    <a:pt x="2520" y="761"/>
                  </a:moveTo>
                  <a:lnTo>
                    <a:pt x="2520" y="745"/>
                  </a:lnTo>
                  <a:lnTo>
                    <a:pt x="2532" y="749"/>
                  </a:lnTo>
                  <a:lnTo>
                    <a:pt x="2520" y="761"/>
                  </a:lnTo>
                  <a:lnTo>
                    <a:pt x="2520" y="761"/>
                  </a:lnTo>
                  <a:lnTo>
                    <a:pt x="2520" y="761"/>
                  </a:lnTo>
                  <a:close/>
                  <a:moveTo>
                    <a:pt x="172" y="799"/>
                  </a:moveTo>
                  <a:lnTo>
                    <a:pt x="163" y="799"/>
                  </a:lnTo>
                  <a:lnTo>
                    <a:pt x="179" y="782"/>
                  </a:lnTo>
                  <a:lnTo>
                    <a:pt x="172" y="799"/>
                  </a:lnTo>
                  <a:lnTo>
                    <a:pt x="172" y="799"/>
                  </a:lnTo>
                  <a:lnTo>
                    <a:pt x="172" y="799"/>
                  </a:lnTo>
                  <a:close/>
                  <a:moveTo>
                    <a:pt x="2629" y="910"/>
                  </a:moveTo>
                  <a:lnTo>
                    <a:pt x="2629" y="905"/>
                  </a:lnTo>
                  <a:lnTo>
                    <a:pt x="2638" y="910"/>
                  </a:lnTo>
                  <a:lnTo>
                    <a:pt x="2629" y="910"/>
                  </a:lnTo>
                  <a:lnTo>
                    <a:pt x="2629" y="910"/>
                  </a:lnTo>
                  <a:lnTo>
                    <a:pt x="2629" y="910"/>
                  </a:lnTo>
                  <a:close/>
                  <a:moveTo>
                    <a:pt x="2688" y="1021"/>
                  </a:moveTo>
                  <a:lnTo>
                    <a:pt x="2671" y="1000"/>
                  </a:lnTo>
                  <a:lnTo>
                    <a:pt x="2688" y="1004"/>
                  </a:lnTo>
                  <a:lnTo>
                    <a:pt x="2692" y="1021"/>
                  </a:lnTo>
                  <a:lnTo>
                    <a:pt x="2688" y="1021"/>
                  </a:lnTo>
                  <a:lnTo>
                    <a:pt x="2688" y="1021"/>
                  </a:lnTo>
                  <a:lnTo>
                    <a:pt x="2688" y="1021"/>
                  </a:lnTo>
                  <a:close/>
                  <a:moveTo>
                    <a:pt x="2818" y="1170"/>
                  </a:moveTo>
                  <a:lnTo>
                    <a:pt x="2801" y="1153"/>
                  </a:lnTo>
                  <a:lnTo>
                    <a:pt x="2806" y="1132"/>
                  </a:lnTo>
                  <a:lnTo>
                    <a:pt x="2822" y="1115"/>
                  </a:lnTo>
                  <a:lnTo>
                    <a:pt x="2818" y="1099"/>
                  </a:lnTo>
                  <a:lnTo>
                    <a:pt x="2822" y="1094"/>
                  </a:lnTo>
                  <a:lnTo>
                    <a:pt x="2834" y="1115"/>
                  </a:lnTo>
                  <a:lnTo>
                    <a:pt x="2818" y="1170"/>
                  </a:lnTo>
                  <a:lnTo>
                    <a:pt x="2818" y="1170"/>
                  </a:lnTo>
                  <a:lnTo>
                    <a:pt x="2818" y="1170"/>
                  </a:lnTo>
                  <a:close/>
                  <a:moveTo>
                    <a:pt x="16" y="1203"/>
                  </a:moveTo>
                  <a:lnTo>
                    <a:pt x="0" y="1170"/>
                  </a:lnTo>
                  <a:lnTo>
                    <a:pt x="0" y="1148"/>
                  </a:lnTo>
                  <a:lnTo>
                    <a:pt x="16" y="1203"/>
                  </a:lnTo>
                  <a:lnTo>
                    <a:pt x="16" y="1203"/>
                  </a:lnTo>
                  <a:lnTo>
                    <a:pt x="16" y="1203"/>
                  </a:lnTo>
                  <a:close/>
                  <a:moveTo>
                    <a:pt x="2839" y="1297"/>
                  </a:moveTo>
                  <a:lnTo>
                    <a:pt x="2834" y="1276"/>
                  </a:lnTo>
                  <a:lnTo>
                    <a:pt x="2839" y="1264"/>
                  </a:lnTo>
                  <a:lnTo>
                    <a:pt x="2839" y="1297"/>
                  </a:lnTo>
                  <a:lnTo>
                    <a:pt x="2839" y="1297"/>
                  </a:lnTo>
                  <a:lnTo>
                    <a:pt x="2839" y="1297"/>
                  </a:lnTo>
                  <a:close/>
                  <a:moveTo>
                    <a:pt x="2839" y="1321"/>
                  </a:moveTo>
                  <a:lnTo>
                    <a:pt x="2839" y="1297"/>
                  </a:lnTo>
                  <a:lnTo>
                    <a:pt x="2851" y="1297"/>
                  </a:lnTo>
                  <a:lnTo>
                    <a:pt x="2839" y="1321"/>
                  </a:lnTo>
                  <a:lnTo>
                    <a:pt x="2839" y="1321"/>
                  </a:lnTo>
                  <a:lnTo>
                    <a:pt x="2839" y="1321"/>
                  </a:lnTo>
                  <a:close/>
                  <a:moveTo>
                    <a:pt x="1755" y="1963"/>
                  </a:moveTo>
                  <a:lnTo>
                    <a:pt x="1759" y="1963"/>
                  </a:lnTo>
                  <a:lnTo>
                    <a:pt x="1764" y="1968"/>
                  </a:lnTo>
                  <a:lnTo>
                    <a:pt x="1759" y="1980"/>
                  </a:lnTo>
                  <a:lnTo>
                    <a:pt x="1738" y="1968"/>
                  </a:lnTo>
                  <a:lnTo>
                    <a:pt x="1722" y="1996"/>
                  </a:lnTo>
                  <a:lnTo>
                    <a:pt x="1705" y="1980"/>
                  </a:lnTo>
                  <a:lnTo>
                    <a:pt x="1667" y="1985"/>
                  </a:lnTo>
                  <a:lnTo>
                    <a:pt x="1651" y="1980"/>
                  </a:lnTo>
                  <a:lnTo>
                    <a:pt x="1658" y="1963"/>
                  </a:lnTo>
                  <a:lnTo>
                    <a:pt x="1705" y="1947"/>
                  </a:lnTo>
                  <a:lnTo>
                    <a:pt x="1722" y="1959"/>
                  </a:lnTo>
                  <a:lnTo>
                    <a:pt x="1726" y="1963"/>
                  </a:lnTo>
                  <a:lnTo>
                    <a:pt x="1743" y="1968"/>
                  </a:lnTo>
                  <a:lnTo>
                    <a:pt x="1755" y="1963"/>
                  </a:lnTo>
                  <a:lnTo>
                    <a:pt x="1755" y="1963"/>
                  </a:lnTo>
                  <a:lnTo>
                    <a:pt x="1755" y="1963"/>
                  </a:lnTo>
                  <a:close/>
                  <a:moveTo>
                    <a:pt x="2267" y="2185"/>
                  </a:moveTo>
                  <a:lnTo>
                    <a:pt x="2267" y="2181"/>
                  </a:lnTo>
                  <a:lnTo>
                    <a:pt x="2284" y="2181"/>
                  </a:lnTo>
                  <a:lnTo>
                    <a:pt x="2267" y="2185"/>
                  </a:lnTo>
                  <a:lnTo>
                    <a:pt x="2267" y="2185"/>
                  </a:lnTo>
                  <a:lnTo>
                    <a:pt x="2267" y="2185"/>
                  </a:lnTo>
                  <a:close/>
                  <a:moveTo>
                    <a:pt x="2267" y="2202"/>
                  </a:moveTo>
                  <a:lnTo>
                    <a:pt x="2251" y="2190"/>
                  </a:lnTo>
                  <a:lnTo>
                    <a:pt x="2267" y="2185"/>
                  </a:lnTo>
                  <a:lnTo>
                    <a:pt x="2267" y="2202"/>
                  </a:lnTo>
                  <a:lnTo>
                    <a:pt x="2267" y="2202"/>
                  </a:lnTo>
                  <a:lnTo>
                    <a:pt x="2267" y="2202"/>
                  </a:lnTo>
                  <a:close/>
                  <a:moveTo>
                    <a:pt x="2352" y="2219"/>
                  </a:moveTo>
                  <a:lnTo>
                    <a:pt x="2359" y="2219"/>
                  </a:lnTo>
                  <a:lnTo>
                    <a:pt x="2352" y="2219"/>
                  </a:lnTo>
                  <a:lnTo>
                    <a:pt x="2352" y="2219"/>
                  </a:lnTo>
                  <a:lnTo>
                    <a:pt x="2352" y="2219"/>
                  </a:lnTo>
                  <a:close/>
                  <a:moveTo>
                    <a:pt x="2170" y="2330"/>
                  </a:moveTo>
                  <a:lnTo>
                    <a:pt x="2170" y="2301"/>
                  </a:lnTo>
                  <a:lnTo>
                    <a:pt x="2175" y="2280"/>
                  </a:lnTo>
                  <a:lnTo>
                    <a:pt x="2187" y="2289"/>
                  </a:lnTo>
                  <a:lnTo>
                    <a:pt x="2187" y="2313"/>
                  </a:lnTo>
                  <a:lnTo>
                    <a:pt x="2170" y="2330"/>
                  </a:lnTo>
                  <a:lnTo>
                    <a:pt x="2170" y="2330"/>
                  </a:lnTo>
                  <a:lnTo>
                    <a:pt x="2170" y="2330"/>
                  </a:lnTo>
                  <a:close/>
                  <a:moveTo>
                    <a:pt x="2466" y="2346"/>
                  </a:moveTo>
                  <a:lnTo>
                    <a:pt x="2440" y="2313"/>
                  </a:lnTo>
                  <a:lnTo>
                    <a:pt x="2444" y="2296"/>
                  </a:lnTo>
                  <a:lnTo>
                    <a:pt x="2456" y="2296"/>
                  </a:lnTo>
                  <a:lnTo>
                    <a:pt x="2477" y="2313"/>
                  </a:lnTo>
                  <a:lnTo>
                    <a:pt x="2477" y="2334"/>
                  </a:lnTo>
                  <a:lnTo>
                    <a:pt x="2466" y="2346"/>
                  </a:lnTo>
                  <a:lnTo>
                    <a:pt x="2466" y="2346"/>
                  </a:lnTo>
                  <a:lnTo>
                    <a:pt x="2466" y="2346"/>
                  </a:lnTo>
                  <a:close/>
                  <a:moveTo>
                    <a:pt x="2482" y="2363"/>
                  </a:moveTo>
                  <a:lnTo>
                    <a:pt x="2477" y="2351"/>
                  </a:lnTo>
                  <a:lnTo>
                    <a:pt x="2461" y="2363"/>
                  </a:lnTo>
                  <a:lnTo>
                    <a:pt x="2456" y="2351"/>
                  </a:lnTo>
                  <a:lnTo>
                    <a:pt x="2482" y="2346"/>
                  </a:lnTo>
                  <a:lnTo>
                    <a:pt x="2494" y="2351"/>
                  </a:lnTo>
                  <a:lnTo>
                    <a:pt x="2482" y="2363"/>
                  </a:lnTo>
                  <a:lnTo>
                    <a:pt x="2482" y="2363"/>
                  </a:lnTo>
                  <a:lnTo>
                    <a:pt x="2482" y="2363"/>
                  </a:lnTo>
                  <a:close/>
                  <a:moveTo>
                    <a:pt x="2239" y="2363"/>
                  </a:moveTo>
                  <a:lnTo>
                    <a:pt x="2239" y="2351"/>
                  </a:lnTo>
                  <a:lnTo>
                    <a:pt x="2246" y="2351"/>
                  </a:lnTo>
                  <a:lnTo>
                    <a:pt x="2239" y="2363"/>
                  </a:lnTo>
                  <a:lnTo>
                    <a:pt x="2239" y="2363"/>
                  </a:lnTo>
                  <a:lnTo>
                    <a:pt x="2239" y="2363"/>
                  </a:lnTo>
                  <a:close/>
                  <a:moveTo>
                    <a:pt x="2466" y="2367"/>
                  </a:moveTo>
                  <a:lnTo>
                    <a:pt x="2461" y="2367"/>
                  </a:lnTo>
                  <a:lnTo>
                    <a:pt x="2466" y="2363"/>
                  </a:lnTo>
                  <a:lnTo>
                    <a:pt x="2466" y="2367"/>
                  </a:lnTo>
                  <a:lnTo>
                    <a:pt x="2466" y="2367"/>
                  </a:lnTo>
                  <a:lnTo>
                    <a:pt x="2466" y="2367"/>
                  </a:lnTo>
                  <a:close/>
                  <a:moveTo>
                    <a:pt x="2239" y="2384"/>
                  </a:moveTo>
                  <a:lnTo>
                    <a:pt x="2246" y="2367"/>
                  </a:lnTo>
                  <a:lnTo>
                    <a:pt x="2246" y="2374"/>
                  </a:lnTo>
                  <a:lnTo>
                    <a:pt x="2239" y="2384"/>
                  </a:lnTo>
                  <a:lnTo>
                    <a:pt x="2239" y="2384"/>
                  </a:lnTo>
                  <a:lnTo>
                    <a:pt x="2239" y="2384"/>
                  </a:lnTo>
                  <a:close/>
                  <a:moveTo>
                    <a:pt x="2385" y="2630"/>
                  </a:moveTo>
                  <a:lnTo>
                    <a:pt x="2322" y="2622"/>
                  </a:lnTo>
                  <a:lnTo>
                    <a:pt x="2315" y="2613"/>
                  </a:lnTo>
                  <a:lnTo>
                    <a:pt x="2331" y="2613"/>
                  </a:lnTo>
                  <a:lnTo>
                    <a:pt x="2331" y="2606"/>
                  </a:lnTo>
                  <a:lnTo>
                    <a:pt x="2305" y="2606"/>
                  </a:lnTo>
                  <a:lnTo>
                    <a:pt x="2284" y="2573"/>
                  </a:lnTo>
                  <a:lnTo>
                    <a:pt x="2267" y="2540"/>
                  </a:lnTo>
                  <a:lnTo>
                    <a:pt x="2263" y="2511"/>
                  </a:lnTo>
                  <a:lnTo>
                    <a:pt x="2277" y="2528"/>
                  </a:lnTo>
                  <a:lnTo>
                    <a:pt x="2277" y="2535"/>
                  </a:lnTo>
                  <a:lnTo>
                    <a:pt x="2284" y="2518"/>
                  </a:lnTo>
                  <a:lnTo>
                    <a:pt x="2267" y="2502"/>
                  </a:lnTo>
                  <a:lnTo>
                    <a:pt x="2225" y="2424"/>
                  </a:lnTo>
                  <a:lnTo>
                    <a:pt x="2225" y="2400"/>
                  </a:lnTo>
                  <a:lnTo>
                    <a:pt x="2225" y="2384"/>
                  </a:lnTo>
                  <a:lnTo>
                    <a:pt x="2267" y="2384"/>
                  </a:lnTo>
                  <a:lnTo>
                    <a:pt x="2331" y="2417"/>
                  </a:lnTo>
                  <a:lnTo>
                    <a:pt x="2359" y="2424"/>
                  </a:lnTo>
                  <a:lnTo>
                    <a:pt x="2369" y="2407"/>
                  </a:lnTo>
                  <a:lnTo>
                    <a:pt x="2385" y="2417"/>
                  </a:lnTo>
                  <a:lnTo>
                    <a:pt x="2376" y="2407"/>
                  </a:lnTo>
                  <a:lnTo>
                    <a:pt x="2385" y="2400"/>
                  </a:lnTo>
                  <a:lnTo>
                    <a:pt x="2414" y="2407"/>
                  </a:lnTo>
                  <a:lnTo>
                    <a:pt x="2428" y="2391"/>
                  </a:lnTo>
                  <a:lnTo>
                    <a:pt x="2444" y="2391"/>
                  </a:lnTo>
                  <a:lnTo>
                    <a:pt x="2456" y="2384"/>
                  </a:lnTo>
                  <a:lnTo>
                    <a:pt x="2477" y="2400"/>
                  </a:lnTo>
                  <a:lnTo>
                    <a:pt x="2477" y="2474"/>
                  </a:lnTo>
                  <a:lnTo>
                    <a:pt x="2482" y="2511"/>
                  </a:lnTo>
                  <a:lnTo>
                    <a:pt x="2477" y="2511"/>
                  </a:lnTo>
                  <a:lnTo>
                    <a:pt x="2477" y="2502"/>
                  </a:lnTo>
                  <a:lnTo>
                    <a:pt x="2466" y="2485"/>
                  </a:lnTo>
                  <a:lnTo>
                    <a:pt x="2444" y="2568"/>
                  </a:lnTo>
                  <a:lnTo>
                    <a:pt x="2456" y="2568"/>
                  </a:lnTo>
                  <a:lnTo>
                    <a:pt x="2456" y="2596"/>
                  </a:lnTo>
                  <a:lnTo>
                    <a:pt x="2444" y="2589"/>
                  </a:lnTo>
                  <a:lnTo>
                    <a:pt x="2444" y="2596"/>
                  </a:lnTo>
                  <a:lnTo>
                    <a:pt x="2428" y="2585"/>
                  </a:lnTo>
                  <a:lnTo>
                    <a:pt x="2440" y="2573"/>
                  </a:lnTo>
                  <a:lnTo>
                    <a:pt x="2440" y="2585"/>
                  </a:lnTo>
                  <a:lnTo>
                    <a:pt x="2456" y="2585"/>
                  </a:lnTo>
                  <a:lnTo>
                    <a:pt x="2444" y="2573"/>
                  </a:lnTo>
                  <a:lnTo>
                    <a:pt x="2423" y="2568"/>
                  </a:lnTo>
                  <a:lnTo>
                    <a:pt x="2423" y="2573"/>
                  </a:lnTo>
                  <a:lnTo>
                    <a:pt x="2414" y="2585"/>
                  </a:lnTo>
                  <a:lnTo>
                    <a:pt x="2414" y="2568"/>
                  </a:lnTo>
                  <a:lnTo>
                    <a:pt x="2407" y="2568"/>
                  </a:lnTo>
                  <a:lnTo>
                    <a:pt x="2407" y="2596"/>
                  </a:lnTo>
                  <a:lnTo>
                    <a:pt x="2385" y="2589"/>
                  </a:lnTo>
                  <a:lnTo>
                    <a:pt x="2390" y="2606"/>
                  </a:lnTo>
                  <a:lnTo>
                    <a:pt x="2385" y="2630"/>
                  </a:lnTo>
                  <a:lnTo>
                    <a:pt x="2385" y="2630"/>
                  </a:lnTo>
                  <a:lnTo>
                    <a:pt x="2385" y="2630"/>
                  </a:lnTo>
                  <a:close/>
                  <a:moveTo>
                    <a:pt x="2461" y="2556"/>
                  </a:moveTo>
                  <a:lnTo>
                    <a:pt x="2461" y="2540"/>
                  </a:lnTo>
                  <a:lnTo>
                    <a:pt x="2466" y="2540"/>
                  </a:lnTo>
                  <a:lnTo>
                    <a:pt x="2466" y="2552"/>
                  </a:lnTo>
                  <a:lnTo>
                    <a:pt x="2461" y="2556"/>
                  </a:lnTo>
                  <a:lnTo>
                    <a:pt x="2461" y="2556"/>
                  </a:lnTo>
                  <a:lnTo>
                    <a:pt x="2461" y="2556"/>
                  </a:lnTo>
                  <a:close/>
                  <a:moveTo>
                    <a:pt x="2414" y="2596"/>
                  </a:moveTo>
                  <a:lnTo>
                    <a:pt x="2407" y="2589"/>
                  </a:lnTo>
                  <a:lnTo>
                    <a:pt x="2414" y="2585"/>
                  </a:lnTo>
                  <a:lnTo>
                    <a:pt x="2414" y="2596"/>
                  </a:lnTo>
                  <a:lnTo>
                    <a:pt x="2414" y="2596"/>
                  </a:lnTo>
                  <a:lnTo>
                    <a:pt x="2414" y="2596"/>
                  </a:lnTo>
                  <a:close/>
                  <a:moveTo>
                    <a:pt x="2407" y="2622"/>
                  </a:moveTo>
                  <a:lnTo>
                    <a:pt x="2390" y="2613"/>
                  </a:lnTo>
                  <a:lnTo>
                    <a:pt x="2407" y="2596"/>
                  </a:lnTo>
                  <a:lnTo>
                    <a:pt x="2414" y="2613"/>
                  </a:lnTo>
                  <a:lnTo>
                    <a:pt x="2407" y="2622"/>
                  </a:lnTo>
                  <a:lnTo>
                    <a:pt x="2407" y="2622"/>
                  </a:lnTo>
                  <a:lnTo>
                    <a:pt x="2407" y="2622"/>
                  </a:lnTo>
                  <a:close/>
                  <a:moveTo>
                    <a:pt x="3217" y="3666"/>
                  </a:moveTo>
                  <a:lnTo>
                    <a:pt x="3217" y="3659"/>
                  </a:lnTo>
                  <a:lnTo>
                    <a:pt x="3229" y="3643"/>
                  </a:lnTo>
                  <a:lnTo>
                    <a:pt x="3217" y="3666"/>
                  </a:lnTo>
                  <a:lnTo>
                    <a:pt x="3217" y="3666"/>
                  </a:lnTo>
                  <a:lnTo>
                    <a:pt x="3217" y="3666"/>
                  </a:lnTo>
                  <a:close/>
                </a:path>
              </a:pathLst>
            </a:custGeom>
            <a:solidFill>
              <a:schemeClr val="bg2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39" name="Freeform 389">
              <a:extLst>
                <a:ext uri="{FF2B5EF4-FFF2-40B4-BE49-F238E27FC236}">
                  <a16:creationId xmlns:a16="http://schemas.microsoft.com/office/drawing/2014/main" id="{E8972995-3F8A-4E4E-BD0A-DC049B2D7261}"/>
                </a:ext>
              </a:extLst>
            </p:cNvPr>
            <p:cNvSpPr>
              <a:spLocks/>
            </p:cNvSpPr>
            <p:nvPr/>
          </p:nvSpPr>
          <p:spPr bwMode="gray">
            <a:xfrm>
              <a:off x="6264449" y="2151770"/>
              <a:ext cx="81495" cy="37452"/>
            </a:xfrm>
            <a:custGeom>
              <a:avLst/>
              <a:gdLst>
                <a:gd name="T0" fmla="*/ 54 w 531"/>
                <a:gd name="T1" fmla="*/ 189 h 244"/>
                <a:gd name="T2" fmla="*/ 21 w 531"/>
                <a:gd name="T3" fmla="*/ 199 h 244"/>
                <a:gd name="T4" fmla="*/ 0 w 531"/>
                <a:gd name="T5" fmla="*/ 182 h 244"/>
                <a:gd name="T6" fmla="*/ 4 w 531"/>
                <a:gd name="T7" fmla="*/ 149 h 244"/>
                <a:gd name="T8" fmla="*/ 16 w 531"/>
                <a:gd name="T9" fmla="*/ 133 h 244"/>
                <a:gd name="T10" fmla="*/ 49 w 531"/>
                <a:gd name="T11" fmla="*/ 154 h 244"/>
                <a:gd name="T12" fmla="*/ 59 w 531"/>
                <a:gd name="T13" fmla="*/ 149 h 244"/>
                <a:gd name="T14" fmla="*/ 92 w 531"/>
                <a:gd name="T15" fmla="*/ 144 h 244"/>
                <a:gd name="T16" fmla="*/ 108 w 531"/>
                <a:gd name="T17" fmla="*/ 149 h 244"/>
                <a:gd name="T18" fmla="*/ 222 w 531"/>
                <a:gd name="T19" fmla="*/ 128 h 244"/>
                <a:gd name="T20" fmla="*/ 236 w 531"/>
                <a:gd name="T21" fmla="*/ 144 h 244"/>
                <a:gd name="T22" fmla="*/ 231 w 531"/>
                <a:gd name="T23" fmla="*/ 128 h 244"/>
                <a:gd name="T24" fmla="*/ 222 w 531"/>
                <a:gd name="T25" fmla="*/ 88 h 244"/>
                <a:gd name="T26" fmla="*/ 269 w 531"/>
                <a:gd name="T27" fmla="*/ 43 h 244"/>
                <a:gd name="T28" fmla="*/ 302 w 531"/>
                <a:gd name="T29" fmla="*/ 22 h 244"/>
                <a:gd name="T30" fmla="*/ 361 w 531"/>
                <a:gd name="T31" fmla="*/ 43 h 244"/>
                <a:gd name="T32" fmla="*/ 375 w 531"/>
                <a:gd name="T33" fmla="*/ 22 h 244"/>
                <a:gd name="T34" fmla="*/ 451 w 531"/>
                <a:gd name="T35" fmla="*/ 33 h 244"/>
                <a:gd name="T36" fmla="*/ 517 w 531"/>
                <a:gd name="T37" fmla="*/ 33 h 244"/>
                <a:gd name="T38" fmla="*/ 505 w 531"/>
                <a:gd name="T39" fmla="*/ 59 h 244"/>
                <a:gd name="T40" fmla="*/ 522 w 531"/>
                <a:gd name="T41" fmla="*/ 128 h 244"/>
                <a:gd name="T42" fmla="*/ 489 w 531"/>
                <a:gd name="T43" fmla="*/ 116 h 244"/>
                <a:gd name="T44" fmla="*/ 500 w 531"/>
                <a:gd name="T45" fmla="*/ 144 h 244"/>
                <a:gd name="T46" fmla="*/ 484 w 531"/>
                <a:gd name="T47" fmla="*/ 166 h 244"/>
                <a:gd name="T48" fmla="*/ 484 w 531"/>
                <a:gd name="T49" fmla="*/ 189 h 244"/>
                <a:gd name="T50" fmla="*/ 451 w 531"/>
                <a:gd name="T51" fmla="*/ 199 h 244"/>
                <a:gd name="T52" fmla="*/ 371 w 531"/>
                <a:gd name="T53" fmla="*/ 222 h 244"/>
                <a:gd name="T54" fmla="*/ 345 w 531"/>
                <a:gd name="T55" fmla="*/ 244 h 244"/>
                <a:gd name="T56" fmla="*/ 198 w 531"/>
                <a:gd name="T57" fmla="*/ 211 h 244"/>
                <a:gd name="T58" fmla="*/ 184 w 531"/>
                <a:gd name="T59" fmla="*/ 182 h 244"/>
                <a:gd name="T60" fmla="*/ 113 w 531"/>
                <a:gd name="T61" fmla="*/ 189 h 244"/>
                <a:gd name="T62" fmla="*/ 59 w 531"/>
                <a:gd name="T63" fmla="*/ 199 h 244"/>
                <a:gd name="T64" fmla="*/ 59 w 531"/>
                <a:gd name="T65" fmla="*/ 199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31" h="244">
                  <a:moveTo>
                    <a:pt x="59" y="199"/>
                  </a:moveTo>
                  <a:lnTo>
                    <a:pt x="54" y="189"/>
                  </a:lnTo>
                  <a:lnTo>
                    <a:pt x="37" y="206"/>
                  </a:lnTo>
                  <a:lnTo>
                    <a:pt x="21" y="199"/>
                  </a:lnTo>
                  <a:lnTo>
                    <a:pt x="21" y="189"/>
                  </a:lnTo>
                  <a:lnTo>
                    <a:pt x="0" y="182"/>
                  </a:lnTo>
                  <a:lnTo>
                    <a:pt x="0" y="166"/>
                  </a:lnTo>
                  <a:lnTo>
                    <a:pt x="4" y="149"/>
                  </a:lnTo>
                  <a:lnTo>
                    <a:pt x="0" y="144"/>
                  </a:lnTo>
                  <a:lnTo>
                    <a:pt x="16" y="133"/>
                  </a:lnTo>
                  <a:lnTo>
                    <a:pt x="21" y="144"/>
                  </a:lnTo>
                  <a:lnTo>
                    <a:pt x="49" y="154"/>
                  </a:lnTo>
                  <a:lnTo>
                    <a:pt x="37" y="166"/>
                  </a:lnTo>
                  <a:lnTo>
                    <a:pt x="59" y="149"/>
                  </a:lnTo>
                  <a:lnTo>
                    <a:pt x="59" y="133"/>
                  </a:lnTo>
                  <a:lnTo>
                    <a:pt x="92" y="144"/>
                  </a:lnTo>
                  <a:lnTo>
                    <a:pt x="101" y="149"/>
                  </a:lnTo>
                  <a:lnTo>
                    <a:pt x="108" y="149"/>
                  </a:lnTo>
                  <a:lnTo>
                    <a:pt x="146" y="133"/>
                  </a:lnTo>
                  <a:lnTo>
                    <a:pt x="222" y="128"/>
                  </a:lnTo>
                  <a:lnTo>
                    <a:pt x="222" y="144"/>
                  </a:lnTo>
                  <a:lnTo>
                    <a:pt x="236" y="144"/>
                  </a:lnTo>
                  <a:lnTo>
                    <a:pt x="248" y="128"/>
                  </a:lnTo>
                  <a:lnTo>
                    <a:pt x="231" y="128"/>
                  </a:lnTo>
                  <a:lnTo>
                    <a:pt x="236" y="111"/>
                  </a:lnTo>
                  <a:lnTo>
                    <a:pt x="222" y="88"/>
                  </a:lnTo>
                  <a:lnTo>
                    <a:pt x="269" y="59"/>
                  </a:lnTo>
                  <a:lnTo>
                    <a:pt x="269" y="43"/>
                  </a:lnTo>
                  <a:lnTo>
                    <a:pt x="290" y="43"/>
                  </a:lnTo>
                  <a:lnTo>
                    <a:pt x="302" y="22"/>
                  </a:lnTo>
                  <a:lnTo>
                    <a:pt x="323" y="38"/>
                  </a:lnTo>
                  <a:lnTo>
                    <a:pt x="361" y="43"/>
                  </a:lnTo>
                  <a:lnTo>
                    <a:pt x="371" y="22"/>
                  </a:lnTo>
                  <a:lnTo>
                    <a:pt x="375" y="22"/>
                  </a:lnTo>
                  <a:lnTo>
                    <a:pt x="382" y="0"/>
                  </a:lnTo>
                  <a:lnTo>
                    <a:pt x="451" y="33"/>
                  </a:lnTo>
                  <a:lnTo>
                    <a:pt x="484" y="22"/>
                  </a:lnTo>
                  <a:lnTo>
                    <a:pt x="517" y="33"/>
                  </a:lnTo>
                  <a:lnTo>
                    <a:pt x="517" y="38"/>
                  </a:lnTo>
                  <a:lnTo>
                    <a:pt x="505" y="59"/>
                  </a:lnTo>
                  <a:lnTo>
                    <a:pt x="531" y="95"/>
                  </a:lnTo>
                  <a:lnTo>
                    <a:pt x="522" y="128"/>
                  </a:lnTo>
                  <a:lnTo>
                    <a:pt x="500" y="128"/>
                  </a:lnTo>
                  <a:lnTo>
                    <a:pt x="489" y="116"/>
                  </a:lnTo>
                  <a:lnTo>
                    <a:pt x="484" y="128"/>
                  </a:lnTo>
                  <a:lnTo>
                    <a:pt x="500" y="144"/>
                  </a:lnTo>
                  <a:lnTo>
                    <a:pt x="484" y="149"/>
                  </a:lnTo>
                  <a:lnTo>
                    <a:pt x="484" y="166"/>
                  </a:lnTo>
                  <a:lnTo>
                    <a:pt x="479" y="166"/>
                  </a:lnTo>
                  <a:lnTo>
                    <a:pt x="484" y="189"/>
                  </a:lnTo>
                  <a:lnTo>
                    <a:pt x="467" y="189"/>
                  </a:lnTo>
                  <a:lnTo>
                    <a:pt x="451" y="199"/>
                  </a:lnTo>
                  <a:lnTo>
                    <a:pt x="437" y="211"/>
                  </a:lnTo>
                  <a:lnTo>
                    <a:pt x="371" y="222"/>
                  </a:lnTo>
                  <a:lnTo>
                    <a:pt x="371" y="239"/>
                  </a:lnTo>
                  <a:lnTo>
                    <a:pt x="345" y="244"/>
                  </a:lnTo>
                  <a:lnTo>
                    <a:pt x="290" y="227"/>
                  </a:lnTo>
                  <a:lnTo>
                    <a:pt x="198" y="211"/>
                  </a:lnTo>
                  <a:lnTo>
                    <a:pt x="184" y="199"/>
                  </a:lnTo>
                  <a:lnTo>
                    <a:pt x="184" y="182"/>
                  </a:lnTo>
                  <a:lnTo>
                    <a:pt x="156" y="189"/>
                  </a:lnTo>
                  <a:lnTo>
                    <a:pt x="113" y="189"/>
                  </a:lnTo>
                  <a:lnTo>
                    <a:pt x="101" y="211"/>
                  </a:lnTo>
                  <a:lnTo>
                    <a:pt x="59" y="199"/>
                  </a:lnTo>
                  <a:lnTo>
                    <a:pt x="59" y="199"/>
                  </a:lnTo>
                  <a:lnTo>
                    <a:pt x="59" y="199"/>
                  </a:lnTo>
                  <a:close/>
                </a:path>
              </a:pathLst>
            </a:custGeom>
            <a:solidFill>
              <a:schemeClr val="bg2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40" name="Freeform 390">
              <a:extLst>
                <a:ext uri="{FF2B5EF4-FFF2-40B4-BE49-F238E27FC236}">
                  <a16:creationId xmlns:a16="http://schemas.microsoft.com/office/drawing/2014/main" id="{9F675966-C691-469A-9AB1-C0FEBAC13720}"/>
                </a:ext>
              </a:extLst>
            </p:cNvPr>
            <p:cNvSpPr>
              <a:spLocks/>
            </p:cNvSpPr>
            <p:nvPr/>
          </p:nvSpPr>
          <p:spPr bwMode="gray">
            <a:xfrm>
              <a:off x="6705229" y="2446167"/>
              <a:ext cx="307" cy="4451"/>
            </a:xfrm>
            <a:custGeom>
              <a:avLst/>
              <a:gdLst>
                <a:gd name="T0" fmla="*/ 2 w 2"/>
                <a:gd name="T1" fmla="*/ 0 h 29"/>
                <a:gd name="T2" fmla="*/ 2 w 2"/>
                <a:gd name="T3" fmla="*/ 29 h 29"/>
                <a:gd name="T4" fmla="*/ 0 w 2"/>
                <a:gd name="T5" fmla="*/ 17 h 29"/>
                <a:gd name="T6" fmla="*/ 0 w 2"/>
                <a:gd name="T7" fmla="*/ 0 h 29"/>
                <a:gd name="T8" fmla="*/ 2 w 2"/>
                <a:gd name="T9" fmla="*/ 0 h 29"/>
                <a:gd name="T10" fmla="*/ 2 w 2"/>
                <a:gd name="T11" fmla="*/ 0 h 29"/>
                <a:gd name="T12" fmla="*/ 2 w 2"/>
                <a:gd name="T13" fmla="*/ 0 h 29"/>
                <a:gd name="T14" fmla="*/ 2 w 2"/>
                <a:gd name="T15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" h="29">
                  <a:moveTo>
                    <a:pt x="2" y="0"/>
                  </a:moveTo>
                  <a:lnTo>
                    <a:pt x="2" y="29"/>
                  </a:lnTo>
                  <a:lnTo>
                    <a:pt x="0" y="17"/>
                  </a:lnTo>
                  <a:lnTo>
                    <a:pt x="0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chemeClr val="bg2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41" name="Freeform 391">
              <a:extLst>
                <a:ext uri="{FF2B5EF4-FFF2-40B4-BE49-F238E27FC236}">
                  <a16:creationId xmlns:a16="http://schemas.microsoft.com/office/drawing/2014/main" id="{D6D7F89A-B5DB-43DC-A02E-E1D7298D88DC}"/>
                </a:ext>
              </a:extLst>
            </p:cNvPr>
            <p:cNvSpPr>
              <a:spLocks/>
            </p:cNvSpPr>
            <p:nvPr/>
          </p:nvSpPr>
          <p:spPr bwMode="gray">
            <a:xfrm>
              <a:off x="5519788" y="2594133"/>
              <a:ext cx="1842" cy="2917"/>
            </a:xfrm>
            <a:custGeom>
              <a:avLst/>
              <a:gdLst>
                <a:gd name="T0" fmla="*/ 7 w 12"/>
                <a:gd name="T1" fmla="*/ 19 h 19"/>
                <a:gd name="T2" fmla="*/ 0 w 12"/>
                <a:gd name="T3" fmla="*/ 19 h 19"/>
                <a:gd name="T4" fmla="*/ 0 w 12"/>
                <a:gd name="T5" fmla="*/ 0 h 19"/>
                <a:gd name="T6" fmla="*/ 12 w 12"/>
                <a:gd name="T7" fmla="*/ 12 h 19"/>
                <a:gd name="T8" fmla="*/ 7 w 12"/>
                <a:gd name="T9" fmla="*/ 19 h 19"/>
                <a:gd name="T10" fmla="*/ 7 w 12"/>
                <a:gd name="T11" fmla="*/ 19 h 19"/>
                <a:gd name="T12" fmla="*/ 7 w 12"/>
                <a:gd name="T13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19">
                  <a:moveTo>
                    <a:pt x="7" y="19"/>
                  </a:moveTo>
                  <a:lnTo>
                    <a:pt x="0" y="19"/>
                  </a:lnTo>
                  <a:lnTo>
                    <a:pt x="0" y="0"/>
                  </a:lnTo>
                  <a:lnTo>
                    <a:pt x="12" y="12"/>
                  </a:lnTo>
                  <a:lnTo>
                    <a:pt x="7" y="19"/>
                  </a:lnTo>
                  <a:lnTo>
                    <a:pt x="7" y="19"/>
                  </a:lnTo>
                  <a:lnTo>
                    <a:pt x="7" y="19"/>
                  </a:lnTo>
                  <a:close/>
                </a:path>
              </a:pathLst>
            </a:custGeom>
            <a:solidFill>
              <a:schemeClr val="bg2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44" name="Freeform 392">
              <a:extLst>
                <a:ext uri="{FF2B5EF4-FFF2-40B4-BE49-F238E27FC236}">
                  <a16:creationId xmlns:a16="http://schemas.microsoft.com/office/drawing/2014/main" id="{3737B2C1-A770-48E4-BA40-7B0E38220832}"/>
                </a:ext>
              </a:extLst>
            </p:cNvPr>
            <p:cNvSpPr>
              <a:spLocks/>
            </p:cNvSpPr>
            <p:nvPr/>
          </p:nvSpPr>
          <p:spPr bwMode="gray">
            <a:xfrm>
              <a:off x="6377099" y="2940718"/>
              <a:ext cx="100065" cy="105910"/>
            </a:xfrm>
            <a:custGeom>
              <a:avLst/>
              <a:gdLst>
                <a:gd name="T0" fmla="*/ 0 w 652"/>
                <a:gd name="T1" fmla="*/ 525 h 690"/>
                <a:gd name="T2" fmla="*/ 0 w 652"/>
                <a:gd name="T3" fmla="*/ 322 h 690"/>
                <a:gd name="T4" fmla="*/ 71 w 652"/>
                <a:gd name="T5" fmla="*/ 322 h 690"/>
                <a:gd name="T6" fmla="*/ 71 w 652"/>
                <a:gd name="T7" fmla="*/ 45 h 690"/>
                <a:gd name="T8" fmla="*/ 232 w 652"/>
                <a:gd name="T9" fmla="*/ 17 h 690"/>
                <a:gd name="T10" fmla="*/ 253 w 652"/>
                <a:gd name="T11" fmla="*/ 55 h 690"/>
                <a:gd name="T12" fmla="*/ 303 w 652"/>
                <a:gd name="T13" fmla="*/ 17 h 690"/>
                <a:gd name="T14" fmla="*/ 312 w 652"/>
                <a:gd name="T15" fmla="*/ 29 h 690"/>
                <a:gd name="T16" fmla="*/ 340 w 652"/>
                <a:gd name="T17" fmla="*/ 0 h 690"/>
                <a:gd name="T18" fmla="*/ 366 w 652"/>
                <a:gd name="T19" fmla="*/ 0 h 690"/>
                <a:gd name="T20" fmla="*/ 366 w 652"/>
                <a:gd name="T21" fmla="*/ 29 h 690"/>
                <a:gd name="T22" fmla="*/ 416 w 652"/>
                <a:gd name="T23" fmla="*/ 88 h 690"/>
                <a:gd name="T24" fmla="*/ 416 w 652"/>
                <a:gd name="T25" fmla="*/ 100 h 690"/>
                <a:gd name="T26" fmla="*/ 430 w 652"/>
                <a:gd name="T27" fmla="*/ 128 h 690"/>
                <a:gd name="T28" fmla="*/ 468 w 652"/>
                <a:gd name="T29" fmla="*/ 161 h 690"/>
                <a:gd name="T30" fmla="*/ 501 w 652"/>
                <a:gd name="T31" fmla="*/ 178 h 690"/>
                <a:gd name="T32" fmla="*/ 506 w 652"/>
                <a:gd name="T33" fmla="*/ 211 h 690"/>
                <a:gd name="T34" fmla="*/ 539 w 652"/>
                <a:gd name="T35" fmla="*/ 211 h 690"/>
                <a:gd name="T36" fmla="*/ 539 w 652"/>
                <a:gd name="T37" fmla="*/ 248 h 690"/>
                <a:gd name="T38" fmla="*/ 560 w 652"/>
                <a:gd name="T39" fmla="*/ 289 h 690"/>
                <a:gd name="T40" fmla="*/ 598 w 652"/>
                <a:gd name="T41" fmla="*/ 289 h 690"/>
                <a:gd name="T42" fmla="*/ 631 w 652"/>
                <a:gd name="T43" fmla="*/ 305 h 690"/>
                <a:gd name="T44" fmla="*/ 631 w 652"/>
                <a:gd name="T45" fmla="*/ 322 h 690"/>
                <a:gd name="T46" fmla="*/ 648 w 652"/>
                <a:gd name="T47" fmla="*/ 322 h 690"/>
                <a:gd name="T48" fmla="*/ 652 w 652"/>
                <a:gd name="T49" fmla="*/ 338 h 690"/>
                <a:gd name="T50" fmla="*/ 631 w 652"/>
                <a:gd name="T51" fmla="*/ 338 h 690"/>
                <a:gd name="T52" fmla="*/ 626 w 652"/>
                <a:gd name="T53" fmla="*/ 348 h 690"/>
                <a:gd name="T54" fmla="*/ 577 w 652"/>
                <a:gd name="T55" fmla="*/ 364 h 690"/>
                <a:gd name="T56" fmla="*/ 555 w 652"/>
                <a:gd name="T57" fmla="*/ 397 h 690"/>
                <a:gd name="T58" fmla="*/ 529 w 652"/>
                <a:gd name="T59" fmla="*/ 414 h 690"/>
                <a:gd name="T60" fmla="*/ 522 w 652"/>
                <a:gd name="T61" fmla="*/ 421 h 690"/>
                <a:gd name="T62" fmla="*/ 518 w 652"/>
                <a:gd name="T63" fmla="*/ 421 h 690"/>
                <a:gd name="T64" fmla="*/ 485 w 652"/>
                <a:gd name="T65" fmla="*/ 447 h 690"/>
                <a:gd name="T66" fmla="*/ 475 w 652"/>
                <a:gd name="T67" fmla="*/ 492 h 690"/>
                <a:gd name="T68" fmla="*/ 447 w 652"/>
                <a:gd name="T69" fmla="*/ 515 h 690"/>
                <a:gd name="T70" fmla="*/ 409 w 652"/>
                <a:gd name="T71" fmla="*/ 525 h 690"/>
                <a:gd name="T72" fmla="*/ 392 w 652"/>
                <a:gd name="T73" fmla="*/ 581 h 690"/>
                <a:gd name="T74" fmla="*/ 383 w 652"/>
                <a:gd name="T75" fmla="*/ 598 h 690"/>
                <a:gd name="T76" fmla="*/ 324 w 652"/>
                <a:gd name="T77" fmla="*/ 615 h 690"/>
                <a:gd name="T78" fmla="*/ 303 w 652"/>
                <a:gd name="T79" fmla="*/ 603 h 690"/>
                <a:gd name="T80" fmla="*/ 291 w 652"/>
                <a:gd name="T81" fmla="*/ 598 h 690"/>
                <a:gd name="T82" fmla="*/ 270 w 652"/>
                <a:gd name="T83" fmla="*/ 598 h 690"/>
                <a:gd name="T84" fmla="*/ 237 w 652"/>
                <a:gd name="T85" fmla="*/ 565 h 690"/>
                <a:gd name="T86" fmla="*/ 206 w 652"/>
                <a:gd name="T87" fmla="*/ 570 h 690"/>
                <a:gd name="T88" fmla="*/ 194 w 652"/>
                <a:gd name="T89" fmla="*/ 586 h 690"/>
                <a:gd name="T90" fmla="*/ 182 w 652"/>
                <a:gd name="T91" fmla="*/ 624 h 690"/>
                <a:gd name="T92" fmla="*/ 152 w 652"/>
                <a:gd name="T93" fmla="*/ 652 h 690"/>
                <a:gd name="T94" fmla="*/ 140 w 652"/>
                <a:gd name="T95" fmla="*/ 674 h 690"/>
                <a:gd name="T96" fmla="*/ 123 w 652"/>
                <a:gd name="T97" fmla="*/ 674 h 690"/>
                <a:gd name="T98" fmla="*/ 114 w 652"/>
                <a:gd name="T99" fmla="*/ 690 h 690"/>
                <a:gd name="T100" fmla="*/ 43 w 652"/>
                <a:gd name="T101" fmla="*/ 681 h 690"/>
                <a:gd name="T102" fmla="*/ 38 w 652"/>
                <a:gd name="T103" fmla="*/ 657 h 690"/>
                <a:gd name="T104" fmla="*/ 59 w 652"/>
                <a:gd name="T105" fmla="*/ 636 h 690"/>
                <a:gd name="T106" fmla="*/ 55 w 652"/>
                <a:gd name="T107" fmla="*/ 615 h 690"/>
                <a:gd name="T108" fmla="*/ 22 w 652"/>
                <a:gd name="T109" fmla="*/ 548 h 690"/>
                <a:gd name="T110" fmla="*/ 0 w 652"/>
                <a:gd name="T111" fmla="*/ 525 h 690"/>
                <a:gd name="T112" fmla="*/ 0 w 652"/>
                <a:gd name="T113" fmla="*/ 525 h 690"/>
                <a:gd name="T114" fmla="*/ 0 w 652"/>
                <a:gd name="T115" fmla="*/ 525 h 6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652" h="690">
                  <a:moveTo>
                    <a:pt x="0" y="525"/>
                  </a:moveTo>
                  <a:lnTo>
                    <a:pt x="0" y="322"/>
                  </a:lnTo>
                  <a:lnTo>
                    <a:pt x="71" y="322"/>
                  </a:lnTo>
                  <a:lnTo>
                    <a:pt x="71" y="45"/>
                  </a:lnTo>
                  <a:lnTo>
                    <a:pt x="232" y="17"/>
                  </a:lnTo>
                  <a:lnTo>
                    <a:pt x="253" y="55"/>
                  </a:lnTo>
                  <a:lnTo>
                    <a:pt x="303" y="17"/>
                  </a:lnTo>
                  <a:lnTo>
                    <a:pt x="312" y="29"/>
                  </a:lnTo>
                  <a:lnTo>
                    <a:pt x="340" y="0"/>
                  </a:lnTo>
                  <a:lnTo>
                    <a:pt x="366" y="0"/>
                  </a:lnTo>
                  <a:lnTo>
                    <a:pt x="366" y="29"/>
                  </a:lnTo>
                  <a:lnTo>
                    <a:pt x="416" y="88"/>
                  </a:lnTo>
                  <a:lnTo>
                    <a:pt x="416" y="100"/>
                  </a:lnTo>
                  <a:lnTo>
                    <a:pt x="430" y="128"/>
                  </a:lnTo>
                  <a:lnTo>
                    <a:pt x="468" y="161"/>
                  </a:lnTo>
                  <a:lnTo>
                    <a:pt x="501" y="178"/>
                  </a:lnTo>
                  <a:lnTo>
                    <a:pt x="506" y="211"/>
                  </a:lnTo>
                  <a:lnTo>
                    <a:pt x="539" y="211"/>
                  </a:lnTo>
                  <a:lnTo>
                    <a:pt x="539" y="248"/>
                  </a:lnTo>
                  <a:lnTo>
                    <a:pt x="560" y="289"/>
                  </a:lnTo>
                  <a:lnTo>
                    <a:pt x="598" y="289"/>
                  </a:lnTo>
                  <a:lnTo>
                    <a:pt x="631" y="305"/>
                  </a:lnTo>
                  <a:lnTo>
                    <a:pt x="631" y="322"/>
                  </a:lnTo>
                  <a:lnTo>
                    <a:pt x="648" y="322"/>
                  </a:lnTo>
                  <a:lnTo>
                    <a:pt x="652" y="338"/>
                  </a:lnTo>
                  <a:lnTo>
                    <a:pt x="631" y="338"/>
                  </a:lnTo>
                  <a:lnTo>
                    <a:pt x="626" y="348"/>
                  </a:lnTo>
                  <a:lnTo>
                    <a:pt x="577" y="364"/>
                  </a:lnTo>
                  <a:lnTo>
                    <a:pt x="555" y="397"/>
                  </a:lnTo>
                  <a:lnTo>
                    <a:pt x="529" y="414"/>
                  </a:lnTo>
                  <a:lnTo>
                    <a:pt x="522" y="421"/>
                  </a:lnTo>
                  <a:lnTo>
                    <a:pt x="518" y="421"/>
                  </a:lnTo>
                  <a:lnTo>
                    <a:pt x="485" y="447"/>
                  </a:lnTo>
                  <a:lnTo>
                    <a:pt x="475" y="492"/>
                  </a:lnTo>
                  <a:lnTo>
                    <a:pt x="447" y="515"/>
                  </a:lnTo>
                  <a:lnTo>
                    <a:pt x="409" y="525"/>
                  </a:lnTo>
                  <a:lnTo>
                    <a:pt x="392" y="581"/>
                  </a:lnTo>
                  <a:lnTo>
                    <a:pt x="383" y="598"/>
                  </a:lnTo>
                  <a:lnTo>
                    <a:pt x="324" y="615"/>
                  </a:lnTo>
                  <a:lnTo>
                    <a:pt x="303" y="603"/>
                  </a:lnTo>
                  <a:lnTo>
                    <a:pt x="291" y="598"/>
                  </a:lnTo>
                  <a:lnTo>
                    <a:pt x="270" y="598"/>
                  </a:lnTo>
                  <a:lnTo>
                    <a:pt x="237" y="565"/>
                  </a:lnTo>
                  <a:lnTo>
                    <a:pt x="206" y="570"/>
                  </a:lnTo>
                  <a:lnTo>
                    <a:pt x="194" y="586"/>
                  </a:lnTo>
                  <a:lnTo>
                    <a:pt x="182" y="624"/>
                  </a:lnTo>
                  <a:lnTo>
                    <a:pt x="152" y="652"/>
                  </a:lnTo>
                  <a:lnTo>
                    <a:pt x="140" y="674"/>
                  </a:lnTo>
                  <a:lnTo>
                    <a:pt x="123" y="674"/>
                  </a:lnTo>
                  <a:lnTo>
                    <a:pt x="114" y="690"/>
                  </a:lnTo>
                  <a:lnTo>
                    <a:pt x="43" y="681"/>
                  </a:lnTo>
                  <a:lnTo>
                    <a:pt x="38" y="657"/>
                  </a:lnTo>
                  <a:lnTo>
                    <a:pt x="59" y="636"/>
                  </a:lnTo>
                  <a:lnTo>
                    <a:pt x="55" y="615"/>
                  </a:lnTo>
                  <a:lnTo>
                    <a:pt x="22" y="548"/>
                  </a:lnTo>
                  <a:lnTo>
                    <a:pt x="0" y="525"/>
                  </a:lnTo>
                  <a:lnTo>
                    <a:pt x="0" y="525"/>
                  </a:lnTo>
                  <a:lnTo>
                    <a:pt x="0" y="525"/>
                  </a:lnTo>
                  <a:close/>
                </a:path>
              </a:pathLst>
            </a:custGeom>
            <a:solidFill>
              <a:schemeClr val="bg2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45" name="Freeform 393">
              <a:extLst>
                <a:ext uri="{FF2B5EF4-FFF2-40B4-BE49-F238E27FC236}">
                  <a16:creationId xmlns:a16="http://schemas.microsoft.com/office/drawing/2014/main" id="{976DF059-1767-47B1-9A5D-7CE620577D09}"/>
                </a:ext>
              </a:extLst>
            </p:cNvPr>
            <p:cNvSpPr>
              <a:spLocks/>
            </p:cNvSpPr>
            <p:nvPr/>
          </p:nvSpPr>
          <p:spPr bwMode="gray">
            <a:xfrm>
              <a:off x="6188632" y="2115852"/>
              <a:ext cx="41745" cy="29778"/>
            </a:xfrm>
            <a:custGeom>
              <a:avLst/>
              <a:gdLst>
                <a:gd name="T0" fmla="*/ 255 w 272"/>
                <a:gd name="T1" fmla="*/ 128 h 194"/>
                <a:gd name="T2" fmla="*/ 239 w 272"/>
                <a:gd name="T3" fmla="*/ 128 h 194"/>
                <a:gd name="T4" fmla="*/ 222 w 272"/>
                <a:gd name="T5" fmla="*/ 145 h 194"/>
                <a:gd name="T6" fmla="*/ 222 w 272"/>
                <a:gd name="T7" fmla="*/ 161 h 194"/>
                <a:gd name="T8" fmla="*/ 239 w 272"/>
                <a:gd name="T9" fmla="*/ 178 h 194"/>
                <a:gd name="T10" fmla="*/ 227 w 272"/>
                <a:gd name="T11" fmla="*/ 185 h 194"/>
                <a:gd name="T12" fmla="*/ 206 w 272"/>
                <a:gd name="T13" fmla="*/ 194 h 194"/>
                <a:gd name="T14" fmla="*/ 189 w 272"/>
                <a:gd name="T15" fmla="*/ 178 h 194"/>
                <a:gd name="T16" fmla="*/ 163 w 272"/>
                <a:gd name="T17" fmla="*/ 161 h 194"/>
                <a:gd name="T18" fmla="*/ 163 w 272"/>
                <a:gd name="T19" fmla="*/ 145 h 194"/>
                <a:gd name="T20" fmla="*/ 163 w 272"/>
                <a:gd name="T21" fmla="*/ 128 h 194"/>
                <a:gd name="T22" fmla="*/ 163 w 272"/>
                <a:gd name="T23" fmla="*/ 128 h 194"/>
                <a:gd name="T24" fmla="*/ 137 w 272"/>
                <a:gd name="T25" fmla="*/ 156 h 194"/>
                <a:gd name="T26" fmla="*/ 113 w 272"/>
                <a:gd name="T27" fmla="*/ 145 h 194"/>
                <a:gd name="T28" fmla="*/ 113 w 272"/>
                <a:gd name="T29" fmla="*/ 123 h 194"/>
                <a:gd name="T30" fmla="*/ 83 w 272"/>
                <a:gd name="T31" fmla="*/ 112 h 194"/>
                <a:gd name="T32" fmla="*/ 76 w 272"/>
                <a:gd name="T33" fmla="*/ 102 h 194"/>
                <a:gd name="T34" fmla="*/ 54 w 272"/>
                <a:gd name="T35" fmla="*/ 102 h 194"/>
                <a:gd name="T36" fmla="*/ 45 w 272"/>
                <a:gd name="T37" fmla="*/ 69 h 194"/>
                <a:gd name="T38" fmla="*/ 21 w 272"/>
                <a:gd name="T39" fmla="*/ 74 h 194"/>
                <a:gd name="T40" fmla="*/ 7 w 272"/>
                <a:gd name="T41" fmla="*/ 69 h 194"/>
                <a:gd name="T42" fmla="*/ 0 w 272"/>
                <a:gd name="T43" fmla="*/ 45 h 194"/>
                <a:gd name="T44" fmla="*/ 59 w 272"/>
                <a:gd name="T45" fmla="*/ 12 h 194"/>
                <a:gd name="T46" fmla="*/ 59 w 272"/>
                <a:gd name="T47" fmla="*/ 29 h 194"/>
                <a:gd name="T48" fmla="*/ 76 w 272"/>
                <a:gd name="T49" fmla="*/ 17 h 194"/>
                <a:gd name="T50" fmla="*/ 92 w 272"/>
                <a:gd name="T51" fmla="*/ 29 h 194"/>
                <a:gd name="T52" fmla="*/ 120 w 272"/>
                <a:gd name="T53" fmla="*/ 17 h 194"/>
                <a:gd name="T54" fmla="*/ 120 w 272"/>
                <a:gd name="T55" fmla="*/ 29 h 194"/>
                <a:gd name="T56" fmla="*/ 120 w 272"/>
                <a:gd name="T57" fmla="*/ 12 h 194"/>
                <a:gd name="T58" fmla="*/ 130 w 272"/>
                <a:gd name="T59" fmla="*/ 17 h 194"/>
                <a:gd name="T60" fmla="*/ 130 w 272"/>
                <a:gd name="T61" fmla="*/ 12 h 194"/>
                <a:gd name="T62" fmla="*/ 137 w 272"/>
                <a:gd name="T63" fmla="*/ 0 h 194"/>
                <a:gd name="T64" fmla="*/ 146 w 272"/>
                <a:gd name="T65" fmla="*/ 12 h 194"/>
                <a:gd name="T66" fmla="*/ 163 w 272"/>
                <a:gd name="T67" fmla="*/ 0 h 194"/>
                <a:gd name="T68" fmla="*/ 168 w 272"/>
                <a:gd name="T69" fmla="*/ 12 h 194"/>
                <a:gd name="T70" fmla="*/ 175 w 272"/>
                <a:gd name="T71" fmla="*/ 0 h 194"/>
                <a:gd name="T72" fmla="*/ 189 w 272"/>
                <a:gd name="T73" fmla="*/ 29 h 194"/>
                <a:gd name="T74" fmla="*/ 206 w 272"/>
                <a:gd name="T75" fmla="*/ 17 h 194"/>
                <a:gd name="T76" fmla="*/ 227 w 272"/>
                <a:gd name="T77" fmla="*/ 34 h 194"/>
                <a:gd name="T78" fmla="*/ 217 w 272"/>
                <a:gd name="T79" fmla="*/ 69 h 194"/>
                <a:gd name="T80" fmla="*/ 222 w 272"/>
                <a:gd name="T81" fmla="*/ 74 h 194"/>
                <a:gd name="T82" fmla="*/ 243 w 272"/>
                <a:gd name="T83" fmla="*/ 74 h 194"/>
                <a:gd name="T84" fmla="*/ 260 w 272"/>
                <a:gd name="T85" fmla="*/ 86 h 194"/>
                <a:gd name="T86" fmla="*/ 272 w 272"/>
                <a:gd name="T87" fmla="*/ 112 h 194"/>
                <a:gd name="T88" fmla="*/ 255 w 272"/>
                <a:gd name="T89" fmla="*/ 123 h 194"/>
                <a:gd name="T90" fmla="*/ 255 w 272"/>
                <a:gd name="T91" fmla="*/ 128 h 194"/>
                <a:gd name="T92" fmla="*/ 255 w 272"/>
                <a:gd name="T93" fmla="*/ 128 h 194"/>
                <a:gd name="T94" fmla="*/ 255 w 272"/>
                <a:gd name="T95" fmla="*/ 128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72" h="194">
                  <a:moveTo>
                    <a:pt x="255" y="128"/>
                  </a:moveTo>
                  <a:lnTo>
                    <a:pt x="239" y="128"/>
                  </a:lnTo>
                  <a:lnTo>
                    <a:pt x="222" y="145"/>
                  </a:lnTo>
                  <a:lnTo>
                    <a:pt x="222" y="161"/>
                  </a:lnTo>
                  <a:lnTo>
                    <a:pt x="239" y="178"/>
                  </a:lnTo>
                  <a:lnTo>
                    <a:pt x="227" y="185"/>
                  </a:lnTo>
                  <a:lnTo>
                    <a:pt x="206" y="194"/>
                  </a:lnTo>
                  <a:lnTo>
                    <a:pt x="189" y="178"/>
                  </a:lnTo>
                  <a:lnTo>
                    <a:pt x="163" y="161"/>
                  </a:lnTo>
                  <a:lnTo>
                    <a:pt x="163" y="145"/>
                  </a:lnTo>
                  <a:lnTo>
                    <a:pt x="163" y="128"/>
                  </a:lnTo>
                  <a:lnTo>
                    <a:pt x="163" y="128"/>
                  </a:lnTo>
                  <a:lnTo>
                    <a:pt x="137" y="156"/>
                  </a:lnTo>
                  <a:lnTo>
                    <a:pt x="113" y="145"/>
                  </a:lnTo>
                  <a:lnTo>
                    <a:pt x="113" y="123"/>
                  </a:lnTo>
                  <a:lnTo>
                    <a:pt x="83" y="112"/>
                  </a:lnTo>
                  <a:lnTo>
                    <a:pt x="76" y="102"/>
                  </a:lnTo>
                  <a:lnTo>
                    <a:pt x="54" y="102"/>
                  </a:lnTo>
                  <a:lnTo>
                    <a:pt x="45" y="69"/>
                  </a:lnTo>
                  <a:lnTo>
                    <a:pt x="21" y="74"/>
                  </a:lnTo>
                  <a:lnTo>
                    <a:pt x="7" y="69"/>
                  </a:lnTo>
                  <a:lnTo>
                    <a:pt x="0" y="45"/>
                  </a:lnTo>
                  <a:lnTo>
                    <a:pt x="59" y="12"/>
                  </a:lnTo>
                  <a:lnTo>
                    <a:pt x="59" y="29"/>
                  </a:lnTo>
                  <a:lnTo>
                    <a:pt x="76" y="17"/>
                  </a:lnTo>
                  <a:lnTo>
                    <a:pt x="92" y="29"/>
                  </a:lnTo>
                  <a:lnTo>
                    <a:pt x="120" y="17"/>
                  </a:lnTo>
                  <a:lnTo>
                    <a:pt x="120" y="29"/>
                  </a:lnTo>
                  <a:lnTo>
                    <a:pt x="120" y="12"/>
                  </a:lnTo>
                  <a:lnTo>
                    <a:pt x="130" y="17"/>
                  </a:lnTo>
                  <a:lnTo>
                    <a:pt x="130" y="12"/>
                  </a:lnTo>
                  <a:lnTo>
                    <a:pt x="137" y="0"/>
                  </a:lnTo>
                  <a:lnTo>
                    <a:pt x="146" y="12"/>
                  </a:lnTo>
                  <a:lnTo>
                    <a:pt x="163" y="0"/>
                  </a:lnTo>
                  <a:lnTo>
                    <a:pt x="168" y="12"/>
                  </a:lnTo>
                  <a:lnTo>
                    <a:pt x="175" y="0"/>
                  </a:lnTo>
                  <a:lnTo>
                    <a:pt x="189" y="29"/>
                  </a:lnTo>
                  <a:lnTo>
                    <a:pt x="206" y="17"/>
                  </a:lnTo>
                  <a:lnTo>
                    <a:pt x="227" y="34"/>
                  </a:lnTo>
                  <a:lnTo>
                    <a:pt x="217" y="69"/>
                  </a:lnTo>
                  <a:lnTo>
                    <a:pt x="222" y="74"/>
                  </a:lnTo>
                  <a:lnTo>
                    <a:pt x="243" y="74"/>
                  </a:lnTo>
                  <a:lnTo>
                    <a:pt x="260" y="86"/>
                  </a:lnTo>
                  <a:lnTo>
                    <a:pt x="272" y="112"/>
                  </a:lnTo>
                  <a:lnTo>
                    <a:pt x="255" y="123"/>
                  </a:lnTo>
                  <a:lnTo>
                    <a:pt x="255" y="128"/>
                  </a:lnTo>
                  <a:lnTo>
                    <a:pt x="255" y="128"/>
                  </a:lnTo>
                  <a:lnTo>
                    <a:pt x="255" y="128"/>
                  </a:lnTo>
                  <a:close/>
                </a:path>
              </a:pathLst>
            </a:custGeom>
            <a:solidFill>
              <a:schemeClr val="bg2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46" name="Freeform 394">
              <a:extLst>
                <a:ext uri="{FF2B5EF4-FFF2-40B4-BE49-F238E27FC236}">
                  <a16:creationId xmlns:a16="http://schemas.microsoft.com/office/drawing/2014/main" id="{DA5A5F40-FAA4-4C47-8CD1-5802859BE8DB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311677" y="2437572"/>
              <a:ext cx="65534" cy="71067"/>
            </a:xfrm>
            <a:custGeom>
              <a:avLst/>
              <a:gdLst>
                <a:gd name="T0" fmla="*/ 111 w 427"/>
                <a:gd name="T1" fmla="*/ 21 h 463"/>
                <a:gd name="T2" fmla="*/ 123 w 427"/>
                <a:gd name="T3" fmla="*/ 56 h 463"/>
                <a:gd name="T4" fmla="*/ 123 w 427"/>
                <a:gd name="T5" fmla="*/ 56 h 463"/>
                <a:gd name="T6" fmla="*/ 111 w 427"/>
                <a:gd name="T7" fmla="*/ 21 h 463"/>
                <a:gd name="T8" fmla="*/ 68 w 427"/>
                <a:gd name="T9" fmla="*/ 0 h 463"/>
                <a:gd name="T10" fmla="*/ 0 w 427"/>
                <a:gd name="T11" fmla="*/ 16 h 463"/>
                <a:gd name="T12" fmla="*/ 73 w 427"/>
                <a:gd name="T13" fmla="*/ 16 h 463"/>
                <a:gd name="T14" fmla="*/ 14 w 427"/>
                <a:gd name="T15" fmla="*/ 28 h 463"/>
                <a:gd name="T16" fmla="*/ 198 w 427"/>
                <a:gd name="T17" fmla="*/ 134 h 463"/>
                <a:gd name="T18" fmla="*/ 187 w 427"/>
                <a:gd name="T19" fmla="*/ 156 h 463"/>
                <a:gd name="T20" fmla="*/ 161 w 427"/>
                <a:gd name="T21" fmla="*/ 111 h 463"/>
                <a:gd name="T22" fmla="*/ 149 w 427"/>
                <a:gd name="T23" fmla="*/ 101 h 463"/>
                <a:gd name="T24" fmla="*/ 80 w 427"/>
                <a:gd name="T25" fmla="*/ 184 h 463"/>
                <a:gd name="T26" fmla="*/ 42 w 427"/>
                <a:gd name="T27" fmla="*/ 167 h 463"/>
                <a:gd name="T28" fmla="*/ 42 w 427"/>
                <a:gd name="T29" fmla="*/ 167 h 463"/>
                <a:gd name="T30" fmla="*/ 52 w 427"/>
                <a:gd name="T31" fmla="*/ 134 h 463"/>
                <a:gd name="T32" fmla="*/ 94 w 427"/>
                <a:gd name="T33" fmla="*/ 139 h 463"/>
                <a:gd name="T34" fmla="*/ 106 w 427"/>
                <a:gd name="T35" fmla="*/ 151 h 463"/>
                <a:gd name="T36" fmla="*/ 234 w 427"/>
                <a:gd name="T37" fmla="*/ 212 h 463"/>
                <a:gd name="T38" fmla="*/ 257 w 427"/>
                <a:gd name="T39" fmla="*/ 212 h 463"/>
                <a:gd name="T40" fmla="*/ 241 w 427"/>
                <a:gd name="T41" fmla="*/ 212 h 463"/>
                <a:gd name="T42" fmla="*/ 80 w 427"/>
                <a:gd name="T43" fmla="*/ 212 h 463"/>
                <a:gd name="T44" fmla="*/ 94 w 427"/>
                <a:gd name="T45" fmla="*/ 212 h 463"/>
                <a:gd name="T46" fmla="*/ 80 w 427"/>
                <a:gd name="T47" fmla="*/ 245 h 463"/>
                <a:gd name="T48" fmla="*/ 73 w 427"/>
                <a:gd name="T49" fmla="*/ 224 h 463"/>
                <a:gd name="T50" fmla="*/ 90 w 427"/>
                <a:gd name="T51" fmla="*/ 196 h 463"/>
                <a:gd name="T52" fmla="*/ 73 w 427"/>
                <a:gd name="T53" fmla="*/ 205 h 463"/>
                <a:gd name="T54" fmla="*/ 68 w 427"/>
                <a:gd name="T55" fmla="*/ 205 h 463"/>
                <a:gd name="T56" fmla="*/ 309 w 427"/>
                <a:gd name="T57" fmla="*/ 212 h 463"/>
                <a:gd name="T58" fmla="*/ 305 w 427"/>
                <a:gd name="T59" fmla="*/ 212 h 463"/>
                <a:gd name="T60" fmla="*/ 283 w 427"/>
                <a:gd name="T61" fmla="*/ 245 h 463"/>
                <a:gd name="T62" fmla="*/ 288 w 427"/>
                <a:gd name="T63" fmla="*/ 250 h 463"/>
                <a:gd name="T64" fmla="*/ 272 w 427"/>
                <a:gd name="T65" fmla="*/ 286 h 463"/>
                <a:gd name="T66" fmla="*/ 272 w 427"/>
                <a:gd name="T67" fmla="*/ 295 h 463"/>
                <a:gd name="T68" fmla="*/ 250 w 427"/>
                <a:gd name="T69" fmla="*/ 245 h 463"/>
                <a:gd name="T70" fmla="*/ 338 w 427"/>
                <a:gd name="T71" fmla="*/ 323 h 463"/>
                <a:gd name="T72" fmla="*/ 342 w 427"/>
                <a:gd name="T73" fmla="*/ 323 h 463"/>
                <a:gd name="T74" fmla="*/ 338 w 427"/>
                <a:gd name="T75" fmla="*/ 323 h 463"/>
                <a:gd name="T76" fmla="*/ 342 w 427"/>
                <a:gd name="T77" fmla="*/ 323 h 463"/>
                <a:gd name="T78" fmla="*/ 326 w 427"/>
                <a:gd name="T79" fmla="*/ 368 h 463"/>
                <a:gd name="T80" fmla="*/ 427 w 427"/>
                <a:gd name="T81" fmla="*/ 356 h 463"/>
                <a:gd name="T82" fmla="*/ 427 w 427"/>
                <a:gd name="T83" fmla="*/ 352 h 463"/>
                <a:gd name="T84" fmla="*/ 427 w 427"/>
                <a:gd name="T85" fmla="*/ 356 h 463"/>
                <a:gd name="T86" fmla="*/ 418 w 427"/>
                <a:gd name="T87" fmla="*/ 413 h 463"/>
                <a:gd name="T88" fmla="*/ 411 w 427"/>
                <a:gd name="T89" fmla="*/ 425 h 463"/>
                <a:gd name="T90" fmla="*/ 380 w 427"/>
                <a:gd name="T91" fmla="*/ 434 h 463"/>
                <a:gd name="T92" fmla="*/ 401 w 427"/>
                <a:gd name="T93" fmla="*/ 451 h 463"/>
                <a:gd name="T94" fmla="*/ 364 w 427"/>
                <a:gd name="T95" fmla="*/ 463 h 4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427" h="463">
                  <a:moveTo>
                    <a:pt x="68" y="0"/>
                  </a:moveTo>
                  <a:lnTo>
                    <a:pt x="94" y="0"/>
                  </a:lnTo>
                  <a:lnTo>
                    <a:pt x="111" y="21"/>
                  </a:lnTo>
                  <a:lnTo>
                    <a:pt x="132" y="28"/>
                  </a:lnTo>
                  <a:lnTo>
                    <a:pt x="132" y="40"/>
                  </a:lnTo>
                  <a:lnTo>
                    <a:pt x="123" y="56"/>
                  </a:lnTo>
                  <a:lnTo>
                    <a:pt x="123" y="78"/>
                  </a:lnTo>
                  <a:lnTo>
                    <a:pt x="106" y="73"/>
                  </a:lnTo>
                  <a:lnTo>
                    <a:pt x="123" y="56"/>
                  </a:lnTo>
                  <a:lnTo>
                    <a:pt x="123" y="40"/>
                  </a:lnTo>
                  <a:lnTo>
                    <a:pt x="127" y="21"/>
                  </a:lnTo>
                  <a:lnTo>
                    <a:pt x="111" y="21"/>
                  </a:lnTo>
                  <a:lnTo>
                    <a:pt x="94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close/>
                  <a:moveTo>
                    <a:pt x="14" y="28"/>
                  </a:moveTo>
                  <a:lnTo>
                    <a:pt x="0" y="16"/>
                  </a:lnTo>
                  <a:lnTo>
                    <a:pt x="21" y="21"/>
                  </a:lnTo>
                  <a:lnTo>
                    <a:pt x="26" y="16"/>
                  </a:lnTo>
                  <a:lnTo>
                    <a:pt x="73" y="16"/>
                  </a:lnTo>
                  <a:lnTo>
                    <a:pt x="68" y="21"/>
                  </a:lnTo>
                  <a:lnTo>
                    <a:pt x="14" y="28"/>
                  </a:lnTo>
                  <a:lnTo>
                    <a:pt x="14" y="28"/>
                  </a:lnTo>
                  <a:lnTo>
                    <a:pt x="14" y="28"/>
                  </a:lnTo>
                  <a:close/>
                  <a:moveTo>
                    <a:pt x="149" y="101"/>
                  </a:moveTo>
                  <a:lnTo>
                    <a:pt x="198" y="134"/>
                  </a:lnTo>
                  <a:lnTo>
                    <a:pt x="198" y="172"/>
                  </a:lnTo>
                  <a:lnTo>
                    <a:pt x="182" y="156"/>
                  </a:lnTo>
                  <a:lnTo>
                    <a:pt x="187" y="156"/>
                  </a:lnTo>
                  <a:lnTo>
                    <a:pt x="198" y="134"/>
                  </a:lnTo>
                  <a:lnTo>
                    <a:pt x="182" y="118"/>
                  </a:lnTo>
                  <a:lnTo>
                    <a:pt x="161" y="111"/>
                  </a:lnTo>
                  <a:lnTo>
                    <a:pt x="149" y="101"/>
                  </a:lnTo>
                  <a:lnTo>
                    <a:pt x="149" y="101"/>
                  </a:lnTo>
                  <a:lnTo>
                    <a:pt x="149" y="101"/>
                  </a:lnTo>
                  <a:close/>
                  <a:moveTo>
                    <a:pt x="52" y="134"/>
                  </a:moveTo>
                  <a:lnTo>
                    <a:pt x="68" y="134"/>
                  </a:lnTo>
                  <a:lnTo>
                    <a:pt x="80" y="184"/>
                  </a:lnTo>
                  <a:lnTo>
                    <a:pt x="68" y="205"/>
                  </a:lnTo>
                  <a:lnTo>
                    <a:pt x="35" y="172"/>
                  </a:lnTo>
                  <a:lnTo>
                    <a:pt x="42" y="167"/>
                  </a:lnTo>
                  <a:lnTo>
                    <a:pt x="42" y="184"/>
                  </a:lnTo>
                  <a:lnTo>
                    <a:pt x="52" y="172"/>
                  </a:lnTo>
                  <a:lnTo>
                    <a:pt x="42" y="167"/>
                  </a:lnTo>
                  <a:lnTo>
                    <a:pt x="52" y="151"/>
                  </a:lnTo>
                  <a:lnTo>
                    <a:pt x="52" y="134"/>
                  </a:lnTo>
                  <a:lnTo>
                    <a:pt x="52" y="134"/>
                  </a:lnTo>
                  <a:lnTo>
                    <a:pt x="52" y="134"/>
                  </a:lnTo>
                  <a:close/>
                  <a:moveTo>
                    <a:pt x="106" y="151"/>
                  </a:moveTo>
                  <a:lnTo>
                    <a:pt x="94" y="139"/>
                  </a:lnTo>
                  <a:lnTo>
                    <a:pt x="123" y="139"/>
                  </a:lnTo>
                  <a:lnTo>
                    <a:pt x="106" y="151"/>
                  </a:lnTo>
                  <a:lnTo>
                    <a:pt x="106" y="151"/>
                  </a:lnTo>
                  <a:lnTo>
                    <a:pt x="106" y="151"/>
                  </a:lnTo>
                  <a:close/>
                  <a:moveTo>
                    <a:pt x="241" y="212"/>
                  </a:moveTo>
                  <a:lnTo>
                    <a:pt x="234" y="212"/>
                  </a:lnTo>
                  <a:lnTo>
                    <a:pt x="241" y="196"/>
                  </a:lnTo>
                  <a:lnTo>
                    <a:pt x="220" y="167"/>
                  </a:lnTo>
                  <a:lnTo>
                    <a:pt x="257" y="212"/>
                  </a:lnTo>
                  <a:lnTo>
                    <a:pt x="241" y="212"/>
                  </a:lnTo>
                  <a:lnTo>
                    <a:pt x="241" y="212"/>
                  </a:lnTo>
                  <a:lnTo>
                    <a:pt x="241" y="212"/>
                  </a:lnTo>
                  <a:close/>
                  <a:moveTo>
                    <a:pt x="90" y="196"/>
                  </a:moveTo>
                  <a:lnTo>
                    <a:pt x="90" y="205"/>
                  </a:lnTo>
                  <a:lnTo>
                    <a:pt x="80" y="212"/>
                  </a:lnTo>
                  <a:lnTo>
                    <a:pt x="80" y="224"/>
                  </a:lnTo>
                  <a:lnTo>
                    <a:pt x="90" y="205"/>
                  </a:lnTo>
                  <a:lnTo>
                    <a:pt x="94" y="212"/>
                  </a:lnTo>
                  <a:lnTo>
                    <a:pt x="94" y="241"/>
                  </a:lnTo>
                  <a:lnTo>
                    <a:pt x="90" y="245"/>
                  </a:lnTo>
                  <a:lnTo>
                    <a:pt x="80" y="245"/>
                  </a:lnTo>
                  <a:lnTo>
                    <a:pt x="94" y="241"/>
                  </a:lnTo>
                  <a:lnTo>
                    <a:pt x="80" y="241"/>
                  </a:lnTo>
                  <a:lnTo>
                    <a:pt x="73" y="224"/>
                  </a:lnTo>
                  <a:lnTo>
                    <a:pt x="90" y="196"/>
                  </a:lnTo>
                  <a:lnTo>
                    <a:pt x="90" y="196"/>
                  </a:lnTo>
                  <a:lnTo>
                    <a:pt x="90" y="196"/>
                  </a:lnTo>
                  <a:close/>
                  <a:moveTo>
                    <a:pt x="68" y="205"/>
                  </a:moveTo>
                  <a:lnTo>
                    <a:pt x="68" y="205"/>
                  </a:lnTo>
                  <a:lnTo>
                    <a:pt x="73" y="205"/>
                  </a:lnTo>
                  <a:lnTo>
                    <a:pt x="68" y="205"/>
                  </a:lnTo>
                  <a:lnTo>
                    <a:pt x="68" y="205"/>
                  </a:lnTo>
                  <a:lnTo>
                    <a:pt x="68" y="205"/>
                  </a:lnTo>
                  <a:close/>
                  <a:moveTo>
                    <a:pt x="305" y="212"/>
                  </a:moveTo>
                  <a:lnTo>
                    <a:pt x="309" y="212"/>
                  </a:lnTo>
                  <a:lnTo>
                    <a:pt x="309" y="212"/>
                  </a:lnTo>
                  <a:lnTo>
                    <a:pt x="309" y="229"/>
                  </a:lnTo>
                  <a:lnTo>
                    <a:pt x="305" y="212"/>
                  </a:lnTo>
                  <a:lnTo>
                    <a:pt x="305" y="212"/>
                  </a:lnTo>
                  <a:lnTo>
                    <a:pt x="305" y="212"/>
                  </a:lnTo>
                  <a:close/>
                  <a:moveTo>
                    <a:pt x="288" y="250"/>
                  </a:moveTo>
                  <a:lnTo>
                    <a:pt x="283" y="245"/>
                  </a:lnTo>
                  <a:lnTo>
                    <a:pt x="288" y="245"/>
                  </a:lnTo>
                  <a:lnTo>
                    <a:pt x="288" y="250"/>
                  </a:lnTo>
                  <a:lnTo>
                    <a:pt x="288" y="250"/>
                  </a:lnTo>
                  <a:lnTo>
                    <a:pt x="288" y="250"/>
                  </a:lnTo>
                  <a:close/>
                  <a:moveTo>
                    <a:pt x="250" y="245"/>
                  </a:moveTo>
                  <a:lnTo>
                    <a:pt x="272" y="286"/>
                  </a:lnTo>
                  <a:lnTo>
                    <a:pt x="288" y="302"/>
                  </a:lnTo>
                  <a:lnTo>
                    <a:pt x="288" y="307"/>
                  </a:lnTo>
                  <a:lnTo>
                    <a:pt x="272" y="295"/>
                  </a:lnTo>
                  <a:lnTo>
                    <a:pt x="267" y="286"/>
                  </a:lnTo>
                  <a:lnTo>
                    <a:pt x="272" y="295"/>
                  </a:lnTo>
                  <a:lnTo>
                    <a:pt x="250" y="245"/>
                  </a:lnTo>
                  <a:lnTo>
                    <a:pt x="250" y="245"/>
                  </a:lnTo>
                  <a:lnTo>
                    <a:pt x="250" y="245"/>
                  </a:lnTo>
                  <a:close/>
                  <a:moveTo>
                    <a:pt x="338" y="323"/>
                  </a:moveTo>
                  <a:lnTo>
                    <a:pt x="326" y="323"/>
                  </a:lnTo>
                  <a:lnTo>
                    <a:pt x="321" y="307"/>
                  </a:lnTo>
                  <a:lnTo>
                    <a:pt x="342" y="323"/>
                  </a:lnTo>
                  <a:lnTo>
                    <a:pt x="338" y="323"/>
                  </a:lnTo>
                  <a:lnTo>
                    <a:pt x="338" y="323"/>
                  </a:lnTo>
                  <a:lnTo>
                    <a:pt x="338" y="323"/>
                  </a:lnTo>
                  <a:close/>
                  <a:moveTo>
                    <a:pt x="326" y="368"/>
                  </a:moveTo>
                  <a:lnTo>
                    <a:pt x="347" y="340"/>
                  </a:lnTo>
                  <a:lnTo>
                    <a:pt x="342" y="323"/>
                  </a:lnTo>
                  <a:lnTo>
                    <a:pt x="359" y="319"/>
                  </a:lnTo>
                  <a:lnTo>
                    <a:pt x="347" y="340"/>
                  </a:lnTo>
                  <a:lnTo>
                    <a:pt x="326" y="368"/>
                  </a:lnTo>
                  <a:lnTo>
                    <a:pt x="326" y="368"/>
                  </a:lnTo>
                  <a:lnTo>
                    <a:pt x="326" y="368"/>
                  </a:lnTo>
                  <a:close/>
                  <a:moveTo>
                    <a:pt x="427" y="356"/>
                  </a:moveTo>
                  <a:lnTo>
                    <a:pt x="401" y="352"/>
                  </a:lnTo>
                  <a:lnTo>
                    <a:pt x="411" y="340"/>
                  </a:lnTo>
                  <a:lnTo>
                    <a:pt x="427" y="352"/>
                  </a:lnTo>
                  <a:lnTo>
                    <a:pt x="427" y="356"/>
                  </a:lnTo>
                  <a:lnTo>
                    <a:pt x="427" y="356"/>
                  </a:lnTo>
                  <a:lnTo>
                    <a:pt x="427" y="356"/>
                  </a:lnTo>
                  <a:close/>
                  <a:moveTo>
                    <a:pt x="411" y="425"/>
                  </a:moveTo>
                  <a:lnTo>
                    <a:pt x="411" y="413"/>
                  </a:lnTo>
                  <a:lnTo>
                    <a:pt x="418" y="413"/>
                  </a:lnTo>
                  <a:lnTo>
                    <a:pt x="411" y="425"/>
                  </a:lnTo>
                  <a:lnTo>
                    <a:pt x="411" y="425"/>
                  </a:lnTo>
                  <a:lnTo>
                    <a:pt x="411" y="425"/>
                  </a:lnTo>
                  <a:close/>
                  <a:moveTo>
                    <a:pt x="364" y="463"/>
                  </a:moveTo>
                  <a:lnTo>
                    <a:pt x="364" y="451"/>
                  </a:lnTo>
                  <a:lnTo>
                    <a:pt x="380" y="434"/>
                  </a:lnTo>
                  <a:lnTo>
                    <a:pt x="397" y="446"/>
                  </a:lnTo>
                  <a:lnTo>
                    <a:pt x="411" y="430"/>
                  </a:lnTo>
                  <a:lnTo>
                    <a:pt x="401" y="451"/>
                  </a:lnTo>
                  <a:lnTo>
                    <a:pt x="364" y="463"/>
                  </a:lnTo>
                  <a:lnTo>
                    <a:pt x="364" y="463"/>
                  </a:lnTo>
                  <a:lnTo>
                    <a:pt x="364" y="463"/>
                  </a:lnTo>
                  <a:close/>
                </a:path>
              </a:pathLst>
            </a:custGeom>
            <a:solidFill>
              <a:schemeClr val="bg2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47" name="Freeform 395">
              <a:extLst>
                <a:ext uri="{FF2B5EF4-FFF2-40B4-BE49-F238E27FC236}">
                  <a16:creationId xmlns:a16="http://schemas.microsoft.com/office/drawing/2014/main" id="{0CCC7AF5-29E1-4074-B85E-A1C53D5F335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108714" y="2440795"/>
              <a:ext cx="49265" cy="68457"/>
            </a:xfrm>
            <a:custGeom>
              <a:avLst/>
              <a:gdLst>
                <a:gd name="T0" fmla="*/ 71 w 321"/>
                <a:gd name="T1" fmla="*/ 262 h 446"/>
                <a:gd name="T2" fmla="*/ 38 w 321"/>
                <a:gd name="T3" fmla="*/ 229 h 446"/>
                <a:gd name="T4" fmla="*/ 55 w 321"/>
                <a:gd name="T5" fmla="*/ 184 h 446"/>
                <a:gd name="T6" fmla="*/ 5 w 321"/>
                <a:gd name="T7" fmla="*/ 163 h 446"/>
                <a:gd name="T8" fmla="*/ 5 w 321"/>
                <a:gd name="T9" fmla="*/ 128 h 446"/>
                <a:gd name="T10" fmla="*/ 71 w 321"/>
                <a:gd name="T11" fmla="*/ 111 h 446"/>
                <a:gd name="T12" fmla="*/ 55 w 321"/>
                <a:gd name="T13" fmla="*/ 90 h 446"/>
                <a:gd name="T14" fmla="*/ 5 w 321"/>
                <a:gd name="T15" fmla="*/ 57 h 446"/>
                <a:gd name="T16" fmla="*/ 33 w 321"/>
                <a:gd name="T17" fmla="*/ 5 h 446"/>
                <a:gd name="T18" fmla="*/ 59 w 321"/>
                <a:gd name="T19" fmla="*/ 33 h 446"/>
                <a:gd name="T20" fmla="*/ 71 w 321"/>
                <a:gd name="T21" fmla="*/ 17 h 446"/>
                <a:gd name="T22" fmla="*/ 92 w 321"/>
                <a:gd name="T23" fmla="*/ 50 h 446"/>
                <a:gd name="T24" fmla="*/ 123 w 321"/>
                <a:gd name="T25" fmla="*/ 33 h 446"/>
                <a:gd name="T26" fmla="*/ 168 w 321"/>
                <a:gd name="T27" fmla="*/ 111 h 446"/>
                <a:gd name="T28" fmla="*/ 312 w 321"/>
                <a:gd name="T29" fmla="*/ 135 h 446"/>
                <a:gd name="T30" fmla="*/ 274 w 321"/>
                <a:gd name="T31" fmla="*/ 172 h 446"/>
                <a:gd name="T32" fmla="*/ 232 w 321"/>
                <a:gd name="T33" fmla="*/ 205 h 446"/>
                <a:gd name="T34" fmla="*/ 236 w 321"/>
                <a:gd name="T35" fmla="*/ 274 h 446"/>
                <a:gd name="T36" fmla="*/ 258 w 321"/>
                <a:gd name="T37" fmla="*/ 279 h 446"/>
                <a:gd name="T38" fmla="*/ 274 w 321"/>
                <a:gd name="T39" fmla="*/ 241 h 446"/>
                <a:gd name="T40" fmla="*/ 300 w 321"/>
                <a:gd name="T41" fmla="*/ 224 h 446"/>
                <a:gd name="T42" fmla="*/ 312 w 321"/>
                <a:gd name="T43" fmla="*/ 302 h 446"/>
                <a:gd name="T44" fmla="*/ 321 w 321"/>
                <a:gd name="T45" fmla="*/ 406 h 446"/>
                <a:gd name="T46" fmla="*/ 291 w 321"/>
                <a:gd name="T47" fmla="*/ 406 h 446"/>
                <a:gd name="T48" fmla="*/ 286 w 321"/>
                <a:gd name="T49" fmla="*/ 413 h 446"/>
                <a:gd name="T50" fmla="*/ 269 w 321"/>
                <a:gd name="T51" fmla="*/ 373 h 446"/>
                <a:gd name="T52" fmla="*/ 220 w 321"/>
                <a:gd name="T53" fmla="*/ 312 h 446"/>
                <a:gd name="T54" fmla="*/ 182 w 321"/>
                <a:gd name="T55" fmla="*/ 274 h 446"/>
                <a:gd name="T56" fmla="*/ 182 w 321"/>
                <a:gd name="T57" fmla="*/ 241 h 446"/>
                <a:gd name="T58" fmla="*/ 177 w 321"/>
                <a:gd name="T59" fmla="*/ 241 h 446"/>
                <a:gd name="T60" fmla="*/ 182 w 321"/>
                <a:gd name="T61" fmla="*/ 262 h 446"/>
                <a:gd name="T62" fmla="*/ 168 w 321"/>
                <a:gd name="T63" fmla="*/ 295 h 446"/>
                <a:gd name="T64" fmla="*/ 168 w 321"/>
                <a:gd name="T65" fmla="*/ 352 h 446"/>
                <a:gd name="T66" fmla="*/ 151 w 321"/>
                <a:gd name="T67" fmla="*/ 368 h 446"/>
                <a:gd name="T68" fmla="*/ 144 w 321"/>
                <a:gd name="T69" fmla="*/ 357 h 446"/>
                <a:gd name="T70" fmla="*/ 140 w 321"/>
                <a:gd name="T71" fmla="*/ 352 h 446"/>
                <a:gd name="T72" fmla="*/ 130 w 321"/>
                <a:gd name="T73" fmla="*/ 335 h 446"/>
                <a:gd name="T74" fmla="*/ 109 w 321"/>
                <a:gd name="T75" fmla="*/ 368 h 446"/>
                <a:gd name="T76" fmla="*/ 97 w 321"/>
                <a:gd name="T77" fmla="*/ 335 h 446"/>
                <a:gd name="T78" fmla="*/ 92 w 321"/>
                <a:gd name="T79" fmla="*/ 373 h 446"/>
                <a:gd name="T80" fmla="*/ 76 w 321"/>
                <a:gd name="T81" fmla="*/ 368 h 446"/>
                <a:gd name="T82" fmla="*/ 76 w 321"/>
                <a:gd name="T83" fmla="*/ 347 h 446"/>
                <a:gd name="T84" fmla="*/ 168 w 321"/>
                <a:gd name="T85" fmla="*/ 246 h 446"/>
                <a:gd name="T86" fmla="*/ 177 w 321"/>
                <a:gd name="T87" fmla="*/ 257 h 446"/>
                <a:gd name="T88" fmla="*/ 177 w 321"/>
                <a:gd name="T89" fmla="*/ 274 h 446"/>
                <a:gd name="T90" fmla="*/ 182 w 321"/>
                <a:gd name="T91" fmla="*/ 279 h 446"/>
                <a:gd name="T92" fmla="*/ 182 w 321"/>
                <a:gd name="T93" fmla="*/ 286 h 446"/>
                <a:gd name="T94" fmla="*/ 177 w 321"/>
                <a:gd name="T95" fmla="*/ 302 h 446"/>
                <a:gd name="T96" fmla="*/ 182 w 321"/>
                <a:gd name="T97" fmla="*/ 352 h 446"/>
                <a:gd name="T98" fmla="*/ 182 w 321"/>
                <a:gd name="T99" fmla="*/ 295 h 446"/>
                <a:gd name="T100" fmla="*/ 199 w 321"/>
                <a:gd name="T101" fmla="*/ 347 h 446"/>
                <a:gd name="T102" fmla="*/ 182 w 321"/>
                <a:gd name="T103" fmla="*/ 357 h 446"/>
                <a:gd name="T104" fmla="*/ 236 w 321"/>
                <a:gd name="T105" fmla="*/ 302 h 446"/>
                <a:gd name="T106" fmla="*/ 248 w 321"/>
                <a:gd name="T107" fmla="*/ 328 h 446"/>
                <a:gd name="T108" fmla="*/ 215 w 321"/>
                <a:gd name="T109" fmla="*/ 312 h 446"/>
                <a:gd name="T110" fmla="*/ 215 w 321"/>
                <a:gd name="T111" fmla="*/ 352 h 446"/>
                <a:gd name="T112" fmla="*/ 177 w 321"/>
                <a:gd name="T113" fmla="*/ 352 h 446"/>
                <a:gd name="T114" fmla="*/ 177 w 321"/>
                <a:gd name="T115" fmla="*/ 352 h 446"/>
                <a:gd name="T116" fmla="*/ 168 w 321"/>
                <a:gd name="T117" fmla="*/ 352 h 446"/>
                <a:gd name="T118" fmla="*/ 168 w 321"/>
                <a:gd name="T119" fmla="*/ 357 h 446"/>
                <a:gd name="T120" fmla="*/ 269 w 321"/>
                <a:gd name="T121" fmla="*/ 373 h 446"/>
                <a:gd name="T122" fmla="*/ 269 w 321"/>
                <a:gd name="T123" fmla="*/ 390 h 4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21" h="446">
                  <a:moveTo>
                    <a:pt x="76" y="347"/>
                  </a:moveTo>
                  <a:lnTo>
                    <a:pt x="59" y="279"/>
                  </a:lnTo>
                  <a:lnTo>
                    <a:pt x="71" y="262"/>
                  </a:lnTo>
                  <a:lnTo>
                    <a:pt x="55" y="257"/>
                  </a:lnTo>
                  <a:lnTo>
                    <a:pt x="55" y="241"/>
                  </a:lnTo>
                  <a:lnTo>
                    <a:pt x="38" y="229"/>
                  </a:lnTo>
                  <a:lnTo>
                    <a:pt x="38" y="217"/>
                  </a:lnTo>
                  <a:lnTo>
                    <a:pt x="55" y="205"/>
                  </a:lnTo>
                  <a:lnTo>
                    <a:pt x="55" y="184"/>
                  </a:lnTo>
                  <a:lnTo>
                    <a:pt x="43" y="172"/>
                  </a:lnTo>
                  <a:lnTo>
                    <a:pt x="38" y="172"/>
                  </a:lnTo>
                  <a:lnTo>
                    <a:pt x="5" y="163"/>
                  </a:lnTo>
                  <a:lnTo>
                    <a:pt x="0" y="151"/>
                  </a:lnTo>
                  <a:lnTo>
                    <a:pt x="17" y="135"/>
                  </a:lnTo>
                  <a:lnTo>
                    <a:pt x="5" y="128"/>
                  </a:lnTo>
                  <a:lnTo>
                    <a:pt x="21" y="135"/>
                  </a:lnTo>
                  <a:lnTo>
                    <a:pt x="33" y="111"/>
                  </a:lnTo>
                  <a:lnTo>
                    <a:pt x="71" y="111"/>
                  </a:lnTo>
                  <a:lnTo>
                    <a:pt x="71" y="106"/>
                  </a:lnTo>
                  <a:lnTo>
                    <a:pt x="59" y="94"/>
                  </a:lnTo>
                  <a:lnTo>
                    <a:pt x="55" y="90"/>
                  </a:lnTo>
                  <a:lnTo>
                    <a:pt x="38" y="90"/>
                  </a:lnTo>
                  <a:lnTo>
                    <a:pt x="21" y="61"/>
                  </a:lnTo>
                  <a:lnTo>
                    <a:pt x="5" y="57"/>
                  </a:lnTo>
                  <a:lnTo>
                    <a:pt x="17" y="33"/>
                  </a:lnTo>
                  <a:lnTo>
                    <a:pt x="38" y="17"/>
                  </a:lnTo>
                  <a:lnTo>
                    <a:pt x="33" y="5"/>
                  </a:lnTo>
                  <a:lnTo>
                    <a:pt x="21" y="5"/>
                  </a:lnTo>
                  <a:lnTo>
                    <a:pt x="33" y="0"/>
                  </a:lnTo>
                  <a:lnTo>
                    <a:pt x="59" y="33"/>
                  </a:lnTo>
                  <a:lnTo>
                    <a:pt x="76" y="24"/>
                  </a:lnTo>
                  <a:lnTo>
                    <a:pt x="59" y="17"/>
                  </a:lnTo>
                  <a:lnTo>
                    <a:pt x="71" y="17"/>
                  </a:lnTo>
                  <a:lnTo>
                    <a:pt x="76" y="17"/>
                  </a:lnTo>
                  <a:lnTo>
                    <a:pt x="76" y="33"/>
                  </a:lnTo>
                  <a:lnTo>
                    <a:pt x="92" y="50"/>
                  </a:lnTo>
                  <a:lnTo>
                    <a:pt x="109" y="50"/>
                  </a:lnTo>
                  <a:lnTo>
                    <a:pt x="114" y="33"/>
                  </a:lnTo>
                  <a:lnTo>
                    <a:pt x="123" y="33"/>
                  </a:lnTo>
                  <a:lnTo>
                    <a:pt x="130" y="57"/>
                  </a:lnTo>
                  <a:lnTo>
                    <a:pt x="130" y="106"/>
                  </a:lnTo>
                  <a:lnTo>
                    <a:pt x="168" y="111"/>
                  </a:lnTo>
                  <a:lnTo>
                    <a:pt x="286" y="111"/>
                  </a:lnTo>
                  <a:lnTo>
                    <a:pt x="307" y="118"/>
                  </a:lnTo>
                  <a:lnTo>
                    <a:pt x="312" y="135"/>
                  </a:lnTo>
                  <a:lnTo>
                    <a:pt x="300" y="135"/>
                  </a:lnTo>
                  <a:lnTo>
                    <a:pt x="291" y="168"/>
                  </a:lnTo>
                  <a:lnTo>
                    <a:pt x="274" y="172"/>
                  </a:lnTo>
                  <a:lnTo>
                    <a:pt x="269" y="189"/>
                  </a:lnTo>
                  <a:lnTo>
                    <a:pt x="236" y="189"/>
                  </a:lnTo>
                  <a:lnTo>
                    <a:pt x="232" y="205"/>
                  </a:lnTo>
                  <a:lnTo>
                    <a:pt x="220" y="229"/>
                  </a:lnTo>
                  <a:lnTo>
                    <a:pt x="232" y="274"/>
                  </a:lnTo>
                  <a:lnTo>
                    <a:pt x="236" y="274"/>
                  </a:lnTo>
                  <a:lnTo>
                    <a:pt x="236" y="257"/>
                  </a:lnTo>
                  <a:lnTo>
                    <a:pt x="248" y="279"/>
                  </a:lnTo>
                  <a:lnTo>
                    <a:pt x="258" y="279"/>
                  </a:lnTo>
                  <a:lnTo>
                    <a:pt x="269" y="274"/>
                  </a:lnTo>
                  <a:lnTo>
                    <a:pt x="258" y="257"/>
                  </a:lnTo>
                  <a:lnTo>
                    <a:pt x="274" y="241"/>
                  </a:lnTo>
                  <a:lnTo>
                    <a:pt x="274" y="224"/>
                  </a:lnTo>
                  <a:lnTo>
                    <a:pt x="286" y="229"/>
                  </a:lnTo>
                  <a:lnTo>
                    <a:pt x="300" y="224"/>
                  </a:lnTo>
                  <a:lnTo>
                    <a:pt x="307" y="257"/>
                  </a:lnTo>
                  <a:lnTo>
                    <a:pt x="307" y="279"/>
                  </a:lnTo>
                  <a:lnTo>
                    <a:pt x="312" y="302"/>
                  </a:lnTo>
                  <a:lnTo>
                    <a:pt x="321" y="357"/>
                  </a:lnTo>
                  <a:lnTo>
                    <a:pt x="321" y="406"/>
                  </a:lnTo>
                  <a:lnTo>
                    <a:pt x="321" y="406"/>
                  </a:lnTo>
                  <a:lnTo>
                    <a:pt x="307" y="390"/>
                  </a:lnTo>
                  <a:lnTo>
                    <a:pt x="300" y="402"/>
                  </a:lnTo>
                  <a:lnTo>
                    <a:pt x="291" y="406"/>
                  </a:lnTo>
                  <a:lnTo>
                    <a:pt x="300" y="425"/>
                  </a:lnTo>
                  <a:lnTo>
                    <a:pt x="300" y="446"/>
                  </a:lnTo>
                  <a:lnTo>
                    <a:pt x="286" y="413"/>
                  </a:lnTo>
                  <a:lnTo>
                    <a:pt x="274" y="402"/>
                  </a:lnTo>
                  <a:lnTo>
                    <a:pt x="286" y="385"/>
                  </a:lnTo>
                  <a:lnTo>
                    <a:pt x="269" y="373"/>
                  </a:lnTo>
                  <a:lnTo>
                    <a:pt x="258" y="319"/>
                  </a:lnTo>
                  <a:lnTo>
                    <a:pt x="236" y="295"/>
                  </a:lnTo>
                  <a:lnTo>
                    <a:pt x="220" y="312"/>
                  </a:lnTo>
                  <a:lnTo>
                    <a:pt x="203" y="312"/>
                  </a:lnTo>
                  <a:lnTo>
                    <a:pt x="199" y="302"/>
                  </a:lnTo>
                  <a:lnTo>
                    <a:pt x="182" y="274"/>
                  </a:lnTo>
                  <a:lnTo>
                    <a:pt x="182" y="241"/>
                  </a:lnTo>
                  <a:lnTo>
                    <a:pt x="194" y="241"/>
                  </a:lnTo>
                  <a:lnTo>
                    <a:pt x="182" y="241"/>
                  </a:lnTo>
                  <a:lnTo>
                    <a:pt x="182" y="229"/>
                  </a:lnTo>
                  <a:lnTo>
                    <a:pt x="177" y="229"/>
                  </a:lnTo>
                  <a:lnTo>
                    <a:pt x="177" y="241"/>
                  </a:lnTo>
                  <a:lnTo>
                    <a:pt x="177" y="246"/>
                  </a:lnTo>
                  <a:lnTo>
                    <a:pt x="161" y="246"/>
                  </a:lnTo>
                  <a:lnTo>
                    <a:pt x="182" y="262"/>
                  </a:lnTo>
                  <a:lnTo>
                    <a:pt x="177" y="274"/>
                  </a:lnTo>
                  <a:lnTo>
                    <a:pt x="168" y="274"/>
                  </a:lnTo>
                  <a:lnTo>
                    <a:pt x="168" y="295"/>
                  </a:lnTo>
                  <a:lnTo>
                    <a:pt x="177" y="312"/>
                  </a:lnTo>
                  <a:lnTo>
                    <a:pt x="182" y="328"/>
                  </a:lnTo>
                  <a:lnTo>
                    <a:pt x="168" y="352"/>
                  </a:lnTo>
                  <a:lnTo>
                    <a:pt x="168" y="335"/>
                  </a:lnTo>
                  <a:lnTo>
                    <a:pt x="161" y="368"/>
                  </a:lnTo>
                  <a:lnTo>
                    <a:pt x="151" y="368"/>
                  </a:lnTo>
                  <a:lnTo>
                    <a:pt x="140" y="368"/>
                  </a:lnTo>
                  <a:lnTo>
                    <a:pt x="151" y="347"/>
                  </a:lnTo>
                  <a:lnTo>
                    <a:pt x="144" y="357"/>
                  </a:lnTo>
                  <a:lnTo>
                    <a:pt x="140" y="352"/>
                  </a:lnTo>
                  <a:lnTo>
                    <a:pt x="144" y="347"/>
                  </a:lnTo>
                  <a:lnTo>
                    <a:pt x="140" y="352"/>
                  </a:lnTo>
                  <a:lnTo>
                    <a:pt x="130" y="335"/>
                  </a:lnTo>
                  <a:lnTo>
                    <a:pt x="140" y="319"/>
                  </a:lnTo>
                  <a:lnTo>
                    <a:pt x="130" y="335"/>
                  </a:lnTo>
                  <a:lnTo>
                    <a:pt x="130" y="357"/>
                  </a:lnTo>
                  <a:lnTo>
                    <a:pt x="109" y="373"/>
                  </a:lnTo>
                  <a:lnTo>
                    <a:pt x="109" y="368"/>
                  </a:lnTo>
                  <a:lnTo>
                    <a:pt x="114" y="328"/>
                  </a:lnTo>
                  <a:lnTo>
                    <a:pt x="109" y="357"/>
                  </a:lnTo>
                  <a:lnTo>
                    <a:pt x="97" y="335"/>
                  </a:lnTo>
                  <a:lnTo>
                    <a:pt x="109" y="357"/>
                  </a:lnTo>
                  <a:lnTo>
                    <a:pt x="97" y="373"/>
                  </a:lnTo>
                  <a:lnTo>
                    <a:pt x="92" y="373"/>
                  </a:lnTo>
                  <a:lnTo>
                    <a:pt x="92" y="357"/>
                  </a:lnTo>
                  <a:lnTo>
                    <a:pt x="88" y="385"/>
                  </a:lnTo>
                  <a:lnTo>
                    <a:pt x="76" y="368"/>
                  </a:lnTo>
                  <a:lnTo>
                    <a:pt x="76" y="347"/>
                  </a:lnTo>
                  <a:lnTo>
                    <a:pt x="76" y="347"/>
                  </a:lnTo>
                  <a:lnTo>
                    <a:pt x="76" y="347"/>
                  </a:lnTo>
                  <a:close/>
                  <a:moveTo>
                    <a:pt x="177" y="257"/>
                  </a:moveTo>
                  <a:lnTo>
                    <a:pt x="182" y="257"/>
                  </a:lnTo>
                  <a:lnTo>
                    <a:pt x="168" y="246"/>
                  </a:lnTo>
                  <a:lnTo>
                    <a:pt x="177" y="257"/>
                  </a:lnTo>
                  <a:lnTo>
                    <a:pt x="177" y="257"/>
                  </a:lnTo>
                  <a:lnTo>
                    <a:pt x="177" y="257"/>
                  </a:lnTo>
                  <a:close/>
                  <a:moveTo>
                    <a:pt x="182" y="279"/>
                  </a:moveTo>
                  <a:lnTo>
                    <a:pt x="177" y="279"/>
                  </a:lnTo>
                  <a:lnTo>
                    <a:pt x="177" y="274"/>
                  </a:lnTo>
                  <a:lnTo>
                    <a:pt x="182" y="279"/>
                  </a:lnTo>
                  <a:lnTo>
                    <a:pt x="182" y="279"/>
                  </a:lnTo>
                  <a:lnTo>
                    <a:pt x="182" y="279"/>
                  </a:lnTo>
                  <a:close/>
                  <a:moveTo>
                    <a:pt x="177" y="302"/>
                  </a:moveTo>
                  <a:lnTo>
                    <a:pt x="168" y="286"/>
                  </a:lnTo>
                  <a:lnTo>
                    <a:pt x="182" y="286"/>
                  </a:lnTo>
                  <a:lnTo>
                    <a:pt x="177" y="295"/>
                  </a:lnTo>
                  <a:lnTo>
                    <a:pt x="177" y="302"/>
                  </a:lnTo>
                  <a:lnTo>
                    <a:pt x="177" y="302"/>
                  </a:lnTo>
                  <a:lnTo>
                    <a:pt x="177" y="302"/>
                  </a:lnTo>
                  <a:close/>
                  <a:moveTo>
                    <a:pt x="182" y="357"/>
                  </a:moveTo>
                  <a:lnTo>
                    <a:pt x="182" y="352"/>
                  </a:lnTo>
                  <a:lnTo>
                    <a:pt x="182" y="319"/>
                  </a:lnTo>
                  <a:lnTo>
                    <a:pt x="177" y="302"/>
                  </a:lnTo>
                  <a:lnTo>
                    <a:pt x="182" y="295"/>
                  </a:lnTo>
                  <a:lnTo>
                    <a:pt x="182" y="295"/>
                  </a:lnTo>
                  <a:lnTo>
                    <a:pt x="199" y="319"/>
                  </a:lnTo>
                  <a:lnTo>
                    <a:pt x="199" y="347"/>
                  </a:lnTo>
                  <a:lnTo>
                    <a:pt x="182" y="357"/>
                  </a:lnTo>
                  <a:lnTo>
                    <a:pt x="182" y="357"/>
                  </a:lnTo>
                  <a:lnTo>
                    <a:pt x="182" y="357"/>
                  </a:lnTo>
                  <a:close/>
                  <a:moveTo>
                    <a:pt x="248" y="328"/>
                  </a:moveTo>
                  <a:lnTo>
                    <a:pt x="236" y="319"/>
                  </a:lnTo>
                  <a:lnTo>
                    <a:pt x="236" y="302"/>
                  </a:lnTo>
                  <a:lnTo>
                    <a:pt x="248" y="319"/>
                  </a:lnTo>
                  <a:lnTo>
                    <a:pt x="248" y="328"/>
                  </a:lnTo>
                  <a:lnTo>
                    <a:pt x="248" y="328"/>
                  </a:lnTo>
                  <a:lnTo>
                    <a:pt x="248" y="328"/>
                  </a:lnTo>
                  <a:close/>
                  <a:moveTo>
                    <a:pt x="215" y="352"/>
                  </a:moveTo>
                  <a:lnTo>
                    <a:pt x="215" y="312"/>
                  </a:lnTo>
                  <a:lnTo>
                    <a:pt x="220" y="335"/>
                  </a:lnTo>
                  <a:lnTo>
                    <a:pt x="215" y="352"/>
                  </a:lnTo>
                  <a:lnTo>
                    <a:pt x="215" y="352"/>
                  </a:lnTo>
                  <a:lnTo>
                    <a:pt x="215" y="352"/>
                  </a:lnTo>
                  <a:close/>
                  <a:moveTo>
                    <a:pt x="177" y="352"/>
                  </a:moveTo>
                  <a:lnTo>
                    <a:pt x="177" y="352"/>
                  </a:lnTo>
                  <a:lnTo>
                    <a:pt x="182" y="347"/>
                  </a:lnTo>
                  <a:lnTo>
                    <a:pt x="177" y="352"/>
                  </a:lnTo>
                  <a:lnTo>
                    <a:pt x="177" y="352"/>
                  </a:lnTo>
                  <a:lnTo>
                    <a:pt x="177" y="352"/>
                  </a:lnTo>
                  <a:close/>
                  <a:moveTo>
                    <a:pt x="168" y="357"/>
                  </a:moveTo>
                  <a:lnTo>
                    <a:pt x="168" y="352"/>
                  </a:lnTo>
                  <a:lnTo>
                    <a:pt x="177" y="357"/>
                  </a:lnTo>
                  <a:lnTo>
                    <a:pt x="168" y="357"/>
                  </a:lnTo>
                  <a:lnTo>
                    <a:pt x="168" y="357"/>
                  </a:lnTo>
                  <a:lnTo>
                    <a:pt x="168" y="357"/>
                  </a:lnTo>
                  <a:close/>
                  <a:moveTo>
                    <a:pt x="269" y="390"/>
                  </a:moveTo>
                  <a:lnTo>
                    <a:pt x="269" y="373"/>
                  </a:lnTo>
                  <a:lnTo>
                    <a:pt x="274" y="385"/>
                  </a:lnTo>
                  <a:lnTo>
                    <a:pt x="269" y="390"/>
                  </a:lnTo>
                  <a:lnTo>
                    <a:pt x="269" y="390"/>
                  </a:lnTo>
                  <a:lnTo>
                    <a:pt x="269" y="390"/>
                  </a:lnTo>
                  <a:close/>
                </a:path>
              </a:pathLst>
            </a:custGeom>
            <a:solidFill>
              <a:schemeClr val="bg2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48" name="Freeform 396">
              <a:extLst>
                <a:ext uri="{FF2B5EF4-FFF2-40B4-BE49-F238E27FC236}">
                  <a16:creationId xmlns:a16="http://schemas.microsoft.com/office/drawing/2014/main" id="{D4DDD03C-5FEE-4D0E-96A9-B2BB7A4C012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200714" y="2536574"/>
              <a:ext cx="14580" cy="28549"/>
            </a:xfrm>
            <a:custGeom>
              <a:avLst/>
              <a:gdLst>
                <a:gd name="T0" fmla="*/ 24 w 95"/>
                <a:gd name="T1" fmla="*/ 186 h 186"/>
                <a:gd name="T2" fmla="*/ 0 w 95"/>
                <a:gd name="T3" fmla="*/ 186 h 186"/>
                <a:gd name="T4" fmla="*/ 7 w 95"/>
                <a:gd name="T5" fmla="*/ 42 h 186"/>
                <a:gd name="T6" fmla="*/ 7 w 95"/>
                <a:gd name="T7" fmla="*/ 37 h 186"/>
                <a:gd name="T8" fmla="*/ 17 w 95"/>
                <a:gd name="T9" fmla="*/ 26 h 186"/>
                <a:gd name="T10" fmla="*/ 24 w 95"/>
                <a:gd name="T11" fmla="*/ 37 h 186"/>
                <a:gd name="T12" fmla="*/ 57 w 95"/>
                <a:gd name="T13" fmla="*/ 0 h 186"/>
                <a:gd name="T14" fmla="*/ 62 w 95"/>
                <a:gd name="T15" fmla="*/ 0 h 186"/>
                <a:gd name="T16" fmla="*/ 62 w 95"/>
                <a:gd name="T17" fmla="*/ 4 h 186"/>
                <a:gd name="T18" fmla="*/ 78 w 95"/>
                <a:gd name="T19" fmla="*/ 4 h 186"/>
                <a:gd name="T20" fmla="*/ 78 w 95"/>
                <a:gd name="T21" fmla="*/ 9 h 186"/>
                <a:gd name="T22" fmla="*/ 62 w 95"/>
                <a:gd name="T23" fmla="*/ 59 h 186"/>
                <a:gd name="T24" fmla="*/ 62 w 95"/>
                <a:gd name="T25" fmla="*/ 92 h 186"/>
                <a:gd name="T26" fmla="*/ 73 w 95"/>
                <a:gd name="T27" fmla="*/ 111 h 186"/>
                <a:gd name="T28" fmla="*/ 62 w 95"/>
                <a:gd name="T29" fmla="*/ 137 h 186"/>
                <a:gd name="T30" fmla="*/ 62 w 95"/>
                <a:gd name="T31" fmla="*/ 132 h 186"/>
                <a:gd name="T32" fmla="*/ 45 w 95"/>
                <a:gd name="T33" fmla="*/ 153 h 186"/>
                <a:gd name="T34" fmla="*/ 33 w 95"/>
                <a:gd name="T35" fmla="*/ 165 h 186"/>
                <a:gd name="T36" fmla="*/ 24 w 95"/>
                <a:gd name="T37" fmla="*/ 177 h 186"/>
                <a:gd name="T38" fmla="*/ 24 w 95"/>
                <a:gd name="T39" fmla="*/ 186 h 186"/>
                <a:gd name="T40" fmla="*/ 24 w 95"/>
                <a:gd name="T41" fmla="*/ 186 h 186"/>
                <a:gd name="T42" fmla="*/ 24 w 95"/>
                <a:gd name="T43" fmla="*/ 186 h 186"/>
                <a:gd name="T44" fmla="*/ 95 w 95"/>
                <a:gd name="T45" fmla="*/ 26 h 186"/>
                <a:gd name="T46" fmla="*/ 90 w 95"/>
                <a:gd name="T47" fmla="*/ 37 h 186"/>
                <a:gd name="T48" fmla="*/ 95 w 95"/>
                <a:gd name="T49" fmla="*/ 21 h 186"/>
                <a:gd name="T50" fmla="*/ 95 w 95"/>
                <a:gd name="T51" fmla="*/ 26 h 186"/>
                <a:gd name="T52" fmla="*/ 95 w 95"/>
                <a:gd name="T53" fmla="*/ 26 h 186"/>
                <a:gd name="T54" fmla="*/ 95 w 95"/>
                <a:gd name="T55" fmla="*/ 26 h 1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95" h="186">
                  <a:moveTo>
                    <a:pt x="24" y="186"/>
                  </a:moveTo>
                  <a:lnTo>
                    <a:pt x="0" y="186"/>
                  </a:lnTo>
                  <a:lnTo>
                    <a:pt x="7" y="42"/>
                  </a:lnTo>
                  <a:lnTo>
                    <a:pt x="7" y="37"/>
                  </a:lnTo>
                  <a:lnTo>
                    <a:pt x="17" y="26"/>
                  </a:lnTo>
                  <a:lnTo>
                    <a:pt x="24" y="37"/>
                  </a:lnTo>
                  <a:lnTo>
                    <a:pt x="57" y="0"/>
                  </a:lnTo>
                  <a:lnTo>
                    <a:pt x="62" y="0"/>
                  </a:lnTo>
                  <a:lnTo>
                    <a:pt x="62" y="4"/>
                  </a:lnTo>
                  <a:lnTo>
                    <a:pt x="78" y="4"/>
                  </a:lnTo>
                  <a:lnTo>
                    <a:pt x="78" y="9"/>
                  </a:lnTo>
                  <a:lnTo>
                    <a:pt x="62" y="59"/>
                  </a:lnTo>
                  <a:lnTo>
                    <a:pt x="62" y="92"/>
                  </a:lnTo>
                  <a:lnTo>
                    <a:pt x="73" y="111"/>
                  </a:lnTo>
                  <a:lnTo>
                    <a:pt x="62" y="137"/>
                  </a:lnTo>
                  <a:lnTo>
                    <a:pt x="62" y="132"/>
                  </a:lnTo>
                  <a:lnTo>
                    <a:pt x="45" y="153"/>
                  </a:lnTo>
                  <a:lnTo>
                    <a:pt x="33" y="165"/>
                  </a:lnTo>
                  <a:lnTo>
                    <a:pt x="24" y="177"/>
                  </a:lnTo>
                  <a:lnTo>
                    <a:pt x="24" y="186"/>
                  </a:lnTo>
                  <a:lnTo>
                    <a:pt x="24" y="186"/>
                  </a:lnTo>
                  <a:lnTo>
                    <a:pt x="24" y="186"/>
                  </a:lnTo>
                  <a:close/>
                  <a:moveTo>
                    <a:pt x="95" y="26"/>
                  </a:moveTo>
                  <a:lnTo>
                    <a:pt x="90" y="37"/>
                  </a:lnTo>
                  <a:lnTo>
                    <a:pt x="95" y="21"/>
                  </a:lnTo>
                  <a:lnTo>
                    <a:pt x="95" y="26"/>
                  </a:lnTo>
                  <a:lnTo>
                    <a:pt x="95" y="26"/>
                  </a:lnTo>
                  <a:lnTo>
                    <a:pt x="95" y="26"/>
                  </a:lnTo>
                  <a:close/>
                </a:path>
              </a:pathLst>
            </a:custGeom>
            <a:solidFill>
              <a:schemeClr val="bg2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51" name="Freeform 397">
              <a:extLst>
                <a:ext uri="{FF2B5EF4-FFF2-40B4-BE49-F238E27FC236}">
                  <a16:creationId xmlns:a16="http://schemas.microsoft.com/office/drawing/2014/main" id="{C45EF6C4-B10E-4ADC-869F-3830296C9A24}"/>
                </a:ext>
              </a:extLst>
            </p:cNvPr>
            <p:cNvSpPr>
              <a:spLocks/>
            </p:cNvSpPr>
            <p:nvPr/>
          </p:nvSpPr>
          <p:spPr bwMode="gray">
            <a:xfrm>
              <a:off x="6330443" y="2205799"/>
              <a:ext cx="41285" cy="35917"/>
            </a:xfrm>
            <a:custGeom>
              <a:avLst/>
              <a:gdLst>
                <a:gd name="T0" fmla="*/ 130 w 269"/>
                <a:gd name="T1" fmla="*/ 192 h 234"/>
                <a:gd name="T2" fmla="*/ 139 w 269"/>
                <a:gd name="T3" fmla="*/ 192 h 234"/>
                <a:gd name="T4" fmla="*/ 130 w 269"/>
                <a:gd name="T5" fmla="*/ 187 h 234"/>
                <a:gd name="T6" fmla="*/ 108 w 269"/>
                <a:gd name="T7" fmla="*/ 170 h 234"/>
                <a:gd name="T8" fmla="*/ 108 w 269"/>
                <a:gd name="T9" fmla="*/ 154 h 234"/>
                <a:gd name="T10" fmla="*/ 87 w 269"/>
                <a:gd name="T11" fmla="*/ 137 h 234"/>
                <a:gd name="T12" fmla="*/ 54 w 269"/>
                <a:gd name="T13" fmla="*/ 109 h 234"/>
                <a:gd name="T14" fmla="*/ 33 w 269"/>
                <a:gd name="T15" fmla="*/ 92 h 234"/>
                <a:gd name="T16" fmla="*/ 33 w 269"/>
                <a:gd name="T17" fmla="*/ 76 h 234"/>
                <a:gd name="T18" fmla="*/ 33 w 269"/>
                <a:gd name="T19" fmla="*/ 59 h 234"/>
                <a:gd name="T20" fmla="*/ 0 w 269"/>
                <a:gd name="T21" fmla="*/ 38 h 234"/>
                <a:gd name="T22" fmla="*/ 4 w 269"/>
                <a:gd name="T23" fmla="*/ 5 h 234"/>
                <a:gd name="T24" fmla="*/ 21 w 269"/>
                <a:gd name="T25" fmla="*/ 0 h 234"/>
                <a:gd name="T26" fmla="*/ 37 w 269"/>
                <a:gd name="T27" fmla="*/ 22 h 234"/>
                <a:gd name="T28" fmla="*/ 54 w 269"/>
                <a:gd name="T29" fmla="*/ 0 h 234"/>
                <a:gd name="T30" fmla="*/ 75 w 269"/>
                <a:gd name="T31" fmla="*/ 0 h 234"/>
                <a:gd name="T32" fmla="*/ 87 w 269"/>
                <a:gd name="T33" fmla="*/ 0 h 234"/>
                <a:gd name="T34" fmla="*/ 101 w 269"/>
                <a:gd name="T35" fmla="*/ 5 h 234"/>
                <a:gd name="T36" fmla="*/ 146 w 269"/>
                <a:gd name="T37" fmla="*/ 17 h 234"/>
                <a:gd name="T38" fmla="*/ 177 w 269"/>
                <a:gd name="T39" fmla="*/ 5 h 234"/>
                <a:gd name="T40" fmla="*/ 200 w 269"/>
                <a:gd name="T41" fmla="*/ 17 h 234"/>
                <a:gd name="T42" fmla="*/ 215 w 269"/>
                <a:gd name="T43" fmla="*/ 22 h 234"/>
                <a:gd name="T44" fmla="*/ 215 w 269"/>
                <a:gd name="T45" fmla="*/ 26 h 234"/>
                <a:gd name="T46" fmla="*/ 231 w 269"/>
                <a:gd name="T47" fmla="*/ 26 h 234"/>
                <a:gd name="T48" fmla="*/ 252 w 269"/>
                <a:gd name="T49" fmla="*/ 26 h 234"/>
                <a:gd name="T50" fmla="*/ 238 w 269"/>
                <a:gd name="T51" fmla="*/ 76 h 234"/>
                <a:gd name="T52" fmla="*/ 269 w 269"/>
                <a:gd name="T53" fmla="*/ 97 h 234"/>
                <a:gd name="T54" fmla="*/ 264 w 269"/>
                <a:gd name="T55" fmla="*/ 109 h 234"/>
                <a:gd name="T56" fmla="*/ 248 w 269"/>
                <a:gd name="T57" fmla="*/ 109 h 234"/>
                <a:gd name="T58" fmla="*/ 264 w 269"/>
                <a:gd name="T59" fmla="*/ 130 h 234"/>
                <a:gd name="T60" fmla="*/ 264 w 269"/>
                <a:gd name="T61" fmla="*/ 147 h 234"/>
                <a:gd name="T62" fmla="*/ 248 w 269"/>
                <a:gd name="T63" fmla="*/ 147 h 234"/>
                <a:gd name="T64" fmla="*/ 222 w 269"/>
                <a:gd name="T65" fmla="*/ 147 h 234"/>
                <a:gd name="T66" fmla="*/ 238 w 269"/>
                <a:gd name="T67" fmla="*/ 163 h 234"/>
                <a:gd name="T68" fmla="*/ 231 w 269"/>
                <a:gd name="T69" fmla="*/ 170 h 234"/>
                <a:gd name="T70" fmla="*/ 222 w 269"/>
                <a:gd name="T71" fmla="*/ 163 h 234"/>
                <a:gd name="T72" fmla="*/ 210 w 269"/>
                <a:gd name="T73" fmla="*/ 170 h 234"/>
                <a:gd name="T74" fmla="*/ 210 w 269"/>
                <a:gd name="T75" fmla="*/ 187 h 234"/>
                <a:gd name="T76" fmla="*/ 193 w 269"/>
                <a:gd name="T77" fmla="*/ 192 h 234"/>
                <a:gd name="T78" fmla="*/ 193 w 269"/>
                <a:gd name="T79" fmla="*/ 208 h 234"/>
                <a:gd name="T80" fmla="*/ 200 w 269"/>
                <a:gd name="T81" fmla="*/ 225 h 234"/>
                <a:gd name="T82" fmla="*/ 193 w 269"/>
                <a:gd name="T83" fmla="*/ 234 h 234"/>
                <a:gd name="T84" fmla="*/ 146 w 269"/>
                <a:gd name="T85" fmla="*/ 203 h 234"/>
                <a:gd name="T86" fmla="*/ 130 w 269"/>
                <a:gd name="T87" fmla="*/ 203 h 234"/>
                <a:gd name="T88" fmla="*/ 130 w 269"/>
                <a:gd name="T89" fmla="*/ 192 h 234"/>
                <a:gd name="T90" fmla="*/ 130 w 269"/>
                <a:gd name="T91" fmla="*/ 192 h 234"/>
                <a:gd name="T92" fmla="*/ 130 w 269"/>
                <a:gd name="T93" fmla="*/ 192 h 2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69" h="234">
                  <a:moveTo>
                    <a:pt x="130" y="192"/>
                  </a:moveTo>
                  <a:lnTo>
                    <a:pt x="139" y="192"/>
                  </a:lnTo>
                  <a:lnTo>
                    <a:pt x="130" y="187"/>
                  </a:lnTo>
                  <a:lnTo>
                    <a:pt x="108" y="170"/>
                  </a:lnTo>
                  <a:lnTo>
                    <a:pt x="108" y="154"/>
                  </a:lnTo>
                  <a:lnTo>
                    <a:pt x="87" y="137"/>
                  </a:lnTo>
                  <a:lnTo>
                    <a:pt x="54" y="109"/>
                  </a:lnTo>
                  <a:lnTo>
                    <a:pt x="33" y="92"/>
                  </a:lnTo>
                  <a:lnTo>
                    <a:pt x="33" y="76"/>
                  </a:lnTo>
                  <a:lnTo>
                    <a:pt x="33" y="59"/>
                  </a:lnTo>
                  <a:lnTo>
                    <a:pt x="0" y="38"/>
                  </a:lnTo>
                  <a:lnTo>
                    <a:pt x="4" y="5"/>
                  </a:lnTo>
                  <a:lnTo>
                    <a:pt x="21" y="0"/>
                  </a:lnTo>
                  <a:lnTo>
                    <a:pt x="37" y="22"/>
                  </a:lnTo>
                  <a:lnTo>
                    <a:pt x="54" y="0"/>
                  </a:lnTo>
                  <a:lnTo>
                    <a:pt x="75" y="0"/>
                  </a:lnTo>
                  <a:lnTo>
                    <a:pt x="87" y="0"/>
                  </a:lnTo>
                  <a:lnTo>
                    <a:pt x="101" y="5"/>
                  </a:lnTo>
                  <a:lnTo>
                    <a:pt x="146" y="17"/>
                  </a:lnTo>
                  <a:lnTo>
                    <a:pt x="177" y="5"/>
                  </a:lnTo>
                  <a:lnTo>
                    <a:pt x="200" y="17"/>
                  </a:lnTo>
                  <a:lnTo>
                    <a:pt x="215" y="22"/>
                  </a:lnTo>
                  <a:lnTo>
                    <a:pt x="215" y="26"/>
                  </a:lnTo>
                  <a:lnTo>
                    <a:pt x="231" y="26"/>
                  </a:lnTo>
                  <a:lnTo>
                    <a:pt x="252" y="26"/>
                  </a:lnTo>
                  <a:lnTo>
                    <a:pt x="238" y="76"/>
                  </a:lnTo>
                  <a:lnTo>
                    <a:pt x="269" y="97"/>
                  </a:lnTo>
                  <a:lnTo>
                    <a:pt x="264" y="109"/>
                  </a:lnTo>
                  <a:lnTo>
                    <a:pt x="248" y="109"/>
                  </a:lnTo>
                  <a:lnTo>
                    <a:pt x="264" y="130"/>
                  </a:lnTo>
                  <a:lnTo>
                    <a:pt x="264" y="147"/>
                  </a:lnTo>
                  <a:lnTo>
                    <a:pt x="248" y="147"/>
                  </a:lnTo>
                  <a:lnTo>
                    <a:pt x="222" y="147"/>
                  </a:lnTo>
                  <a:lnTo>
                    <a:pt x="238" y="163"/>
                  </a:lnTo>
                  <a:lnTo>
                    <a:pt x="231" y="170"/>
                  </a:lnTo>
                  <a:lnTo>
                    <a:pt x="222" y="163"/>
                  </a:lnTo>
                  <a:lnTo>
                    <a:pt x="210" y="170"/>
                  </a:lnTo>
                  <a:lnTo>
                    <a:pt x="210" y="187"/>
                  </a:lnTo>
                  <a:lnTo>
                    <a:pt x="193" y="192"/>
                  </a:lnTo>
                  <a:lnTo>
                    <a:pt x="193" y="208"/>
                  </a:lnTo>
                  <a:lnTo>
                    <a:pt x="200" y="225"/>
                  </a:lnTo>
                  <a:lnTo>
                    <a:pt x="193" y="234"/>
                  </a:lnTo>
                  <a:lnTo>
                    <a:pt x="146" y="203"/>
                  </a:lnTo>
                  <a:lnTo>
                    <a:pt x="130" y="203"/>
                  </a:lnTo>
                  <a:lnTo>
                    <a:pt x="130" y="192"/>
                  </a:lnTo>
                  <a:lnTo>
                    <a:pt x="130" y="192"/>
                  </a:lnTo>
                  <a:lnTo>
                    <a:pt x="130" y="192"/>
                  </a:lnTo>
                  <a:close/>
                </a:path>
              </a:pathLst>
            </a:custGeom>
            <a:solidFill>
              <a:schemeClr val="bg2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55" name="Freeform 398">
              <a:extLst>
                <a:ext uri="{FF2B5EF4-FFF2-40B4-BE49-F238E27FC236}">
                  <a16:creationId xmlns:a16="http://schemas.microsoft.com/office/drawing/2014/main" id="{76EEFD02-FFFD-4CF1-8A48-A818685C6C10}"/>
                </a:ext>
              </a:extLst>
            </p:cNvPr>
            <p:cNvSpPr>
              <a:spLocks/>
            </p:cNvSpPr>
            <p:nvPr/>
          </p:nvSpPr>
          <p:spPr bwMode="gray">
            <a:xfrm>
              <a:off x="5411742" y="2849697"/>
              <a:ext cx="130147" cy="149808"/>
            </a:xfrm>
            <a:custGeom>
              <a:avLst/>
              <a:gdLst>
                <a:gd name="T0" fmla="*/ 482 w 848"/>
                <a:gd name="T1" fmla="*/ 915 h 976"/>
                <a:gd name="T2" fmla="*/ 378 w 848"/>
                <a:gd name="T3" fmla="*/ 952 h 976"/>
                <a:gd name="T4" fmla="*/ 357 w 848"/>
                <a:gd name="T5" fmla="*/ 931 h 976"/>
                <a:gd name="T6" fmla="*/ 269 w 848"/>
                <a:gd name="T7" fmla="*/ 919 h 976"/>
                <a:gd name="T8" fmla="*/ 231 w 848"/>
                <a:gd name="T9" fmla="*/ 919 h 976"/>
                <a:gd name="T10" fmla="*/ 198 w 848"/>
                <a:gd name="T11" fmla="*/ 943 h 976"/>
                <a:gd name="T12" fmla="*/ 189 w 848"/>
                <a:gd name="T13" fmla="*/ 959 h 976"/>
                <a:gd name="T14" fmla="*/ 144 w 848"/>
                <a:gd name="T15" fmla="*/ 976 h 976"/>
                <a:gd name="T16" fmla="*/ 123 w 848"/>
                <a:gd name="T17" fmla="*/ 952 h 976"/>
                <a:gd name="T18" fmla="*/ 106 w 848"/>
                <a:gd name="T19" fmla="*/ 915 h 976"/>
                <a:gd name="T20" fmla="*/ 101 w 848"/>
                <a:gd name="T21" fmla="*/ 858 h 976"/>
                <a:gd name="T22" fmla="*/ 75 w 848"/>
                <a:gd name="T23" fmla="*/ 825 h 976"/>
                <a:gd name="T24" fmla="*/ 85 w 848"/>
                <a:gd name="T25" fmla="*/ 808 h 976"/>
                <a:gd name="T26" fmla="*/ 64 w 848"/>
                <a:gd name="T27" fmla="*/ 787 h 976"/>
                <a:gd name="T28" fmla="*/ 75 w 848"/>
                <a:gd name="T29" fmla="*/ 759 h 976"/>
                <a:gd name="T30" fmla="*/ 64 w 848"/>
                <a:gd name="T31" fmla="*/ 737 h 976"/>
                <a:gd name="T32" fmla="*/ 47 w 848"/>
                <a:gd name="T33" fmla="*/ 681 h 976"/>
                <a:gd name="T34" fmla="*/ 38 w 848"/>
                <a:gd name="T35" fmla="*/ 610 h 976"/>
                <a:gd name="T36" fmla="*/ 9 w 848"/>
                <a:gd name="T37" fmla="*/ 572 h 976"/>
                <a:gd name="T38" fmla="*/ 0 w 848"/>
                <a:gd name="T39" fmla="*/ 556 h 976"/>
                <a:gd name="T40" fmla="*/ 47 w 848"/>
                <a:gd name="T41" fmla="*/ 511 h 976"/>
                <a:gd name="T42" fmla="*/ 54 w 848"/>
                <a:gd name="T43" fmla="*/ 482 h 976"/>
                <a:gd name="T44" fmla="*/ 31 w 848"/>
                <a:gd name="T45" fmla="*/ 478 h 976"/>
                <a:gd name="T46" fmla="*/ 21 w 848"/>
                <a:gd name="T47" fmla="*/ 416 h 976"/>
                <a:gd name="T48" fmla="*/ 16 w 848"/>
                <a:gd name="T49" fmla="*/ 388 h 976"/>
                <a:gd name="T50" fmla="*/ 47 w 848"/>
                <a:gd name="T51" fmla="*/ 345 h 976"/>
                <a:gd name="T52" fmla="*/ 54 w 848"/>
                <a:gd name="T53" fmla="*/ 334 h 976"/>
                <a:gd name="T54" fmla="*/ 47 w 848"/>
                <a:gd name="T55" fmla="*/ 277 h 976"/>
                <a:gd name="T56" fmla="*/ 68 w 848"/>
                <a:gd name="T57" fmla="*/ 206 h 976"/>
                <a:gd name="T58" fmla="*/ 54 w 848"/>
                <a:gd name="T59" fmla="*/ 95 h 976"/>
                <a:gd name="T60" fmla="*/ 68 w 848"/>
                <a:gd name="T61" fmla="*/ 107 h 976"/>
                <a:gd name="T62" fmla="*/ 106 w 848"/>
                <a:gd name="T63" fmla="*/ 74 h 976"/>
                <a:gd name="T64" fmla="*/ 144 w 848"/>
                <a:gd name="T65" fmla="*/ 57 h 976"/>
                <a:gd name="T66" fmla="*/ 177 w 848"/>
                <a:gd name="T67" fmla="*/ 41 h 976"/>
                <a:gd name="T68" fmla="*/ 248 w 848"/>
                <a:gd name="T69" fmla="*/ 12 h 976"/>
                <a:gd name="T70" fmla="*/ 302 w 848"/>
                <a:gd name="T71" fmla="*/ 0 h 976"/>
                <a:gd name="T72" fmla="*/ 298 w 848"/>
                <a:gd name="T73" fmla="*/ 57 h 976"/>
                <a:gd name="T74" fmla="*/ 302 w 848"/>
                <a:gd name="T75" fmla="*/ 111 h 976"/>
                <a:gd name="T76" fmla="*/ 319 w 848"/>
                <a:gd name="T77" fmla="*/ 145 h 976"/>
                <a:gd name="T78" fmla="*/ 323 w 848"/>
                <a:gd name="T79" fmla="*/ 152 h 976"/>
                <a:gd name="T80" fmla="*/ 340 w 848"/>
                <a:gd name="T81" fmla="*/ 168 h 976"/>
                <a:gd name="T82" fmla="*/ 361 w 848"/>
                <a:gd name="T83" fmla="*/ 185 h 976"/>
                <a:gd name="T84" fmla="*/ 404 w 848"/>
                <a:gd name="T85" fmla="*/ 206 h 976"/>
                <a:gd name="T86" fmla="*/ 444 w 848"/>
                <a:gd name="T87" fmla="*/ 223 h 976"/>
                <a:gd name="T88" fmla="*/ 465 w 848"/>
                <a:gd name="T89" fmla="*/ 234 h 976"/>
                <a:gd name="T90" fmla="*/ 486 w 848"/>
                <a:gd name="T91" fmla="*/ 239 h 976"/>
                <a:gd name="T92" fmla="*/ 524 w 848"/>
                <a:gd name="T93" fmla="*/ 256 h 976"/>
                <a:gd name="T94" fmla="*/ 605 w 848"/>
                <a:gd name="T95" fmla="*/ 277 h 976"/>
                <a:gd name="T96" fmla="*/ 649 w 848"/>
                <a:gd name="T97" fmla="*/ 317 h 976"/>
                <a:gd name="T98" fmla="*/ 659 w 848"/>
                <a:gd name="T99" fmla="*/ 362 h 976"/>
                <a:gd name="T100" fmla="*/ 633 w 848"/>
                <a:gd name="T101" fmla="*/ 400 h 976"/>
                <a:gd name="T102" fmla="*/ 664 w 848"/>
                <a:gd name="T103" fmla="*/ 482 h 976"/>
                <a:gd name="T104" fmla="*/ 794 w 848"/>
                <a:gd name="T105" fmla="*/ 499 h 976"/>
                <a:gd name="T106" fmla="*/ 789 w 848"/>
                <a:gd name="T107" fmla="*/ 556 h 976"/>
                <a:gd name="T108" fmla="*/ 838 w 848"/>
                <a:gd name="T109" fmla="*/ 605 h 976"/>
                <a:gd name="T110" fmla="*/ 838 w 848"/>
                <a:gd name="T111" fmla="*/ 681 h 976"/>
                <a:gd name="T112" fmla="*/ 838 w 848"/>
                <a:gd name="T113" fmla="*/ 693 h 976"/>
                <a:gd name="T114" fmla="*/ 827 w 848"/>
                <a:gd name="T115" fmla="*/ 759 h 976"/>
                <a:gd name="T116" fmla="*/ 805 w 848"/>
                <a:gd name="T117" fmla="*/ 749 h 976"/>
                <a:gd name="T118" fmla="*/ 675 w 848"/>
                <a:gd name="T119" fmla="*/ 704 h 976"/>
                <a:gd name="T120" fmla="*/ 541 w 848"/>
                <a:gd name="T121" fmla="*/ 771 h 976"/>
                <a:gd name="T122" fmla="*/ 520 w 848"/>
                <a:gd name="T123" fmla="*/ 841 h 976"/>
                <a:gd name="T124" fmla="*/ 486 w 848"/>
                <a:gd name="T125" fmla="*/ 931 h 9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848" h="976">
                  <a:moveTo>
                    <a:pt x="486" y="931"/>
                  </a:moveTo>
                  <a:lnTo>
                    <a:pt x="482" y="915"/>
                  </a:lnTo>
                  <a:lnTo>
                    <a:pt x="404" y="915"/>
                  </a:lnTo>
                  <a:lnTo>
                    <a:pt x="378" y="952"/>
                  </a:lnTo>
                  <a:lnTo>
                    <a:pt x="373" y="976"/>
                  </a:lnTo>
                  <a:lnTo>
                    <a:pt x="357" y="931"/>
                  </a:lnTo>
                  <a:lnTo>
                    <a:pt x="323" y="919"/>
                  </a:lnTo>
                  <a:lnTo>
                    <a:pt x="269" y="919"/>
                  </a:lnTo>
                  <a:lnTo>
                    <a:pt x="243" y="898"/>
                  </a:lnTo>
                  <a:lnTo>
                    <a:pt x="231" y="919"/>
                  </a:lnTo>
                  <a:lnTo>
                    <a:pt x="198" y="931"/>
                  </a:lnTo>
                  <a:lnTo>
                    <a:pt x="198" y="943"/>
                  </a:lnTo>
                  <a:lnTo>
                    <a:pt x="189" y="952"/>
                  </a:lnTo>
                  <a:lnTo>
                    <a:pt x="189" y="959"/>
                  </a:lnTo>
                  <a:lnTo>
                    <a:pt x="172" y="976"/>
                  </a:lnTo>
                  <a:lnTo>
                    <a:pt x="144" y="976"/>
                  </a:lnTo>
                  <a:lnTo>
                    <a:pt x="123" y="976"/>
                  </a:lnTo>
                  <a:lnTo>
                    <a:pt x="123" y="952"/>
                  </a:lnTo>
                  <a:lnTo>
                    <a:pt x="118" y="919"/>
                  </a:lnTo>
                  <a:lnTo>
                    <a:pt x="106" y="915"/>
                  </a:lnTo>
                  <a:lnTo>
                    <a:pt x="101" y="882"/>
                  </a:lnTo>
                  <a:lnTo>
                    <a:pt x="101" y="858"/>
                  </a:lnTo>
                  <a:lnTo>
                    <a:pt x="85" y="832"/>
                  </a:lnTo>
                  <a:lnTo>
                    <a:pt x="75" y="825"/>
                  </a:lnTo>
                  <a:lnTo>
                    <a:pt x="75" y="820"/>
                  </a:lnTo>
                  <a:lnTo>
                    <a:pt x="85" y="808"/>
                  </a:lnTo>
                  <a:lnTo>
                    <a:pt x="64" y="792"/>
                  </a:lnTo>
                  <a:lnTo>
                    <a:pt x="64" y="787"/>
                  </a:lnTo>
                  <a:lnTo>
                    <a:pt x="64" y="771"/>
                  </a:lnTo>
                  <a:lnTo>
                    <a:pt x="75" y="759"/>
                  </a:lnTo>
                  <a:lnTo>
                    <a:pt x="75" y="754"/>
                  </a:lnTo>
                  <a:lnTo>
                    <a:pt x="64" y="737"/>
                  </a:lnTo>
                  <a:lnTo>
                    <a:pt x="85" y="716"/>
                  </a:lnTo>
                  <a:lnTo>
                    <a:pt x="47" y="681"/>
                  </a:lnTo>
                  <a:lnTo>
                    <a:pt x="31" y="622"/>
                  </a:lnTo>
                  <a:lnTo>
                    <a:pt x="38" y="610"/>
                  </a:lnTo>
                  <a:lnTo>
                    <a:pt x="21" y="610"/>
                  </a:lnTo>
                  <a:lnTo>
                    <a:pt x="9" y="572"/>
                  </a:lnTo>
                  <a:lnTo>
                    <a:pt x="9" y="565"/>
                  </a:lnTo>
                  <a:lnTo>
                    <a:pt x="0" y="556"/>
                  </a:lnTo>
                  <a:lnTo>
                    <a:pt x="0" y="556"/>
                  </a:lnTo>
                  <a:lnTo>
                    <a:pt x="47" y="511"/>
                  </a:lnTo>
                  <a:lnTo>
                    <a:pt x="38" y="499"/>
                  </a:lnTo>
                  <a:lnTo>
                    <a:pt x="54" y="482"/>
                  </a:lnTo>
                  <a:lnTo>
                    <a:pt x="47" y="478"/>
                  </a:lnTo>
                  <a:lnTo>
                    <a:pt x="31" y="478"/>
                  </a:lnTo>
                  <a:lnTo>
                    <a:pt x="16" y="437"/>
                  </a:lnTo>
                  <a:lnTo>
                    <a:pt x="21" y="416"/>
                  </a:lnTo>
                  <a:lnTo>
                    <a:pt x="31" y="404"/>
                  </a:lnTo>
                  <a:lnTo>
                    <a:pt x="16" y="388"/>
                  </a:lnTo>
                  <a:lnTo>
                    <a:pt x="16" y="371"/>
                  </a:lnTo>
                  <a:lnTo>
                    <a:pt x="47" y="345"/>
                  </a:lnTo>
                  <a:lnTo>
                    <a:pt x="47" y="334"/>
                  </a:lnTo>
                  <a:lnTo>
                    <a:pt x="54" y="334"/>
                  </a:lnTo>
                  <a:lnTo>
                    <a:pt x="38" y="293"/>
                  </a:lnTo>
                  <a:lnTo>
                    <a:pt x="47" y="277"/>
                  </a:lnTo>
                  <a:lnTo>
                    <a:pt x="47" y="234"/>
                  </a:lnTo>
                  <a:lnTo>
                    <a:pt x="68" y="206"/>
                  </a:lnTo>
                  <a:lnTo>
                    <a:pt x="9" y="95"/>
                  </a:lnTo>
                  <a:lnTo>
                    <a:pt x="54" y="95"/>
                  </a:lnTo>
                  <a:lnTo>
                    <a:pt x="64" y="107"/>
                  </a:lnTo>
                  <a:lnTo>
                    <a:pt x="68" y="107"/>
                  </a:lnTo>
                  <a:lnTo>
                    <a:pt x="92" y="95"/>
                  </a:lnTo>
                  <a:lnTo>
                    <a:pt x="106" y="74"/>
                  </a:lnTo>
                  <a:lnTo>
                    <a:pt x="135" y="74"/>
                  </a:lnTo>
                  <a:lnTo>
                    <a:pt x="144" y="57"/>
                  </a:lnTo>
                  <a:lnTo>
                    <a:pt x="161" y="50"/>
                  </a:lnTo>
                  <a:lnTo>
                    <a:pt x="177" y="41"/>
                  </a:lnTo>
                  <a:lnTo>
                    <a:pt x="210" y="17"/>
                  </a:lnTo>
                  <a:lnTo>
                    <a:pt x="248" y="12"/>
                  </a:lnTo>
                  <a:lnTo>
                    <a:pt x="286" y="12"/>
                  </a:lnTo>
                  <a:lnTo>
                    <a:pt x="302" y="0"/>
                  </a:lnTo>
                  <a:lnTo>
                    <a:pt x="302" y="41"/>
                  </a:lnTo>
                  <a:lnTo>
                    <a:pt x="298" y="57"/>
                  </a:lnTo>
                  <a:lnTo>
                    <a:pt x="302" y="95"/>
                  </a:lnTo>
                  <a:lnTo>
                    <a:pt x="302" y="111"/>
                  </a:lnTo>
                  <a:lnTo>
                    <a:pt x="302" y="128"/>
                  </a:lnTo>
                  <a:lnTo>
                    <a:pt x="319" y="145"/>
                  </a:lnTo>
                  <a:lnTo>
                    <a:pt x="307" y="152"/>
                  </a:lnTo>
                  <a:lnTo>
                    <a:pt x="323" y="152"/>
                  </a:lnTo>
                  <a:lnTo>
                    <a:pt x="323" y="168"/>
                  </a:lnTo>
                  <a:lnTo>
                    <a:pt x="340" y="168"/>
                  </a:lnTo>
                  <a:lnTo>
                    <a:pt x="340" y="185"/>
                  </a:lnTo>
                  <a:lnTo>
                    <a:pt x="361" y="185"/>
                  </a:lnTo>
                  <a:lnTo>
                    <a:pt x="373" y="206"/>
                  </a:lnTo>
                  <a:lnTo>
                    <a:pt x="404" y="206"/>
                  </a:lnTo>
                  <a:lnTo>
                    <a:pt x="416" y="206"/>
                  </a:lnTo>
                  <a:lnTo>
                    <a:pt x="444" y="223"/>
                  </a:lnTo>
                  <a:lnTo>
                    <a:pt x="465" y="218"/>
                  </a:lnTo>
                  <a:lnTo>
                    <a:pt x="465" y="234"/>
                  </a:lnTo>
                  <a:lnTo>
                    <a:pt x="482" y="251"/>
                  </a:lnTo>
                  <a:lnTo>
                    <a:pt x="486" y="239"/>
                  </a:lnTo>
                  <a:lnTo>
                    <a:pt x="512" y="256"/>
                  </a:lnTo>
                  <a:lnTo>
                    <a:pt x="524" y="256"/>
                  </a:lnTo>
                  <a:lnTo>
                    <a:pt x="550" y="289"/>
                  </a:lnTo>
                  <a:lnTo>
                    <a:pt x="605" y="277"/>
                  </a:lnTo>
                  <a:lnTo>
                    <a:pt x="642" y="305"/>
                  </a:lnTo>
                  <a:lnTo>
                    <a:pt x="649" y="317"/>
                  </a:lnTo>
                  <a:lnTo>
                    <a:pt x="642" y="326"/>
                  </a:lnTo>
                  <a:lnTo>
                    <a:pt x="659" y="362"/>
                  </a:lnTo>
                  <a:lnTo>
                    <a:pt x="659" y="400"/>
                  </a:lnTo>
                  <a:lnTo>
                    <a:pt x="633" y="400"/>
                  </a:lnTo>
                  <a:lnTo>
                    <a:pt x="659" y="421"/>
                  </a:lnTo>
                  <a:lnTo>
                    <a:pt x="664" y="482"/>
                  </a:lnTo>
                  <a:lnTo>
                    <a:pt x="794" y="482"/>
                  </a:lnTo>
                  <a:lnTo>
                    <a:pt x="794" y="499"/>
                  </a:lnTo>
                  <a:lnTo>
                    <a:pt x="784" y="515"/>
                  </a:lnTo>
                  <a:lnTo>
                    <a:pt x="789" y="556"/>
                  </a:lnTo>
                  <a:lnTo>
                    <a:pt x="838" y="582"/>
                  </a:lnTo>
                  <a:lnTo>
                    <a:pt x="838" y="605"/>
                  </a:lnTo>
                  <a:lnTo>
                    <a:pt x="848" y="626"/>
                  </a:lnTo>
                  <a:lnTo>
                    <a:pt x="838" y="681"/>
                  </a:lnTo>
                  <a:lnTo>
                    <a:pt x="838" y="693"/>
                  </a:lnTo>
                  <a:lnTo>
                    <a:pt x="838" y="693"/>
                  </a:lnTo>
                  <a:lnTo>
                    <a:pt x="810" y="737"/>
                  </a:lnTo>
                  <a:lnTo>
                    <a:pt x="827" y="759"/>
                  </a:lnTo>
                  <a:lnTo>
                    <a:pt x="805" y="771"/>
                  </a:lnTo>
                  <a:lnTo>
                    <a:pt x="805" y="749"/>
                  </a:lnTo>
                  <a:lnTo>
                    <a:pt x="742" y="716"/>
                  </a:lnTo>
                  <a:lnTo>
                    <a:pt x="675" y="704"/>
                  </a:lnTo>
                  <a:lnTo>
                    <a:pt x="557" y="733"/>
                  </a:lnTo>
                  <a:lnTo>
                    <a:pt x="541" y="771"/>
                  </a:lnTo>
                  <a:lnTo>
                    <a:pt x="520" y="804"/>
                  </a:lnTo>
                  <a:lnTo>
                    <a:pt x="520" y="841"/>
                  </a:lnTo>
                  <a:lnTo>
                    <a:pt x="486" y="931"/>
                  </a:lnTo>
                  <a:lnTo>
                    <a:pt x="486" y="931"/>
                  </a:lnTo>
                  <a:lnTo>
                    <a:pt x="486" y="931"/>
                  </a:lnTo>
                  <a:close/>
                </a:path>
              </a:pathLst>
            </a:custGeom>
            <a:solidFill>
              <a:schemeClr val="bg2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57" name="Freeform 399">
              <a:extLst>
                <a:ext uri="{FF2B5EF4-FFF2-40B4-BE49-F238E27FC236}">
                  <a16:creationId xmlns:a16="http://schemas.microsoft.com/office/drawing/2014/main" id="{3A979DDC-7283-44B7-A03D-F48EAD7387E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153682" y="2418385"/>
              <a:ext cx="96843" cy="214889"/>
            </a:xfrm>
            <a:custGeom>
              <a:avLst/>
              <a:gdLst>
                <a:gd name="T0" fmla="*/ 31 w 631"/>
                <a:gd name="T1" fmla="*/ 552 h 1400"/>
                <a:gd name="T2" fmla="*/ 64 w 631"/>
                <a:gd name="T3" fmla="*/ 448 h 1400"/>
                <a:gd name="T4" fmla="*/ 92 w 631"/>
                <a:gd name="T5" fmla="*/ 354 h 1400"/>
                <a:gd name="T6" fmla="*/ 173 w 631"/>
                <a:gd name="T7" fmla="*/ 243 h 1400"/>
                <a:gd name="T8" fmla="*/ 286 w 631"/>
                <a:gd name="T9" fmla="*/ 94 h 1400"/>
                <a:gd name="T10" fmla="*/ 362 w 631"/>
                <a:gd name="T11" fmla="*/ 23 h 1400"/>
                <a:gd name="T12" fmla="*/ 442 w 631"/>
                <a:gd name="T13" fmla="*/ 73 h 1400"/>
                <a:gd name="T14" fmla="*/ 447 w 631"/>
                <a:gd name="T15" fmla="*/ 205 h 1400"/>
                <a:gd name="T16" fmla="*/ 392 w 631"/>
                <a:gd name="T17" fmla="*/ 276 h 1400"/>
                <a:gd name="T18" fmla="*/ 388 w 631"/>
                <a:gd name="T19" fmla="*/ 366 h 1400"/>
                <a:gd name="T20" fmla="*/ 463 w 631"/>
                <a:gd name="T21" fmla="*/ 387 h 1400"/>
                <a:gd name="T22" fmla="*/ 501 w 631"/>
                <a:gd name="T23" fmla="*/ 448 h 1400"/>
                <a:gd name="T24" fmla="*/ 555 w 631"/>
                <a:gd name="T25" fmla="*/ 536 h 1400"/>
                <a:gd name="T26" fmla="*/ 614 w 631"/>
                <a:gd name="T27" fmla="*/ 548 h 1400"/>
                <a:gd name="T28" fmla="*/ 555 w 631"/>
                <a:gd name="T29" fmla="*/ 625 h 1400"/>
                <a:gd name="T30" fmla="*/ 484 w 631"/>
                <a:gd name="T31" fmla="*/ 647 h 1400"/>
                <a:gd name="T32" fmla="*/ 399 w 631"/>
                <a:gd name="T33" fmla="*/ 680 h 1400"/>
                <a:gd name="T34" fmla="*/ 362 w 631"/>
                <a:gd name="T35" fmla="*/ 758 h 1400"/>
                <a:gd name="T36" fmla="*/ 451 w 631"/>
                <a:gd name="T37" fmla="*/ 923 h 1400"/>
                <a:gd name="T38" fmla="*/ 442 w 631"/>
                <a:gd name="T39" fmla="*/ 996 h 1400"/>
                <a:gd name="T40" fmla="*/ 496 w 631"/>
                <a:gd name="T41" fmla="*/ 1112 h 1400"/>
                <a:gd name="T42" fmla="*/ 506 w 631"/>
                <a:gd name="T43" fmla="*/ 1216 h 1400"/>
                <a:gd name="T44" fmla="*/ 447 w 631"/>
                <a:gd name="T45" fmla="*/ 1388 h 1400"/>
                <a:gd name="T46" fmla="*/ 463 w 631"/>
                <a:gd name="T47" fmla="*/ 1256 h 1400"/>
                <a:gd name="T48" fmla="*/ 447 w 631"/>
                <a:gd name="T49" fmla="*/ 1223 h 1400"/>
                <a:gd name="T50" fmla="*/ 425 w 631"/>
                <a:gd name="T51" fmla="*/ 1088 h 1400"/>
                <a:gd name="T52" fmla="*/ 388 w 631"/>
                <a:gd name="T53" fmla="*/ 907 h 1400"/>
                <a:gd name="T54" fmla="*/ 333 w 631"/>
                <a:gd name="T55" fmla="*/ 869 h 1400"/>
                <a:gd name="T56" fmla="*/ 286 w 631"/>
                <a:gd name="T57" fmla="*/ 918 h 1400"/>
                <a:gd name="T58" fmla="*/ 227 w 631"/>
                <a:gd name="T59" fmla="*/ 940 h 1400"/>
                <a:gd name="T60" fmla="*/ 199 w 631"/>
                <a:gd name="T61" fmla="*/ 963 h 1400"/>
                <a:gd name="T62" fmla="*/ 182 w 631"/>
                <a:gd name="T63" fmla="*/ 940 h 1400"/>
                <a:gd name="T64" fmla="*/ 144 w 631"/>
                <a:gd name="T65" fmla="*/ 947 h 1400"/>
                <a:gd name="T66" fmla="*/ 139 w 631"/>
                <a:gd name="T67" fmla="*/ 737 h 1400"/>
                <a:gd name="T68" fmla="*/ 102 w 631"/>
                <a:gd name="T69" fmla="*/ 670 h 1400"/>
                <a:gd name="T70" fmla="*/ 69 w 631"/>
                <a:gd name="T71" fmla="*/ 659 h 1400"/>
                <a:gd name="T72" fmla="*/ 47 w 631"/>
                <a:gd name="T73" fmla="*/ 642 h 1400"/>
                <a:gd name="T74" fmla="*/ 17 w 631"/>
                <a:gd name="T75" fmla="*/ 602 h 1400"/>
                <a:gd name="T76" fmla="*/ 102 w 631"/>
                <a:gd name="T77" fmla="*/ 687 h 1400"/>
                <a:gd name="T78" fmla="*/ 123 w 631"/>
                <a:gd name="T79" fmla="*/ 725 h 1400"/>
                <a:gd name="T80" fmla="*/ 118 w 631"/>
                <a:gd name="T81" fmla="*/ 703 h 1400"/>
                <a:gd name="T82" fmla="*/ 92 w 631"/>
                <a:gd name="T83" fmla="*/ 737 h 1400"/>
                <a:gd name="T84" fmla="*/ 376 w 631"/>
                <a:gd name="T85" fmla="*/ 935 h 1400"/>
                <a:gd name="T86" fmla="*/ 173 w 631"/>
                <a:gd name="T87" fmla="*/ 940 h 1400"/>
                <a:gd name="T88" fmla="*/ 430 w 631"/>
                <a:gd name="T89" fmla="*/ 1216 h 1400"/>
                <a:gd name="T90" fmla="*/ 430 w 631"/>
                <a:gd name="T91" fmla="*/ 1216 h 1400"/>
                <a:gd name="T92" fmla="*/ 409 w 631"/>
                <a:gd name="T93" fmla="*/ 1216 h 1400"/>
                <a:gd name="T94" fmla="*/ 413 w 631"/>
                <a:gd name="T95" fmla="*/ 1223 h 1400"/>
                <a:gd name="T96" fmla="*/ 442 w 631"/>
                <a:gd name="T97" fmla="*/ 1233 h 1400"/>
                <a:gd name="T98" fmla="*/ 447 w 631"/>
                <a:gd name="T99" fmla="*/ 1256 h 1400"/>
                <a:gd name="T100" fmla="*/ 430 w 631"/>
                <a:gd name="T101" fmla="*/ 1256 h 1400"/>
                <a:gd name="T102" fmla="*/ 447 w 631"/>
                <a:gd name="T103" fmla="*/ 1306 h 1400"/>
                <a:gd name="T104" fmla="*/ 425 w 631"/>
                <a:gd name="T105" fmla="*/ 1332 h 1400"/>
                <a:gd name="T106" fmla="*/ 425 w 631"/>
                <a:gd name="T107" fmla="*/ 1332 h 1400"/>
                <a:gd name="T108" fmla="*/ 399 w 631"/>
                <a:gd name="T109" fmla="*/ 1348 h 1400"/>
                <a:gd name="T110" fmla="*/ 425 w 631"/>
                <a:gd name="T111" fmla="*/ 1384 h 1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631" h="1400">
                  <a:moveTo>
                    <a:pt x="10" y="569"/>
                  </a:moveTo>
                  <a:lnTo>
                    <a:pt x="0" y="552"/>
                  </a:lnTo>
                  <a:lnTo>
                    <a:pt x="10" y="548"/>
                  </a:lnTo>
                  <a:lnTo>
                    <a:pt x="17" y="536"/>
                  </a:lnTo>
                  <a:lnTo>
                    <a:pt x="31" y="552"/>
                  </a:lnTo>
                  <a:lnTo>
                    <a:pt x="31" y="552"/>
                  </a:lnTo>
                  <a:lnTo>
                    <a:pt x="31" y="503"/>
                  </a:lnTo>
                  <a:lnTo>
                    <a:pt x="38" y="493"/>
                  </a:lnTo>
                  <a:lnTo>
                    <a:pt x="54" y="498"/>
                  </a:lnTo>
                  <a:lnTo>
                    <a:pt x="64" y="481"/>
                  </a:lnTo>
                  <a:lnTo>
                    <a:pt x="69" y="481"/>
                  </a:lnTo>
                  <a:lnTo>
                    <a:pt x="64" y="448"/>
                  </a:lnTo>
                  <a:lnTo>
                    <a:pt x="69" y="420"/>
                  </a:lnTo>
                  <a:lnTo>
                    <a:pt x="76" y="427"/>
                  </a:lnTo>
                  <a:lnTo>
                    <a:pt x="85" y="411"/>
                  </a:lnTo>
                  <a:lnTo>
                    <a:pt x="85" y="370"/>
                  </a:lnTo>
                  <a:lnTo>
                    <a:pt x="85" y="337"/>
                  </a:lnTo>
                  <a:lnTo>
                    <a:pt x="92" y="354"/>
                  </a:lnTo>
                  <a:lnTo>
                    <a:pt x="106" y="349"/>
                  </a:lnTo>
                  <a:lnTo>
                    <a:pt x="139" y="366"/>
                  </a:lnTo>
                  <a:lnTo>
                    <a:pt x="177" y="266"/>
                  </a:lnTo>
                  <a:lnTo>
                    <a:pt x="177" y="259"/>
                  </a:lnTo>
                  <a:lnTo>
                    <a:pt x="173" y="255"/>
                  </a:lnTo>
                  <a:lnTo>
                    <a:pt x="173" y="243"/>
                  </a:lnTo>
                  <a:lnTo>
                    <a:pt x="194" y="226"/>
                  </a:lnTo>
                  <a:lnTo>
                    <a:pt x="210" y="188"/>
                  </a:lnTo>
                  <a:lnTo>
                    <a:pt x="199" y="172"/>
                  </a:lnTo>
                  <a:lnTo>
                    <a:pt x="210" y="151"/>
                  </a:lnTo>
                  <a:lnTo>
                    <a:pt x="232" y="144"/>
                  </a:lnTo>
                  <a:lnTo>
                    <a:pt x="286" y="94"/>
                  </a:lnTo>
                  <a:lnTo>
                    <a:pt x="317" y="94"/>
                  </a:lnTo>
                  <a:lnTo>
                    <a:pt x="333" y="99"/>
                  </a:lnTo>
                  <a:lnTo>
                    <a:pt x="345" y="111"/>
                  </a:lnTo>
                  <a:lnTo>
                    <a:pt x="333" y="73"/>
                  </a:lnTo>
                  <a:lnTo>
                    <a:pt x="362" y="44"/>
                  </a:lnTo>
                  <a:lnTo>
                    <a:pt x="362" y="23"/>
                  </a:lnTo>
                  <a:lnTo>
                    <a:pt x="371" y="16"/>
                  </a:lnTo>
                  <a:lnTo>
                    <a:pt x="376" y="0"/>
                  </a:lnTo>
                  <a:lnTo>
                    <a:pt x="409" y="23"/>
                  </a:lnTo>
                  <a:lnTo>
                    <a:pt x="413" y="33"/>
                  </a:lnTo>
                  <a:lnTo>
                    <a:pt x="430" y="77"/>
                  </a:lnTo>
                  <a:lnTo>
                    <a:pt x="442" y="73"/>
                  </a:lnTo>
                  <a:lnTo>
                    <a:pt x="451" y="77"/>
                  </a:lnTo>
                  <a:lnTo>
                    <a:pt x="463" y="134"/>
                  </a:lnTo>
                  <a:lnTo>
                    <a:pt x="463" y="184"/>
                  </a:lnTo>
                  <a:lnTo>
                    <a:pt x="447" y="188"/>
                  </a:lnTo>
                  <a:lnTo>
                    <a:pt x="451" y="205"/>
                  </a:lnTo>
                  <a:lnTo>
                    <a:pt x="447" y="205"/>
                  </a:lnTo>
                  <a:lnTo>
                    <a:pt x="430" y="226"/>
                  </a:lnTo>
                  <a:lnTo>
                    <a:pt x="425" y="226"/>
                  </a:lnTo>
                  <a:lnTo>
                    <a:pt x="409" y="255"/>
                  </a:lnTo>
                  <a:lnTo>
                    <a:pt x="399" y="259"/>
                  </a:lnTo>
                  <a:lnTo>
                    <a:pt x="392" y="255"/>
                  </a:lnTo>
                  <a:lnTo>
                    <a:pt x="392" y="276"/>
                  </a:lnTo>
                  <a:lnTo>
                    <a:pt x="376" y="292"/>
                  </a:lnTo>
                  <a:lnTo>
                    <a:pt x="376" y="316"/>
                  </a:lnTo>
                  <a:lnTo>
                    <a:pt x="388" y="316"/>
                  </a:lnTo>
                  <a:lnTo>
                    <a:pt x="392" y="337"/>
                  </a:lnTo>
                  <a:lnTo>
                    <a:pt x="376" y="354"/>
                  </a:lnTo>
                  <a:lnTo>
                    <a:pt x="388" y="366"/>
                  </a:lnTo>
                  <a:lnTo>
                    <a:pt x="413" y="337"/>
                  </a:lnTo>
                  <a:lnTo>
                    <a:pt x="468" y="337"/>
                  </a:lnTo>
                  <a:lnTo>
                    <a:pt x="451" y="354"/>
                  </a:lnTo>
                  <a:lnTo>
                    <a:pt x="451" y="366"/>
                  </a:lnTo>
                  <a:lnTo>
                    <a:pt x="463" y="370"/>
                  </a:lnTo>
                  <a:lnTo>
                    <a:pt x="463" y="387"/>
                  </a:lnTo>
                  <a:lnTo>
                    <a:pt x="468" y="394"/>
                  </a:lnTo>
                  <a:lnTo>
                    <a:pt x="468" y="411"/>
                  </a:lnTo>
                  <a:lnTo>
                    <a:pt x="484" y="420"/>
                  </a:lnTo>
                  <a:lnTo>
                    <a:pt x="517" y="420"/>
                  </a:lnTo>
                  <a:lnTo>
                    <a:pt x="517" y="427"/>
                  </a:lnTo>
                  <a:lnTo>
                    <a:pt x="501" y="448"/>
                  </a:lnTo>
                  <a:lnTo>
                    <a:pt x="506" y="465"/>
                  </a:lnTo>
                  <a:lnTo>
                    <a:pt x="484" y="493"/>
                  </a:lnTo>
                  <a:lnTo>
                    <a:pt x="550" y="498"/>
                  </a:lnTo>
                  <a:lnTo>
                    <a:pt x="550" y="519"/>
                  </a:lnTo>
                  <a:lnTo>
                    <a:pt x="555" y="531"/>
                  </a:lnTo>
                  <a:lnTo>
                    <a:pt x="555" y="536"/>
                  </a:lnTo>
                  <a:lnTo>
                    <a:pt x="560" y="548"/>
                  </a:lnTo>
                  <a:lnTo>
                    <a:pt x="576" y="536"/>
                  </a:lnTo>
                  <a:lnTo>
                    <a:pt x="588" y="548"/>
                  </a:lnTo>
                  <a:lnTo>
                    <a:pt x="624" y="519"/>
                  </a:lnTo>
                  <a:lnTo>
                    <a:pt x="631" y="531"/>
                  </a:lnTo>
                  <a:lnTo>
                    <a:pt x="614" y="548"/>
                  </a:lnTo>
                  <a:lnTo>
                    <a:pt x="602" y="552"/>
                  </a:lnTo>
                  <a:lnTo>
                    <a:pt x="588" y="576"/>
                  </a:lnTo>
                  <a:lnTo>
                    <a:pt x="588" y="585"/>
                  </a:lnTo>
                  <a:lnTo>
                    <a:pt x="593" y="585"/>
                  </a:lnTo>
                  <a:lnTo>
                    <a:pt x="560" y="592"/>
                  </a:lnTo>
                  <a:lnTo>
                    <a:pt x="555" y="625"/>
                  </a:lnTo>
                  <a:lnTo>
                    <a:pt x="550" y="614"/>
                  </a:lnTo>
                  <a:lnTo>
                    <a:pt x="534" y="625"/>
                  </a:lnTo>
                  <a:lnTo>
                    <a:pt x="517" y="625"/>
                  </a:lnTo>
                  <a:lnTo>
                    <a:pt x="517" y="642"/>
                  </a:lnTo>
                  <a:lnTo>
                    <a:pt x="506" y="642"/>
                  </a:lnTo>
                  <a:lnTo>
                    <a:pt x="484" y="647"/>
                  </a:lnTo>
                  <a:lnTo>
                    <a:pt x="480" y="663"/>
                  </a:lnTo>
                  <a:lnTo>
                    <a:pt x="468" y="663"/>
                  </a:lnTo>
                  <a:lnTo>
                    <a:pt x="425" y="670"/>
                  </a:lnTo>
                  <a:lnTo>
                    <a:pt x="409" y="663"/>
                  </a:lnTo>
                  <a:lnTo>
                    <a:pt x="409" y="680"/>
                  </a:lnTo>
                  <a:lnTo>
                    <a:pt x="399" y="680"/>
                  </a:lnTo>
                  <a:lnTo>
                    <a:pt x="392" y="696"/>
                  </a:lnTo>
                  <a:lnTo>
                    <a:pt x="392" y="720"/>
                  </a:lnTo>
                  <a:lnTo>
                    <a:pt x="388" y="725"/>
                  </a:lnTo>
                  <a:lnTo>
                    <a:pt x="392" y="758"/>
                  </a:lnTo>
                  <a:lnTo>
                    <a:pt x="371" y="770"/>
                  </a:lnTo>
                  <a:lnTo>
                    <a:pt x="362" y="758"/>
                  </a:lnTo>
                  <a:lnTo>
                    <a:pt x="371" y="779"/>
                  </a:lnTo>
                  <a:lnTo>
                    <a:pt x="388" y="779"/>
                  </a:lnTo>
                  <a:lnTo>
                    <a:pt x="392" y="824"/>
                  </a:lnTo>
                  <a:lnTo>
                    <a:pt x="447" y="881"/>
                  </a:lnTo>
                  <a:lnTo>
                    <a:pt x="442" y="890"/>
                  </a:lnTo>
                  <a:lnTo>
                    <a:pt x="451" y="923"/>
                  </a:lnTo>
                  <a:lnTo>
                    <a:pt x="468" y="918"/>
                  </a:lnTo>
                  <a:lnTo>
                    <a:pt x="468" y="918"/>
                  </a:lnTo>
                  <a:lnTo>
                    <a:pt x="468" y="940"/>
                  </a:lnTo>
                  <a:lnTo>
                    <a:pt x="451" y="947"/>
                  </a:lnTo>
                  <a:lnTo>
                    <a:pt x="447" y="996"/>
                  </a:lnTo>
                  <a:lnTo>
                    <a:pt x="442" y="996"/>
                  </a:lnTo>
                  <a:lnTo>
                    <a:pt x="425" y="1001"/>
                  </a:lnTo>
                  <a:lnTo>
                    <a:pt x="425" y="1018"/>
                  </a:lnTo>
                  <a:lnTo>
                    <a:pt x="430" y="1046"/>
                  </a:lnTo>
                  <a:lnTo>
                    <a:pt x="451" y="1072"/>
                  </a:lnTo>
                  <a:lnTo>
                    <a:pt x="480" y="1088"/>
                  </a:lnTo>
                  <a:lnTo>
                    <a:pt x="496" y="1112"/>
                  </a:lnTo>
                  <a:lnTo>
                    <a:pt x="496" y="1157"/>
                  </a:lnTo>
                  <a:lnTo>
                    <a:pt x="484" y="1157"/>
                  </a:lnTo>
                  <a:lnTo>
                    <a:pt x="484" y="1162"/>
                  </a:lnTo>
                  <a:lnTo>
                    <a:pt x="496" y="1183"/>
                  </a:lnTo>
                  <a:lnTo>
                    <a:pt x="506" y="1199"/>
                  </a:lnTo>
                  <a:lnTo>
                    <a:pt x="506" y="1216"/>
                  </a:lnTo>
                  <a:lnTo>
                    <a:pt x="522" y="1256"/>
                  </a:lnTo>
                  <a:lnTo>
                    <a:pt x="496" y="1311"/>
                  </a:lnTo>
                  <a:lnTo>
                    <a:pt x="463" y="1332"/>
                  </a:lnTo>
                  <a:lnTo>
                    <a:pt x="463" y="1348"/>
                  </a:lnTo>
                  <a:lnTo>
                    <a:pt x="463" y="1360"/>
                  </a:lnTo>
                  <a:lnTo>
                    <a:pt x="447" y="1388"/>
                  </a:lnTo>
                  <a:lnTo>
                    <a:pt x="442" y="1332"/>
                  </a:lnTo>
                  <a:lnTo>
                    <a:pt x="447" y="1332"/>
                  </a:lnTo>
                  <a:lnTo>
                    <a:pt x="451" y="1322"/>
                  </a:lnTo>
                  <a:lnTo>
                    <a:pt x="463" y="1266"/>
                  </a:lnTo>
                  <a:lnTo>
                    <a:pt x="468" y="1266"/>
                  </a:lnTo>
                  <a:lnTo>
                    <a:pt x="463" y="1256"/>
                  </a:lnTo>
                  <a:lnTo>
                    <a:pt x="451" y="1266"/>
                  </a:lnTo>
                  <a:lnTo>
                    <a:pt x="447" y="1256"/>
                  </a:lnTo>
                  <a:lnTo>
                    <a:pt x="451" y="1240"/>
                  </a:lnTo>
                  <a:lnTo>
                    <a:pt x="451" y="1223"/>
                  </a:lnTo>
                  <a:lnTo>
                    <a:pt x="451" y="1223"/>
                  </a:lnTo>
                  <a:lnTo>
                    <a:pt x="447" y="1223"/>
                  </a:lnTo>
                  <a:lnTo>
                    <a:pt x="451" y="1216"/>
                  </a:lnTo>
                  <a:lnTo>
                    <a:pt x="447" y="1211"/>
                  </a:lnTo>
                  <a:lnTo>
                    <a:pt x="451" y="1195"/>
                  </a:lnTo>
                  <a:lnTo>
                    <a:pt x="447" y="1157"/>
                  </a:lnTo>
                  <a:lnTo>
                    <a:pt x="430" y="1112"/>
                  </a:lnTo>
                  <a:lnTo>
                    <a:pt x="425" y="1088"/>
                  </a:lnTo>
                  <a:lnTo>
                    <a:pt x="413" y="1129"/>
                  </a:lnTo>
                  <a:lnTo>
                    <a:pt x="413" y="1084"/>
                  </a:lnTo>
                  <a:lnTo>
                    <a:pt x="392" y="1029"/>
                  </a:lnTo>
                  <a:lnTo>
                    <a:pt x="388" y="956"/>
                  </a:lnTo>
                  <a:lnTo>
                    <a:pt x="376" y="940"/>
                  </a:lnTo>
                  <a:lnTo>
                    <a:pt x="388" y="907"/>
                  </a:lnTo>
                  <a:lnTo>
                    <a:pt x="392" y="907"/>
                  </a:lnTo>
                  <a:lnTo>
                    <a:pt x="362" y="907"/>
                  </a:lnTo>
                  <a:lnTo>
                    <a:pt x="345" y="864"/>
                  </a:lnTo>
                  <a:lnTo>
                    <a:pt x="333" y="836"/>
                  </a:lnTo>
                  <a:lnTo>
                    <a:pt x="324" y="864"/>
                  </a:lnTo>
                  <a:lnTo>
                    <a:pt x="333" y="869"/>
                  </a:lnTo>
                  <a:lnTo>
                    <a:pt x="324" y="890"/>
                  </a:lnTo>
                  <a:lnTo>
                    <a:pt x="307" y="907"/>
                  </a:lnTo>
                  <a:lnTo>
                    <a:pt x="291" y="907"/>
                  </a:lnTo>
                  <a:lnTo>
                    <a:pt x="286" y="902"/>
                  </a:lnTo>
                  <a:lnTo>
                    <a:pt x="286" y="885"/>
                  </a:lnTo>
                  <a:lnTo>
                    <a:pt x="286" y="918"/>
                  </a:lnTo>
                  <a:lnTo>
                    <a:pt x="269" y="918"/>
                  </a:lnTo>
                  <a:lnTo>
                    <a:pt x="269" y="923"/>
                  </a:lnTo>
                  <a:lnTo>
                    <a:pt x="253" y="940"/>
                  </a:lnTo>
                  <a:lnTo>
                    <a:pt x="232" y="963"/>
                  </a:lnTo>
                  <a:lnTo>
                    <a:pt x="215" y="963"/>
                  </a:lnTo>
                  <a:lnTo>
                    <a:pt x="227" y="940"/>
                  </a:lnTo>
                  <a:lnTo>
                    <a:pt x="215" y="963"/>
                  </a:lnTo>
                  <a:lnTo>
                    <a:pt x="210" y="963"/>
                  </a:lnTo>
                  <a:lnTo>
                    <a:pt x="210" y="940"/>
                  </a:lnTo>
                  <a:lnTo>
                    <a:pt x="215" y="940"/>
                  </a:lnTo>
                  <a:lnTo>
                    <a:pt x="210" y="940"/>
                  </a:lnTo>
                  <a:lnTo>
                    <a:pt x="199" y="963"/>
                  </a:lnTo>
                  <a:lnTo>
                    <a:pt x="182" y="963"/>
                  </a:lnTo>
                  <a:lnTo>
                    <a:pt x="182" y="940"/>
                  </a:lnTo>
                  <a:lnTo>
                    <a:pt x="199" y="935"/>
                  </a:lnTo>
                  <a:lnTo>
                    <a:pt x="173" y="956"/>
                  </a:lnTo>
                  <a:lnTo>
                    <a:pt x="173" y="956"/>
                  </a:lnTo>
                  <a:lnTo>
                    <a:pt x="182" y="940"/>
                  </a:lnTo>
                  <a:lnTo>
                    <a:pt x="173" y="947"/>
                  </a:lnTo>
                  <a:lnTo>
                    <a:pt x="177" y="940"/>
                  </a:lnTo>
                  <a:lnTo>
                    <a:pt x="173" y="923"/>
                  </a:lnTo>
                  <a:lnTo>
                    <a:pt x="161" y="923"/>
                  </a:lnTo>
                  <a:lnTo>
                    <a:pt x="161" y="940"/>
                  </a:lnTo>
                  <a:lnTo>
                    <a:pt x="144" y="947"/>
                  </a:lnTo>
                  <a:lnTo>
                    <a:pt x="144" y="923"/>
                  </a:lnTo>
                  <a:lnTo>
                    <a:pt x="173" y="829"/>
                  </a:lnTo>
                  <a:lnTo>
                    <a:pt x="156" y="774"/>
                  </a:lnTo>
                  <a:lnTo>
                    <a:pt x="144" y="758"/>
                  </a:lnTo>
                  <a:lnTo>
                    <a:pt x="144" y="741"/>
                  </a:lnTo>
                  <a:lnTo>
                    <a:pt x="139" y="737"/>
                  </a:lnTo>
                  <a:lnTo>
                    <a:pt x="128" y="737"/>
                  </a:lnTo>
                  <a:lnTo>
                    <a:pt x="128" y="713"/>
                  </a:lnTo>
                  <a:lnTo>
                    <a:pt x="123" y="713"/>
                  </a:lnTo>
                  <a:lnTo>
                    <a:pt x="118" y="703"/>
                  </a:lnTo>
                  <a:lnTo>
                    <a:pt x="123" y="696"/>
                  </a:lnTo>
                  <a:lnTo>
                    <a:pt x="102" y="670"/>
                  </a:lnTo>
                  <a:lnTo>
                    <a:pt x="106" y="659"/>
                  </a:lnTo>
                  <a:lnTo>
                    <a:pt x="102" y="663"/>
                  </a:lnTo>
                  <a:lnTo>
                    <a:pt x="85" y="647"/>
                  </a:lnTo>
                  <a:lnTo>
                    <a:pt x="69" y="647"/>
                  </a:lnTo>
                  <a:lnTo>
                    <a:pt x="76" y="663"/>
                  </a:lnTo>
                  <a:lnTo>
                    <a:pt x="69" y="659"/>
                  </a:lnTo>
                  <a:lnTo>
                    <a:pt x="69" y="663"/>
                  </a:lnTo>
                  <a:lnTo>
                    <a:pt x="54" y="642"/>
                  </a:lnTo>
                  <a:lnTo>
                    <a:pt x="69" y="642"/>
                  </a:lnTo>
                  <a:lnTo>
                    <a:pt x="54" y="642"/>
                  </a:lnTo>
                  <a:lnTo>
                    <a:pt x="64" y="609"/>
                  </a:lnTo>
                  <a:lnTo>
                    <a:pt x="47" y="642"/>
                  </a:lnTo>
                  <a:lnTo>
                    <a:pt x="38" y="630"/>
                  </a:lnTo>
                  <a:lnTo>
                    <a:pt x="47" y="625"/>
                  </a:lnTo>
                  <a:lnTo>
                    <a:pt x="47" y="614"/>
                  </a:lnTo>
                  <a:lnTo>
                    <a:pt x="31" y="602"/>
                  </a:lnTo>
                  <a:lnTo>
                    <a:pt x="38" y="630"/>
                  </a:lnTo>
                  <a:lnTo>
                    <a:pt x="17" y="602"/>
                  </a:lnTo>
                  <a:lnTo>
                    <a:pt x="10" y="569"/>
                  </a:lnTo>
                  <a:lnTo>
                    <a:pt x="10" y="569"/>
                  </a:lnTo>
                  <a:lnTo>
                    <a:pt x="10" y="569"/>
                  </a:lnTo>
                  <a:close/>
                  <a:moveTo>
                    <a:pt x="123" y="696"/>
                  </a:moveTo>
                  <a:lnTo>
                    <a:pt x="118" y="703"/>
                  </a:lnTo>
                  <a:lnTo>
                    <a:pt x="102" y="687"/>
                  </a:lnTo>
                  <a:lnTo>
                    <a:pt x="106" y="687"/>
                  </a:lnTo>
                  <a:lnTo>
                    <a:pt x="123" y="696"/>
                  </a:lnTo>
                  <a:lnTo>
                    <a:pt x="123" y="696"/>
                  </a:lnTo>
                  <a:lnTo>
                    <a:pt x="123" y="696"/>
                  </a:lnTo>
                  <a:close/>
                  <a:moveTo>
                    <a:pt x="118" y="703"/>
                  </a:moveTo>
                  <a:lnTo>
                    <a:pt x="123" y="725"/>
                  </a:lnTo>
                  <a:lnTo>
                    <a:pt x="123" y="737"/>
                  </a:lnTo>
                  <a:lnTo>
                    <a:pt x="106" y="725"/>
                  </a:lnTo>
                  <a:lnTo>
                    <a:pt x="92" y="696"/>
                  </a:lnTo>
                  <a:lnTo>
                    <a:pt x="92" y="696"/>
                  </a:lnTo>
                  <a:lnTo>
                    <a:pt x="106" y="703"/>
                  </a:lnTo>
                  <a:lnTo>
                    <a:pt x="118" y="703"/>
                  </a:lnTo>
                  <a:lnTo>
                    <a:pt x="118" y="703"/>
                  </a:lnTo>
                  <a:lnTo>
                    <a:pt x="118" y="703"/>
                  </a:lnTo>
                  <a:close/>
                  <a:moveTo>
                    <a:pt x="102" y="737"/>
                  </a:moveTo>
                  <a:lnTo>
                    <a:pt x="106" y="737"/>
                  </a:lnTo>
                  <a:lnTo>
                    <a:pt x="106" y="753"/>
                  </a:lnTo>
                  <a:lnTo>
                    <a:pt x="92" y="737"/>
                  </a:lnTo>
                  <a:lnTo>
                    <a:pt x="102" y="737"/>
                  </a:lnTo>
                  <a:lnTo>
                    <a:pt x="102" y="737"/>
                  </a:lnTo>
                  <a:lnTo>
                    <a:pt x="102" y="737"/>
                  </a:lnTo>
                  <a:close/>
                  <a:moveTo>
                    <a:pt x="376" y="907"/>
                  </a:moveTo>
                  <a:lnTo>
                    <a:pt x="376" y="918"/>
                  </a:lnTo>
                  <a:lnTo>
                    <a:pt x="376" y="935"/>
                  </a:lnTo>
                  <a:lnTo>
                    <a:pt x="371" y="923"/>
                  </a:lnTo>
                  <a:lnTo>
                    <a:pt x="376" y="907"/>
                  </a:lnTo>
                  <a:lnTo>
                    <a:pt x="376" y="907"/>
                  </a:lnTo>
                  <a:lnTo>
                    <a:pt x="376" y="907"/>
                  </a:lnTo>
                  <a:close/>
                  <a:moveTo>
                    <a:pt x="173" y="935"/>
                  </a:moveTo>
                  <a:lnTo>
                    <a:pt x="173" y="940"/>
                  </a:lnTo>
                  <a:lnTo>
                    <a:pt x="156" y="956"/>
                  </a:lnTo>
                  <a:lnTo>
                    <a:pt x="156" y="947"/>
                  </a:lnTo>
                  <a:lnTo>
                    <a:pt x="173" y="935"/>
                  </a:lnTo>
                  <a:lnTo>
                    <a:pt x="173" y="935"/>
                  </a:lnTo>
                  <a:lnTo>
                    <a:pt x="173" y="935"/>
                  </a:lnTo>
                  <a:close/>
                  <a:moveTo>
                    <a:pt x="430" y="1216"/>
                  </a:moveTo>
                  <a:lnTo>
                    <a:pt x="430" y="1195"/>
                  </a:lnTo>
                  <a:lnTo>
                    <a:pt x="442" y="1195"/>
                  </a:lnTo>
                  <a:lnTo>
                    <a:pt x="442" y="1211"/>
                  </a:lnTo>
                  <a:lnTo>
                    <a:pt x="430" y="1216"/>
                  </a:lnTo>
                  <a:lnTo>
                    <a:pt x="430" y="1216"/>
                  </a:lnTo>
                  <a:lnTo>
                    <a:pt x="430" y="1216"/>
                  </a:lnTo>
                  <a:lnTo>
                    <a:pt x="430" y="1216"/>
                  </a:lnTo>
                  <a:close/>
                  <a:moveTo>
                    <a:pt x="409" y="1216"/>
                  </a:moveTo>
                  <a:lnTo>
                    <a:pt x="399" y="1216"/>
                  </a:lnTo>
                  <a:lnTo>
                    <a:pt x="413" y="1211"/>
                  </a:lnTo>
                  <a:lnTo>
                    <a:pt x="409" y="1216"/>
                  </a:lnTo>
                  <a:lnTo>
                    <a:pt x="409" y="1216"/>
                  </a:lnTo>
                  <a:lnTo>
                    <a:pt x="409" y="1216"/>
                  </a:lnTo>
                  <a:close/>
                  <a:moveTo>
                    <a:pt x="413" y="1223"/>
                  </a:moveTo>
                  <a:lnTo>
                    <a:pt x="409" y="1216"/>
                  </a:lnTo>
                  <a:lnTo>
                    <a:pt x="413" y="1216"/>
                  </a:lnTo>
                  <a:lnTo>
                    <a:pt x="413" y="1233"/>
                  </a:lnTo>
                  <a:lnTo>
                    <a:pt x="413" y="1223"/>
                  </a:lnTo>
                  <a:lnTo>
                    <a:pt x="413" y="1223"/>
                  </a:lnTo>
                  <a:lnTo>
                    <a:pt x="413" y="1223"/>
                  </a:lnTo>
                  <a:close/>
                  <a:moveTo>
                    <a:pt x="447" y="1240"/>
                  </a:moveTo>
                  <a:lnTo>
                    <a:pt x="451" y="1249"/>
                  </a:lnTo>
                  <a:lnTo>
                    <a:pt x="442" y="1249"/>
                  </a:lnTo>
                  <a:lnTo>
                    <a:pt x="442" y="1233"/>
                  </a:lnTo>
                  <a:lnTo>
                    <a:pt x="447" y="1240"/>
                  </a:lnTo>
                  <a:lnTo>
                    <a:pt x="447" y="1240"/>
                  </a:lnTo>
                  <a:lnTo>
                    <a:pt x="447" y="1240"/>
                  </a:lnTo>
                  <a:close/>
                  <a:moveTo>
                    <a:pt x="442" y="1273"/>
                  </a:moveTo>
                  <a:lnTo>
                    <a:pt x="430" y="1256"/>
                  </a:lnTo>
                  <a:lnTo>
                    <a:pt x="447" y="1256"/>
                  </a:lnTo>
                  <a:lnTo>
                    <a:pt x="447" y="1273"/>
                  </a:lnTo>
                  <a:lnTo>
                    <a:pt x="442" y="1273"/>
                  </a:lnTo>
                  <a:lnTo>
                    <a:pt x="442" y="1273"/>
                  </a:lnTo>
                  <a:lnTo>
                    <a:pt x="442" y="1273"/>
                  </a:lnTo>
                  <a:close/>
                  <a:moveTo>
                    <a:pt x="413" y="1277"/>
                  </a:moveTo>
                  <a:lnTo>
                    <a:pt x="430" y="1256"/>
                  </a:lnTo>
                  <a:lnTo>
                    <a:pt x="425" y="1277"/>
                  </a:lnTo>
                  <a:lnTo>
                    <a:pt x="413" y="1277"/>
                  </a:lnTo>
                  <a:lnTo>
                    <a:pt x="413" y="1277"/>
                  </a:lnTo>
                  <a:lnTo>
                    <a:pt x="413" y="1277"/>
                  </a:lnTo>
                  <a:close/>
                  <a:moveTo>
                    <a:pt x="442" y="1311"/>
                  </a:moveTo>
                  <a:lnTo>
                    <a:pt x="447" y="1306"/>
                  </a:lnTo>
                  <a:lnTo>
                    <a:pt x="447" y="1322"/>
                  </a:lnTo>
                  <a:lnTo>
                    <a:pt x="442" y="1311"/>
                  </a:lnTo>
                  <a:lnTo>
                    <a:pt x="442" y="1311"/>
                  </a:lnTo>
                  <a:lnTo>
                    <a:pt x="442" y="1311"/>
                  </a:lnTo>
                  <a:close/>
                  <a:moveTo>
                    <a:pt x="425" y="1332"/>
                  </a:moveTo>
                  <a:lnTo>
                    <a:pt x="425" y="1332"/>
                  </a:lnTo>
                  <a:lnTo>
                    <a:pt x="413" y="1322"/>
                  </a:lnTo>
                  <a:lnTo>
                    <a:pt x="413" y="1322"/>
                  </a:lnTo>
                  <a:lnTo>
                    <a:pt x="413" y="1311"/>
                  </a:lnTo>
                  <a:lnTo>
                    <a:pt x="425" y="1332"/>
                  </a:lnTo>
                  <a:lnTo>
                    <a:pt x="425" y="1332"/>
                  </a:lnTo>
                  <a:lnTo>
                    <a:pt x="425" y="1332"/>
                  </a:lnTo>
                  <a:close/>
                  <a:moveTo>
                    <a:pt x="399" y="1348"/>
                  </a:moveTo>
                  <a:lnTo>
                    <a:pt x="399" y="1360"/>
                  </a:lnTo>
                  <a:lnTo>
                    <a:pt x="399" y="1348"/>
                  </a:lnTo>
                  <a:lnTo>
                    <a:pt x="399" y="1348"/>
                  </a:lnTo>
                  <a:lnTo>
                    <a:pt x="399" y="1348"/>
                  </a:lnTo>
                  <a:lnTo>
                    <a:pt x="399" y="1348"/>
                  </a:lnTo>
                  <a:close/>
                  <a:moveTo>
                    <a:pt x="425" y="1384"/>
                  </a:moveTo>
                  <a:lnTo>
                    <a:pt x="413" y="1400"/>
                  </a:lnTo>
                  <a:lnTo>
                    <a:pt x="425" y="1384"/>
                  </a:lnTo>
                  <a:lnTo>
                    <a:pt x="425" y="1384"/>
                  </a:lnTo>
                  <a:lnTo>
                    <a:pt x="425" y="1384"/>
                  </a:lnTo>
                  <a:lnTo>
                    <a:pt x="425" y="1384"/>
                  </a:lnTo>
                  <a:close/>
                </a:path>
              </a:pathLst>
            </a:custGeom>
            <a:solidFill>
              <a:schemeClr val="bg2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58" name="Freeform 400">
              <a:extLst>
                <a:ext uri="{FF2B5EF4-FFF2-40B4-BE49-F238E27FC236}">
                  <a16:creationId xmlns:a16="http://schemas.microsoft.com/office/drawing/2014/main" id="{ED76C3D9-D06A-4A33-9516-B8F41558AC82}"/>
                </a:ext>
              </a:extLst>
            </p:cNvPr>
            <p:cNvSpPr>
              <a:spLocks/>
            </p:cNvSpPr>
            <p:nvPr/>
          </p:nvSpPr>
          <p:spPr bwMode="gray">
            <a:xfrm>
              <a:off x="6169755" y="2604724"/>
              <a:ext cx="33304" cy="68457"/>
            </a:xfrm>
            <a:custGeom>
              <a:avLst/>
              <a:gdLst>
                <a:gd name="T0" fmla="*/ 59 w 217"/>
                <a:gd name="T1" fmla="*/ 446 h 446"/>
                <a:gd name="T2" fmla="*/ 71 w 217"/>
                <a:gd name="T3" fmla="*/ 441 h 446"/>
                <a:gd name="T4" fmla="*/ 55 w 217"/>
                <a:gd name="T5" fmla="*/ 413 h 446"/>
                <a:gd name="T6" fmla="*/ 55 w 217"/>
                <a:gd name="T7" fmla="*/ 392 h 446"/>
                <a:gd name="T8" fmla="*/ 59 w 217"/>
                <a:gd name="T9" fmla="*/ 392 h 446"/>
                <a:gd name="T10" fmla="*/ 59 w 217"/>
                <a:gd name="T11" fmla="*/ 354 h 446"/>
                <a:gd name="T12" fmla="*/ 59 w 217"/>
                <a:gd name="T13" fmla="*/ 243 h 446"/>
                <a:gd name="T14" fmla="*/ 38 w 217"/>
                <a:gd name="T15" fmla="*/ 210 h 446"/>
                <a:gd name="T16" fmla="*/ 38 w 217"/>
                <a:gd name="T17" fmla="*/ 172 h 446"/>
                <a:gd name="T18" fmla="*/ 0 w 217"/>
                <a:gd name="T19" fmla="*/ 148 h 446"/>
                <a:gd name="T20" fmla="*/ 5 w 217"/>
                <a:gd name="T21" fmla="*/ 99 h 446"/>
                <a:gd name="T22" fmla="*/ 26 w 217"/>
                <a:gd name="T23" fmla="*/ 82 h 446"/>
                <a:gd name="T24" fmla="*/ 38 w 217"/>
                <a:gd name="T25" fmla="*/ 78 h 446"/>
                <a:gd name="T26" fmla="*/ 43 w 217"/>
                <a:gd name="T27" fmla="*/ 66 h 446"/>
                <a:gd name="T28" fmla="*/ 59 w 217"/>
                <a:gd name="T29" fmla="*/ 78 h 446"/>
                <a:gd name="T30" fmla="*/ 80 w 217"/>
                <a:gd name="T31" fmla="*/ 66 h 446"/>
                <a:gd name="T32" fmla="*/ 109 w 217"/>
                <a:gd name="T33" fmla="*/ 56 h 446"/>
                <a:gd name="T34" fmla="*/ 114 w 217"/>
                <a:gd name="T35" fmla="*/ 40 h 446"/>
                <a:gd name="T36" fmla="*/ 114 w 217"/>
                <a:gd name="T37" fmla="*/ 11 h 446"/>
                <a:gd name="T38" fmla="*/ 147 w 217"/>
                <a:gd name="T39" fmla="*/ 0 h 446"/>
                <a:gd name="T40" fmla="*/ 201 w 217"/>
                <a:gd name="T41" fmla="*/ 56 h 446"/>
                <a:gd name="T42" fmla="*/ 192 w 217"/>
                <a:gd name="T43" fmla="*/ 66 h 446"/>
                <a:gd name="T44" fmla="*/ 208 w 217"/>
                <a:gd name="T45" fmla="*/ 94 h 446"/>
                <a:gd name="T46" fmla="*/ 208 w 217"/>
                <a:gd name="T47" fmla="*/ 115 h 446"/>
                <a:gd name="T48" fmla="*/ 217 w 217"/>
                <a:gd name="T49" fmla="*/ 132 h 446"/>
                <a:gd name="T50" fmla="*/ 217 w 217"/>
                <a:gd name="T51" fmla="*/ 148 h 446"/>
                <a:gd name="T52" fmla="*/ 208 w 217"/>
                <a:gd name="T53" fmla="*/ 139 h 446"/>
                <a:gd name="T54" fmla="*/ 201 w 217"/>
                <a:gd name="T55" fmla="*/ 156 h 446"/>
                <a:gd name="T56" fmla="*/ 208 w 217"/>
                <a:gd name="T57" fmla="*/ 165 h 446"/>
                <a:gd name="T58" fmla="*/ 201 w 217"/>
                <a:gd name="T59" fmla="*/ 177 h 446"/>
                <a:gd name="T60" fmla="*/ 180 w 217"/>
                <a:gd name="T61" fmla="*/ 189 h 446"/>
                <a:gd name="T62" fmla="*/ 184 w 217"/>
                <a:gd name="T63" fmla="*/ 193 h 446"/>
                <a:gd name="T64" fmla="*/ 168 w 217"/>
                <a:gd name="T65" fmla="*/ 222 h 446"/>
                <a:gd name="T66" fmla="*/ 163 w 217"/>
                <a:gd name="T67" fmla="*/ 243 h 446"/>
                <a:gd name="T68" fmla="*/ 137 w 217"/>
                <a:gd name="T69" fmla="*/ 243 h 446"/>
                <a:gd name="T70" fmla="*/ 130 w 217"/>
                <a:gd name="T71" fmla="*/ 330 h 446"/>
                <a:gd name="T72" fmla="*/ 137 w 217"/>
                <a:gd name="T73" fmla="*/ 387 h 446"/>
                <a:gd name="T74" fmla="*/ 137 w 217"/>
                <a:gd name="T75" fmla="*/ 441 h 446"/>
                <a:gd name="T76" fmla="*/ 59 w 217"/>
                <a:gd name="T77" fmla="*/ 446 h 446"/>
                <a:gd name="T78" fmla="*/ 59 w 217"/>
                <a:gd name="T79" fmla="*/ 446 h 446"/>
                <a:gd name="T80" fmla="*/ 59 w 217"/>
                <a:gd name="T81" fmla="*/ 446 h 4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217" h="446">
                  <a:moveTo>
                    <a:pt x="59" y="446"/>
                  </a:moveTo>
                  <a:lnTo>
                    <a:pt x="71" y="441"/>
                  </a:lnTo>
                  <a:lnTo>
                    <a:pt x="55" y="413"/>
                  </a:lnTo>
                  <a:lnTo>
                    <a:pt x="55" y="392"/>
                  </a:lnTo>
                  <a:lnTo>
                    <a:pt x="59" y="392"/>
                  </a:lnTo>
                  <a:lnTo>
                    <a:pt x="59" y="354"/>
                  </a:lnTo>
                  <a:lnTo>
                    <a:pt x="59" y="243"/>
                  </a:lnTo>
                  <a:lnTo>
                    <a:pt x="38" y="210"/>
                  </a:lnTo>
                  <a:lnTo>
                    <a:pt x="38" y="172"/>
                  </a:lnTo>
                  <a:lnTo>
                    <a:pt x="0" y="148"/>
                  </a:lnTo>
                  <a:lnTo>
                    <a:pt x="5" y="99"/>
                  </a:lnTo>
                  <a:lnTo>
                    <a:pt x="26" y="82"/>
                  </a:lnTo>
                  <a:lnTo>
                    <a:pt x="38" y="78"/>
                  </a:lnTo>
                  <a:lnTo>
                    <a:pt x="43" y="66"/>
                  </a:lnTo>
                  <a:lnTo>
                    <a:pt x="59" y="78"/>
                  </a:lnTo>
                  <a:lnTo>
                    <a:pt x="80" y="66"/>
                  </a:lnTo>
                  <a:lnTo>
                    <a:pt x="109" y="56"/>
                  </a:lnTo>
                  <a:lnTo>
                    <a:pt x="114" y="40"/>
                  </a:lnTo>
                  <a:lnTo>
                    <a:pt x="114" y="11"/>
                  </a:lnTo>
                  <a:lnTo>
                    <a:pt x="147" y="0"/>
                  </a:lnTo>
                  <a:lnTo>
                    <a:pt x="201" y="56"/>
                  </a:lnTo>
                  <a:lnTo>
                    <a:pt x="192" y="66"/>
                  </a:lnTo>
                  <a:lnTo>
                    <a:pt x="208" y="94"/>
                  </a:lnTo>
                  <a:lnTo>
                    <a:pt x="208" y="115"/>
                  </a:lnTo>
                  <a:lnTo>
                    <a:pt x="217" y="132"/>
                  </a:lnTo>
                  <a:lnTo>
                    <a:pt x="217" y="148"/>
                  </a:lnTo>
                  <a:lnTo>
                    <a:pt x="208" y="139"/>
                  </a:lnTo>
                  <a:lnTo>
                    <a:pt x="201" y="156"/>
                  </a:lnTo>
                  <a:lnTo>
                    <a:pt x="208" y="165"/>
                  </a:lnTo>
                  <a:lnTo>
                    <a:pt x="201" y="177"/>
                  </a:lnTo>
                  <a:lnTo>
                    <a:pt x="180" y="189"/>
                  </a:lnTo>
                  <a:lnTo>
                    <a:pt x="184" y="193"/>
                  </a:lnTo>
                  <a:lnTo>
                    <a:pt x="168" y="222"/>
                  </a:lnTo>
                  <a:lnTo>
                    <a:pt x="163" y="243"/>
                  </a:lnTo>
                  <a:lnTo>
                    <a:pt x="137" y="243"/>
                  </a:lnTo>
                  <a:lnTo>
                    <a:pt x="130" y="330"/>
                  </a:lnTo>
                  <a:lnTo>
                    <a:pt x="137" y="387"/>
                  </a:lnTo>
                  <a:lnTo>
                    <a:pt x="137" y="441"/>
                  </a:lnTo>
                  <a:lnTo>
                    <a:pt x="59" y="446"/>
                  </a:lnTo>
                  <a:lnTo>
                    <a:pt x="59" y="446"/>
                  </a:lnTo>
                  <a:lnTo>
                    <a:pt x="59" y="446"/>
                  </a:lnTo>
                  <a:close/>
                </a:path>
              </a:pathLst>
            </a:custGeom>
            <a:solidFill>
              <a:schemeClr val="bg2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59" name="Freeform 401">
              <a:extLst>
                <a:ext uri="{FF2B5EF4-FFF2-40B4-BE49-F238E27FC236}">
                  <a16:creationId xmlns:a16="http://schemas.microsoft.com/office/drawing/2014/main" id="{A427EE10-2AD9-4C6D-BEC6-049B23F153AD}"/>
                </a:ext>
              </a:extLst>
            </p:cNvPr>
            <p:cNvSpPr>
              <a:spLocks/>
            </p:cNvSpPr>
            <p:nvPr/>
          </p:nvSpPr>
          <p:spPr bwMode="gray">
            <a:xfrm>
              <a:off x="6410864" y="2046320"/>
              <a:ext cx="104056" cy="73523"/>
            </a:xfrm>
            <a:custGeom>
              <a:avLst/>
              <a:gdLst>
                <a:gd name="T0" fmla="*/ 26 w 678"/>
                <a:gd name="T1" fmla="*/ 442 h 479"/>
                <a:gd name="T2" fmla="*/ 0 w 678"/>
                <a:gd name="T3" fmla="*/ 376 h 479"/>
                <a:gd name="T4" fmla="*/ 52 w 678"/>
                <a:gd name="T5" fmla="*/ 338 h 479"/>
                <a:gd name="T6" fmla="*/ 26 w 678"/>
                <a:gd name="T7" fmla="*/ 220 h 479"/>
                <a:gd name="T8" fmla="*/ 85 w 678"/>
                <a:gd name="T9" fmla="*/ 227 h 479"/>
                <a:gd name="T10" fmla="*/ 118 w 678"/>
                <a:gd name="T11" fmla="*/ 220 h 479"/>
                <a:gd name="T12" fmla="*/ 135 w 678"/>
                <a:gd name="T13" fmla="*/ 203 h 479"/>
                <a:gd name="T14" fmla="*/ 172 w 678"/>
                <a:gd name="T15" fmla="*/ 187 h 479"/>
                <a:gd name="T16" fmla="*/ 177 w 678"/>
                <a:gd name="T17" fmla="*/ 194 h 479"/>
                <a:gd name="T18" fmla="*/ 161 w 678"/>
                <a:gd name="T19" fmla="*/ 177 h 479"/>
                <a:gd name="T20" fmla="*/ 177 w 678"/>
                <a:gd name="T21" fmla="*/ 120 h 479"/>
                <a:gd name="T22" fmla="*/ 215 w 678"/>
                <a:gd name="T23" fmla="*/ 99 h 479"/>
                <a:gd name="T24" fmla="*/ 253 w 678"/>
                <a:gd name="T25" fmla="*/ 83 h 479"/>
                <a:gd name="T26" fmla="*/ 243 w 678"/>
                <a:gd name="T27" fmla="*/ 45 h 479"/>
                <a:gd name="T28" fmla="*/ 265 w 678"/>
                <a:gd name="T29" fmla="*/ 28 h 479"/>
                <a:gd name="T30" fmla="*/ 307 w 678"/>
                <a:gd name="T31" fmla="*/ 21 h 479"/>
                <a:gd name="T32" fmla="*/ 352 w 678"/>
                <a:gd name="T33" fmla="*/ 0 h 479"/>
                <a:gd name="T34" fmla="*/ 378 w 678"/>
                <a:gd name="T35" fmla="*/ 5 h 479"/>
                <a:gd name="T36" fmla="*/ 411 w 678"/>
                <a:gd name="T37" fmla="*/ 12 h 479"/>
                <a:gd name="T38" fmla="*/ 444 w 678"/>
                <a:gd name="T39" fmla="*/ 21 h 479"/>
                <a:gd name="T40" fmla="*/ 444 w 678"/>
                <a:gd name="T41" fmla="*/ 45 h 479"/>
                <a:gd name="T42" fmla="*/ 498 w 678"/>
                <a:gd name="T43" fmla="*/ 28 h 479"/>
                <a:gd name="T44" fmla="*/ 536 w 678"/>
                <a:gd name="T45" fmla="*/ 54 h 479"/>
                <a:gd name="T46" fmla="*/ 541 w 678"/>
                <a:gd name="T47" fmla="*/ 78 h 479"/>
                <a:gd name="T48" fmla="*/ 553 w 678"/>
                <a:gd name="T49" fmla="*/ 111 h 479"/>
                <a:gd name="T50" fmla="*/ 557 w 678"/>
                <a:gd name="T51" fmla="*/ 149 h 479"/>
                <a:gd name="T52" fmla="*/ 569 w 678"/>
                <a:gd name="T53" fmla="*/ 170 h 479"/>
                <a:gd name="T54" fmla="*/ 612 w 678"/>
                <a:gd name="T55" fmla="*/ 203 h 479"/>
                <a:gd name="T56" fmla="*/ 628 w 678"/>
                <a:gd name="T57" fmla="*/ 231 h 479"/>
                <a:gd name="T58" fmla="*/ 661 w 678"/>
                <a:gd name="T59" fmla="*/ 243 h 479"/>
                <a:gd name="T60" fmla="*/ 650 w 678"/>
                <a:gd name="T61" fmla="*/ 260 h 479"/>
                <a:gd name="T62" fmla="*/ 666 w 678"/>
                <a:gd name="T63" fmla="*/ 276 h 479"/>
                <a:gd name="T64" fmla="*/ 579 w 678"/>
                <a:gd name="T65" fmla="*/ 288 h 479"/>
                <a:gd name="T66" fmla="*/ 591 w 678"/>
                <a:gd name="T67" fmla="*/ 331 h 479"/>
                <a:gd name="T68" fmla="*/ 591 w 678"/>
                <a:gd name="T69" fmla="*/ 354 h 479"/>
                <a:gd name="T70" fmla="*/ 607 w 678"/>
                <a:gd name="T71" fmla="*/ 397 h 479"/>
                <a:gd name="T72" fmla="*/ 541 w 678"/>
                <a:gd name="T73" fmla="*/ 409 h 479"/>
                <a:gd name="T74" fmla="*/ 520 w 678"/>
                <a:gd name="T75" fmla="*/ 442 h 479"/>
                <a:gd name="T76" fmla="*/ 520 w 678"/>
                <a:gd name="T77" fmla="*/ 479 h 479"/>
                <a:gd name="T78" fmla="*/ 465 w 678"/>
                <a:gd name="T79" fmla="*/ 463 h 479"/>
                <a:gd name="T80" fmla="*/ 432 w 678"/>
                <a:gd name="T81" fmla="*/ 463 h 479"/>
                <a:gd name="T82" fmla="*/ 395 w 678"/>
                <a:gd name="T83" fmla="*/ 446 h 479"/>
                <a:gd name="T84" fmla="*/ 378 w 678"/>
                <a:gd name="T85" fmla="*/ 446 h 479"/>
                <a:gd name="T86" fmla="*/ 357 w 678"/>
                <a:gd name="T87" fmla="*/ 442 h 479"/>
                <a:gd name="T88" fmla="*/ 324 w 678"/>
                <a:gd name="T89" fmla="*/ 442 h 479"/>
                <a:gd name="T90" fmla="*/ 319 w 678"/>
                <a:gd name="T91" fmla="*/ 453 h 479"/>
                <a:gd name="T92" fmla="*/ 286 w 678"/>
                <a:gd name="T93" fmla="*/ 446 h 479"/>
                <a:gd name="T94" fmla="*/ 177 w 678"/>
                <a:gd name="T95" fmla="*/ 413 h 479"/>
                <a:gd name="T96" fmla="*/ 64 w 678"/>
                <a:gd name="T97" fmla="*/ 446 h 479"/>
                <a:gd name="T98" fmla="*/ 31 w 678"/>
                <a:gd name="T99" fmla="*/ 453 h 479"/>
                <a:gd name="T100" fmla="*/ 31 w 678"/>
                <a:gd name="T101" fmla="*/ 453 h 4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678" h="479">
                  <a:moveTo>
                    <a:pt x="31" y="453"/>
                  </a:moveTo>
                  <a:lnTo>
                    <a:pt x="26" y="442"/>
                  </a:lnTo>
                  <a:lnTo>
                    <a:pt x="31" y="397"/>
                  </a:lnTo>
                  <a:lnTo>
                    <a:pt x="0" y="376"/>
                  </a:lnTo>
                  <a:lnTo>
                    <a:pt x="14" y="359"/>
                  </a:lnTo>
                  <a:lnTo>
                    <a:pt x="52" y="338"/>
                  </a:lnTo>
                  <a:lnTo>
                    <a:pt x="52" y="305"/>
                  </a:lnTo>
                  <a:lnTo>
                    <a:pt x="26" y="220"/>
                  </a:lnTo>
                  <a:lnTo>
                    <a:pt x="69" y="220"/>
                  </a:lnTo>
                  <a:lnTo>
                    <a:pt x="85" y="227"/>
                  </a:lnTo>
                  <a:lnTo>
                    <a:pt x="102" y="210"/>
                  </a:lnTo>
                  <a:lnTo>
                    <a:pt x="118" y="220"/>
                  </a:lnTo>
                  <a:lnTo>
                    <a:pt x="118" y="194"/>
                  </a:lnTo>
                  <a:lnTo>
                    <a:pt x="135" y="203"/>
                  </a:lnTo>
                  <a:lnTo>
                    <a:pt x="161" y="177"/>
                  </a:lnTo>
                  <a:lnTo>
                    <a:pt x="172" y="187"/>
                  </a:lnTo>
                  <a:lnTo>
                    <a:pt x="161" y="194"/>
                  </a:lnTo>
                  <a:lnTo>
                    <a:pt x="177" y="194"/>
                  </a:lnTo>
                  <a:lnTo>
                    <a:pt x="177" y="177"/>
                  </a:lnTo>
                  <a:lnTo>
                    <a:pt x="161" y="177"/>
                  </a:lnTo>
                  <a:lnTo>
                    <a:pt x="177" y="153"/>
                  </a:lnTo>
                  <a:lnTo>
                    <a:pt x="177" y="120"/>
                  </a:lnTo>
                  <a:lnTo>
                    <a:pt x="210" y="116"/>
                  </a:lnTo>
                  <a:lnTo>
                    <a:pt x="215" y="99"/>
                  </a:lnTo>
                  <a:lnTo>
                    <a:pt x="232" y="99"/>
                  </a:lnTo>
                  <a:lnTo>
                    <a:pt x="253" y="83"/>
                  </a:lnTo>
                  <a:lnTo>
                    <a:pt x="232" y="78"/>
                  </a:lnTo>
                  <a:lnTo>
                    <a:pt x="243" y="45"/>
                  </a:lnTo>
                  <a:lnTo>
                    <a:pt x="253" y="45"/>
                  </a:lnTo>
                  <a:lnTo>
                    <a:pt x="265" y="28"/>
                  </a:lnTo>
                  <a:lnTo>
                    <a:pt x="307" y="38"/>
                  </a:lnTo>
                  <a:lnTo>
                    <a:pt x="307" y="21"/>
                  </a:lnTo>
                  <a:lnTo>
                    <a:pt x="335" y="0"/>
                  </a:lnTo>
                  <a:lnTo>
                    <a:pt x="352" y="0"/>
                  </a:lnTo>
                  <a:lnTo>
                    <a:pt x="357" y="5"/>
                  </a:lnTo>
                  <a:lnTo>
                    <a:pt x="378" y="5"/>
                  </a:lnTo>
                  <a:lnTo>
                    <a:pt x="390" y="21"/>
                  </a:lnTo>
                  <a:lnTo>
                    <a:pt x="411" y="12"/>
                  </a:lnTo>
                  <a:lnTo>
                    <a:pt x="432" y="21"/>
                  </a:lnTo>
                  <a:lnTo>
                    <a:pt x="444" y="21"/>
                  </a:lnTo>
                  <a:lnTo>
                    <a:pt x="432" y="38"/>
                  </a:lnTo>
                  <a:lnTo>
                    <a:pt x="444" y="45"/>
                  </a:lnTo>
                  <a:lnTo>
                    <a:pt x="470" y="28"/>
                  </a:lnTo>
                  <a:lnTo>
                    <a:pt x="498" y="28"/>
                  </a:lnTo>
                  <a:lnTo>
                    <a:pt x="515" y="28"/>
                  </a:lnTo>
                  <a:lnTo>
                    <a:pt x="536" y="54"/>
                  </a:lnTo>
                  <a:lnTo>
                    <a:pt x="541" y="54"/>
                  </a:lnTo>
                  <a:lnTo>
                    <a:pt x="541" y="78"/>
                  </a:lnTo>
                  <a:lnTo>
                    <a:pt x="536" y="83"/>
                  </a:lnTo>
                  <a:lnTo>
                    <a:pt x="553" y="111"/>
                  </a:lnTo>
                  <a:lnTo>
                    <a:pt x="536" y="132"/>
                  </a:lnTo>
                  <a:lnTo>
                    <a:pt x="557" y="149"/>
                  </a:lnTo>
                  <a:lnTo>
                    <a:pt x="557" y="165"/>
                  </a:lnTo>
                  <a:lnTo>
                    <a:pt x="569" y="170"/>
                  </a:lnTo>
                  <a:lnTo>
                    <a:pt x="574" y="187"/>
                  </a:lnTo>
                  <a:lnTo>
                    <a:pt x="612" y="203"/>
                  </a:lnTo>
                  <a:lnTo>
                    <a:pt x="607" y="231"/>
                  </a:lnTo>
                  <a:lnTo>
                    <a:pt x="628" y="231"/>
                  </a:lnTo>
                  <a:lnTo>
                    <a:pt x="650" y="243"/>
                  </a:lnTo>
                  <a:lnTo>
                    <a:pt x="661" y="243"/>
                  </a:lnTo>
                  <a:lnTo>
                    <a:pt x="650" y="248"/>
                  </a:lnTo>
                  <a:lnTo>
                    <a:pt x="650" y="260"/>
                  </a:lnTo>
                  <a:lnTo>
                    <a:pt x="678" y="265"/>
                  </a:lnTo>
                  <a:lnTo>
                    <a:pt x="666" y="276"/>
                  </a:lnTo>
                  <a:lnTo>
                    <a:pt x="633" y="298"/>
                  </a:lnTo>
                  <a:lnTo>
                    <a:pt x="579" y="288"/>
                  </a:lnTo>
                  <a:lnTo>
                    <a:pt x="569" y="305"/>
                  </a:lnTo>
                  <a:lnTo>
                    <a:pt x="591" y="331"/>
                  </a:lnTo>
                  <a:lnTo>
                    <a:pt x="579" y="338"/>
                  </a:lnTo>
                  <a:lnTo>
                    <a:pt x="591" y="354"/>
                  </a:lnTo>
                  <a:lnTo>
                    <a:pt x="591" y="376"/>
                  </a:lnTo>
                  <a:lnTo>
                    <a:pt x="607" y="397"/>
                  </a:lnTo>
                  <a:lnTo>
                    <a:pt x="541" y="397"/>
                  </a:lnTo>
                  <a:lnTo>
                    <a:pt x="541" y="409"/>
                  </a:lnTo>
                  <a:lnTo>
                    <a:pt x="524" y="425"/>
                  </a:lnTo>
                  <a:lnTo>
                    <a:pt x="520" y="442"/>
                  </a:lnTo>
                  <a:lnTo>
                    <a:pt x="524" y="470"/>
                  </a:lnTo>
                  <a:lnTo>
                    <a:pt x="520" y="479"/>
                  </a:lnTo>
                  <a:lnTo>
                    <a:pt x="487" y="453"/>
                  </a:lnTo>
                  <a:lnTo>
                    <a:pt x="465" y="463"/>
                  </a:lnTo>
                  <a:lnTo>
                    <a:pt x="461" y="453"/>
                  </a:lnTo>
                  <a:lnTo>
                    <a:pt x="432" y="463"/>
                  </a:lnTo>
                  <a:lnTo>
                    <a:pt x="416" y="442"/>
                  </a:lnTo>
                  <a:lnTo>
                    <a:pt x="395" y="446"/>
                  </a:lnTo>
                  <a:lnTo>
                    <a:pt x="390" y="463"/>
                  </a:lnTo>
                  <a:lnTo>
                    <a:pt x="378" y="446"/>
                  </a:lnTo>
                  <a:lnTo>
                    <a:pt x="357" y="446"/>
                  </a:lnTo>
                  <a:lnTo>
                    <a:pt x="357" y="442"/>
                  </a:lnTo>
                  <a:lnTo>
                    <a:pt x="340" y="446"/>
                  </a:lnTo>
                  <a:lnTo>
                    <a:pt x="324" y="442"/>
                  </a:lnTo>
                  <a:lnTo>
                    <a:pt x="319" y="453"/>
                  </a:lnTo>
                  <a:lnTo>
                    <a:pt x="319" y="453"/>
                  </a:lnTo>
                  <a:lnTo>
                    <a:pt x="319" y="446"/>
                  </a:lnTo>
                  <a:lnTo>
                    <a:pt x="286" y="446"/>
                  </a:lnTo>
                  <a:lnTo>
                    <a:pt x="281" y="430"/>
                  </a:lnTo>
                  <a:lnTo>
                    <a:pt x="177" y="413"/>
                  </a:lnTo>
                  <a:lnTo>
                    <a:pt x="85" y="413"/>
                  </a:lnTo>
                  <a:lnTo>
                    <a:pt x="64" y="446"/>
                  </a:lnTo>
                  <a:lnTo>
                    <a:pt x="31" y="442"/>
                  </a:lnTo>
                  <a:lnTo>
                    <a:pt x="31" y="453"/>
                  </a:lnTo>
                  <a:lnTo>
                    <a:pt x="31" y="453"/>
                  </a:lnTo>
                  <a:lnTo>
                    <a:pt x="31" y="453"/>
                  </a:lnTo>
                  <a:close/>
                </a:path>
              </a:pathLst>
            </a:custGeom>
            <a:solidFill>
              <a:schemeClr val="bg2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60" name="Freeform 402">
              <a:extLst>
                <a:ext uri="{FF2B5EF4-FFF2-40B4-BE49-F238E27FC236}">
                  <a16:creationId xmlns:a16="http://schemas.microsoft.com/office/drawing/2014/main" id="{59E5E28F-4F74-41AA-A6C1-05072081530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835265" y="2815622"/>
              <a:ext cx="123547" cy="58480"/>
            </a:xfrm>
            <a:custGeom>
              <a:avLst/>
              <a:gdLst>
                <a:gd name="T0" fmla="*/ 80 w 805"/>
                <a:gd name="T1" fmla="*/ 0 h 381"/>
                <a:gd name="T2" fmla="*/ 135 w 805"/>
                <a:gd name="T3" fmla="*/ 55 h 381"/>
                <a:gd name="T4" fmla="*/ 12 w 805"/>
                <a:gd name="T5" fmla="*/ 33 h 381"/>
                <a:gd name="T6" fmla="*/ 17 w 805"/>
                <a:gd name="T7" fmla="*/ 38 h 381"/>
                <a:gd name="T8" fmla="*/ 12 w 805"/>
                <a:gd name="T9" fmla="*/ 55 h 381"/>
                <a:gd name="T10" fmla="*/ 156 w 805"/>
                <a:gd name="T11" fmla="*/ 67 h 381"/>
                <a:gd name="T12" fmla="*/ 156 w 805"/>
                <a:gd name="T13" fmla="*/ 67 h 381"/>
                <a:gd name="T14" fmla="*/ 210 w 805"/>
                <a:gd name="T15" fmla="*/ 67 h 381"/>
                <a:gd name="T16" fmla="*/ 302 w 805"/>
                <a:gd name="T17" fmla="*/ 128 h 381"/>
                <a:gd name="T18" fmla="*/ 302 w 805"/>
                <a:gd name="T19" fmla="*/ 137 h 381"/>
                <a:gd name="T20" fmla="*/ 92 w 805"/>
                <a:gd name="T21" fmla="*/ 83 h 381"/>
                <a:gd name="T22" fmla="*/ 118 w 805"/>
                <a:gd name="T23" fmla="*/ 111 h 381"/>
                <a:gd name="T24" fmla="*/ 118 w 805"/>
                <a:gd name="T25" fmla="*/ 111 h 381"/>
                <a:gd name="T26" fmla="*/ 146 w 805"/>
                <a:gd name="T27" fmla="*/ 137 h 381"/>
                <a:gd name="T28" fmla="*/ 118 w 805"/>
                <a:gd name="T29" fmla="*/ 121 h 381"/>
                <a:gd name="T30" fmla="*/ 146 w 805"/>
                <a:gd name="T31" fmla="*/ 121 h 381"/>
                <a:gd name="T32" fmla="*/ 163 w 805"/>
                <a:gd name="T33" fmla="*/ 145 h 381"/>
                <a:gd name="T34" fmla="*/ 118 w 805"/>
                <a:gd name="T35" fmla="*/ 111 h 381"/>
                <a:gd name="T36" fmla="*/ 406 w 805"/>
                <a:gd name="T37" fmla="*/ 182 h 381"/>
                <a:gd name="T38" fmla="*/ 364 w 805"/>
                <a:gd name="T39" fmla="*/ 137 h 381"/>
                <a:gd name="T40" fmla="*/ 378 w 805"/>
                <a:gd name="T41" fmla="*/ 161 h 381"/>
                <a:gd name="T42" fmla="*/ 406 w 805"/>
                <a:gd name="T43" fmla="*/ 182 h 381"/>
                <a:gd name="T44" fmla="*/ 298 w 805"/>
                <a:gd name="T45" fmla="*/ 145 h 381"/>
                <a:gd name="T46" fmla="*/ 118 w 805"/>
                <a:gd name="T47" fmla="*/ 145 h 381"/>
                <a:gd name="T48" fmla="*/ 135 w 805"/>
                <a:gd name="T49" fmla="*/ 149 h 381"/>
                <a:gd name="T50" fmla="*/ 180 w 805"/>
                <a:gd name="T51" fmla="*/ 137 h 381"/>
                <a:gd name="T52" fmla="*/ 172 w 805"/>
                <a:gd name="T53" fmla="*/ 161 h 381"/>
                <a:gd name="T54" fmla="*/ 189 w 805"/>
                <a:gd name="T55" fmla="*/ 161 h 381"/>
                <a:gd name="T56" fmla="*/ 135 w 805"/>
                <a:gd name="T57" fmla="*/ 149 h 381"/>
                <a:gd name="T58" fmla="*/ 146 w 805"/>
                <a:gd name="T59" fmla="*/ 161 h 381"/>
                <a:gd name="T60" fmla="*/ 248 w 805"/>
                <a:gd name="T61" fmla="*/ 182 h 381"/>
                <a:gd name="T62" fmla="*/ 319 w 805"/>
                <a:gd name="T63" fmla="*/ 178 h 381"/>
                <a:gd name="T64" fmla="*/ 335 w 805"/>
                <a:gd name="T65" fmla="*/ 182 h 381"/>
                <a:gd name="T66" fmla="*/ 335 w 805"/>
                <a:gd name="T67" fmla="*/ 182 h 381"/>
                <a:gd name="T68" fmla="*/ 364 w 805"/>
                <a:gd name="T69" fmla="*/ 239 h 381"/>
                <a:gd name="T70" fmla="*/ 286 w 805"/>
                <a:gd name="T71" fmla="*/ 199 h 381"/>
                <a:gd name="T72" fmla="*/ 373 w 805"/>
                <a:gd name="T73" fmla="*/ 232 h 381"/>
                <a:gd name="T74" fmla="*/ 411 w 805"/>
                <a:gd name="T75" fmla="*/ 222 h 381"/>
                <a:gd name="T76" fmla="*/ 428 w 805"/>
                <a:gd name="T77" fmla="*/ 232 h 381"/>
                <a:gd name="T78" fmla="*/ 482 w 805"/>
                <a:gd name="T79" fmla="*/ 310 h 381"/>
                <a:gd name="T80" fmla="*/ 406 w 805"/>
                <a:gd name="T81" fmla="*/ 272 h 381"/>
                <a:gd name="T82" fmla="*/ 470 w 805"/>
                <a:gd name="T83" fmla="*/ 305 h 381"/>
                <a:gd name="T84" fmla="*/ 720 w 805"/>
                <a:gd name="T85" fmla="*/ 305 h 381"/>
                <a:gd name="T86" fmla="*/ 730 w 805"/>
                <a:gd name="T87" fmla="*/ 310 h 381"/>
                <a:gd name="T88" fmla="*/ 775 w 805"/>
                <a:gd name="T89" fmla="*/ 343 h 381"/>
                <a:gd name="T90" fmla="*/ 352 w 805"/>
                <a:gd name="T91" fmla="*/ 381 h 381"/>
                <a:gd name="T92" fmla="*/ 352 w 805"/>
                <a:gd name="T93" fmla="*/ 381 h 381"/>
                <a:gd name="T94" fmla="*/ 805 w 805"/>
                <a:gd name="T95" fmla="*/ 364 h 3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805" h="381">
                  <a:moveTo>
                    <a:pt x="135" y="55"/>
                  </a:moveTo>
                  <a:lnTo>
                    <a:pt x="104" y="38"/>
                  </a:lnTo>
                  <a:lnTo>
                    <a:pt x="64" y="0"/>
                  </a:lnTo>
                  <a:lnTo>
                    <a:pt x="80" y="0"/>
                  </a:lnTo>
                  <a:lnTo>
                    <a:pt x="109" y="17"/>
                  </a:lnTo>
                  <a:lnTo>
                    <a:pt x="118" y="38"/>
                  </a:lnTo>
                  <a:lnTo>
                    <a:pt x="142" y="50"/>
                  </a:lnTo>
                  <a:lnTo>
                    <a:pt x="135" y="55"/>
                  </a:lnTo>
                  <a:lnTo>
                    <a:pt x="135" y="55"/>
                  </a:lnTo>
                  <a:lnTo>
                    <a:pt x="135" y="55"/>
                  </a:lnTo>
                  <a:close/>
                  <a:moveTo>
                    <a:pt x="17" y="38"/>
                  </a:moveTo>
                  <a:lnTo>
                    <a:pt x="12" y="33"/>
                  </a:lnTo>
                  <a:lnTo>
                    <a:pt x="17" y="26"/>
                  </a:lnTo>
                  <a:lnTo>
                    <a:pt x="26" y="33"/>
                  </a:lnTo>
                  <a:lnTo>
                    <a:pt x="17" y="38"/>
                  </a:lnTo>
                  <a:lnTo>
                    <a:pt x="17" y="38"/>
                  </a:lnTo>
                  <a:lnTo>
                    <a:pt x="17" y="38"/>
                  </a:lnTo>
                  <a:close/>
                  <a:moveTo>
                    <a:pt x="0" y="55"/>
                  </a:moveTo>
                  <a:lnTo>
                    <a:pt x="0" y="50"/>
                  </a:lnTo>
                  <a:lnTo>
                    <a:pt x="12" y="55"/>
                  </a:lnTo>
                  <a:lnTo>
                    <a:pt x="0" y="55"/>
                  </a:lnTo>
                  <a:lnTo>
                    <a:pt x="0" y="55"/>
                  </a:lnTo>
                  <a:lnTo>
                    <a:pt x="0" y="55"/>
                  </a:lnTo>
                  <a:close/>
                  <a:moveTo>
                    <a:pt x="156" y="67"/>
                  </a:moveTo>
                  <a:lnTo>
                    <a:pt x="156" y="55"/>
                  </a:lnTo>
                  <a:lnTo>
                    <a:pt x="156" y="67"/>
                  </a:lnTo>
                  <a:lnTo>
                    <a:pt x="156" y="67"/>
                  </a:lnTo>
                  <a:lnTo>
                    <a:pt x="156" y="67"/>
                  </a:lnTo>
                  <a:lnTo>
                    <a:pt x="156" y="67"/>
                  </a:lnTo>
                  <a:close/>
                  <a:moveTo>
                    <a:pt x="302" y="137"/>
                  </a:moveTo>
                  <a:lnTo>
                    <a:pt x="234" y="95"/>
                  </a:lnTo>
                  <a:lnTo>
                    <a:pt x="210" y="67"/>
                  </a:lnTo>
                  <a:lnTo>
                    <a:pt x="227" y="71"/>
                  </a:lnTo>
                  <a:lnTo>
                    <a:pt x="248" y="95"/>
                  </a:lnTo>
                  <a:lnTo>
                    <a:pt x="272" y="95"/>
                  </a:lnTo>
                  <a:lnTo>
                    <a:pt x="302" y="128"/>
                  </a:lnTo>
                  <a:lnTo>
                    <a:pt x="309" y="145"/>
                  </a:lnTo>
                  <a:lnTo>
                    <a:pt x="302" y="137"/>
                  </a:lnTo>
                  <a:lnTo>
                    <a:pt x="302" y="137"/>
                  </a:lnTo>
                  <a:lnTo>
                    <a:pt x="302" y="137"/>
                  </a:lnTo>
                  <a:close/>
                  <a:moveTo>
                    <a:pt x="87" y="95"/>
                  </a:moveTo>
                  <a:lnTo>
                    <a:pt x="71" y="83"/>
                  </a:lnTo>
                  <a:lnTo>
                    <a:pt x="71" y="71"/>
                  </a:lnTo>
                  <a:lnTo>
                    <a:pt x="92" y="83"/>
                  </a:lnTo>
                  <a:lnTo>
                    <a:pt x="87" y="95"/>
                  </a:lnTo>
                  <a:lnTo>
                    <a:pt x="87" y="95"/>
                  </a:lnTo>
                  <a:lnTo>
                    <a:pt x="87" y="95"/>
                  </a:lnTo>
                  <a:close/>
                  <a:moveTo>
                    <a:pt x="118" y="111"/>
                  </a:moveTo>
                  <a:lnTo>
                    <a:pt x="104" y="104"/>
                  </a:lnTo>
                  <a:lnTo>
                    <a:pt x="109" y="88"/>
                  </a:lnTo>
                  <a:lnTo>
                    <a:pt x="118" y="95"/>
                  </a:lnTo>
                  <a:lnTo>
                    <a:pt x="118" y="111"/>
                  </a:lnTo>
                  <a:lnTo>
                    <a:pt x="118" y="111"/>
                  </a:lnTo>
                  <a:lnTo>
                    <a:pt x="118" y="111"/>
                  </a:lnTo>
                  <a:close/>
                  <a:moveTo>
                    <a:pt x="163" y="145"/>
                  </a:moveTo>
                  <a:lnTo>
                    <a:pt x="146" y="137"/>
                  </a:lnTo>
                  <a:lnTo>
                    <a:pt x="142" y="121"/>
                  </a:lnTo>
                  <a:lnTo>
                    <a:pt x="146" y="128"/>
                  </a:lnTo>
                  <a:lnTo>
                    <a:pt x="142" y="121"/>
                  </a:lnTo>
                  <a:lnTo>
                    <a:pt x="118" y="121"/>
                  </a:lnTo>
                  <a:lnTo>
                    <a:pt x="118" y="121"/>
                  </a:lnTo>
                  <a:lnTo>
                    <a:pt x="135" y="95"/>
                  </a:lnTo>
                  <a:lnTo>
                    <a:pt x="146" y="104"/>
                  </a:lnTo>
                  <a:lnTo>
                    <a:pt x="146" y="121"/>
                  </a:lnTo>
                  <a:lnTo>
                    <a:pt x="156" y="121"/>
                  </a:lnTo>
                  <a:lnTo>
                    <a:pt x="172" y="137"/>
                  </a:lnTo>
                  <a:lnTo>
                    <a:pt x="163" y="145"/>
                  </a:lnTo>
                  <a:lnTo>
                    <a:pt x="163" y="145"/>
                  </a:lnTo>
                  <a:lnTo>
                    <a:pt x="163" y="145"/>
                  </a:lnTo>
                  <a:close/>
                  <a:moveTo>
                    <a:pt x="118" y="121"/>
                  </a:moveTo>
                  <a:lnTo>
                    <a:pt x="109" y="111"/>
                  </a:lnTo>
                  <a:lnTo>
                    <a:pt x="118" y="111"/>
                  </a:lnTo>
                  <a:lnTo>
                    <a:pt x="118" y="121"/>
                  </a:lnTo>
                  <a:lnTo>
                    <a:pt x="118" y="121"/>
                  </a:lnTo>
                  <a:lnTo>
                    <a:pt x="118" y="121"/>
                  </a:lnTo>
                  <a:close/>
                  <a:moveTo>
                    <a:pt x="406" y="182"/>
                  </a:moveTo>
                  <a:lnTo>
                    <a:pt x="411" y="215"/>
                  </a:lnTo>
                  <a:lnTo>
                    <a:pt x="373" y="178"/>
                  </a:lnTo>
                  <a:lnTo>
                    <a:pt x="364" y="145"/>
                  </a:lnTo>
                  <a:lnTo>
                    <a:pt x="364" y="137"/>
                  </a:lnTo>
                  <a:lnTo>
                    <a:pt x="357" y="128"/>
                  </a:lnTo>
                  <a:lnTo>
                    <a:pt x="373" y="128"/>
                  </a:lnTo>
                  <a:lnTo>
                    <a:pt x="390" y="145"/>
                  </a:lnTo>
                  <a:lnTo>
                    <a:pt x="378" y="161"/>
                  </a:lnTo>
                  <a:lnTo>
                    <a:pt x="394" y="166"/>
                  </a:lnTo>
                  <a:lnTo>
                    <a:pt x="406" y="182"/>
                  </a:lnTo>
                  <a:lnTo>
                    <a:pt x="406" y="182"/>
                  </a:lnTo>
                  <a:lnTo>
                    <a:pt x="406" y="182"/>
                  </a:lnTo>
                  <a:close/>
                  <a:moveTo>
                    <a:pt x="298" y="145"/>
                  </a:moveTo>
                  <a:lnTo>
                    <a:pt x="281" y="137"/>
                  </a:lnTo>
                  <a:lnTo>
                    <a:pt x="286" y="128"/>
                  </a:lnTo>
                  <a:lnTo>
                    <a:pt x="298" y="145"/>
                  </a:lnTo>
                  <a:lnTo>
                    <a:pt x="298" y="145"/>
                  </a:lnTo>
                  <a:lnTo>
                    <a:pt x="298" y="145"/>
                  </a:lnTo>
                  <a:close/>
                  <a:moveTo>
                    <a:pt x="135" y="149"/>
                  </a:moveTo>
                  <a:lnTo>
                    <a:pt x="118" y="145"/>
                  </a:lnTo>
                  <a:lnTo>
                    <a:pt x="135" y="128"/>
                  </a:lnTo>
                  <a:lnTo>
                    <a:pt x="135" y="149"/>
                  </a:lnTo>
                  <a:lnTo>
                    <a:pt x="135" y="149"/>
                  </a:lnTo>
                  <a:lnTo>
                    <a:pt x="135" y="149"/>
                  </a:lnTo>
                  <a:close/>
                  <a:moveTo>
                    <a:pt x="172" y="161"/>
                  </a:moveTo>
                  <a:lnTo>
                    <a:pt x="163" y="149"/>
                  </a:lnTo>
                  <a:lnTo>
                    <a:pt x="163" y="145"/>
                  </a:lnTo>
                  <a:lnTo>
                    <a:pt x="180" y="137"/>
                  </a:lnTo>
                  <a:lnTo>
                    <a:pt x="180" y="149"/>
                  </a:lnTo>
                  <a:lnTo>
                    <a:pt x="172" y="161"/>
                  </a:lnTo>
                  <a:lnTo>
                    <a:pt x="172" y="161"/>
                  </a:lnTo>
                  <a:lnTo>
                    <a:pt x="172" y="161"/>
                  </a:lnTo>
                  <a:close/>
                  <a:moveTo>
                    <a:pt x="189" y="161"/>
                  </a:moveTo>
                  <a:lnTo>
                    <a:pt x="189" y="149"/>
                  </a:lnTo>
                  <a:lnTo>
                    <a:pt x="194" y="161"/>
                  </a:lnTo>
                  <a:lnTo>
                    <a:pt x="189" y="161"/>
                  </a:lnTo>
                  <a:lnTo>
                    <a:pt x="189" y="161"/>
                  </a:lnTo>
                  <a:lnTo>
                    <a:pt x="189" y="161"/>
                  </a:lnTo>
                  <a:close/>
                  <a:moveTo>
                    <a:pt x="146" y="161"/>
                  </a:moveTo>
                  <a:lnTo>
                    <a:pt x="135" y="149"/>
                  </a:lnTo>
                  <a:lnTo>
                    <a:pt x="142" y="149"/>
                  </a:lnTo>
                  <a:lnTo>
                    <a:pt x="146" y="161"/>
                  </a:lnTo>
                  <a:lnTo>
                    <a:pt x="146" y="161"/>
                  </a:lnTo>
                  <a:lnTo>
                    <a:pt x="146" y="161"/>
                  </a:lnTo>
                  <a:close/>
                  <a:moveTo>
                    <a:pt x="248" y="182"/>
                  </a:moveTo>
                  <a:lnTo>
                    <a:pt x="248" y="178"/>
                  </a:lnTo>
                  <a:lnTo>
                    <a:pt x="255" y="178"/>
                  </a:lnTo>
                  <a:lnTo>
                    <a:pt x="248" y="182"/>
                  </a:lnTo>
                  <a:lnTo>
                    <a:pt x="248" y="182"/>
                  </a:lnTo>
                  <a:lnTo>
                    <a:pt x="248" y="182"/>
                  </a:lnTo>
                  <a:close/>
                  <a:moveTo>
                    <a:pt x="335" y="182"/>
                  </a:moveTo>
                  <a:lnTo>
                    <a:pt x="319" y="178"/>
                  </a:lnTo>
                  <a:lnTo>
                    <a:pt x="335" y="178"/>
                  </a:lnTo>
                  <a:lnTo>
                    <a:pt x="335" y="182"/>
                  </a:lnTo>
                  <a:lnTo>
                    <a:pt x="335" y="182"/>
                  </a:lnTo>
                  <a:lnTo>
                    <a:pt x="335" y="182"/>
                  </a:lnTo>
                  <a:close/>
                  <a:moveTo>
                    <a:pt x="335" y="182"/>
                  </a:moveTo>
                  <a:lnTo>
                    <a:pt x="335" y="178"/>
                  </a:lnTo>
                  <a:lnTo>
                    <a:pt x="340" y="182"/>
                  </a:lnTo>
                  <a:lnTo>
                    <a:pt x="335" y="182"/>
                  </a:lnTo>
                  <a:lnTo>
                    <a:pt x="335" y="182"/>
                  </a:lnTo>
                  <a:lnTo>
                    <a:pt x="335" y="182"/>
                  </a:lnTo>
                  <a:close/>
                  <a:moveTo>
                    <a:pt x="373" y="232"/>
                  </a:moveTo>
                  <a:lnTo>
                    <a:pt x="364" y="239"/>
                  </a:lnTo>
                  <a:lnTo>
                    <a:pt x="335" y="232"/>
                  </a:lnTo>
                  <a:lnTo>
                    <a:pt x="302" y="232"/>
                  </a:lnTo>
                  <a:lnTo>
                    <a:pt x="286" y="215"/>
                  </a:lnTo>
                  <a:lnTo>
                    <a:pt x="286" y="199"/>
                  </a:lnTo>
                  <a:lnTo>
                    <a:pt x="298" y="194"/>
                  </a:lnTo>
                  <a:lnTo>
                    <a:pt x="309" y="204"/>
                  </a:lnTo>
                  <a:lnTo>
                    <a:pt x="340" y="204"/>
                  </a:lnTo>
                  <a:lnTo>
                    <a:pt x="373" y="232"/>
                  </a:lnTo>
                  <a:lnTo>
                    <a:pt x="373" y="232"/>
                  </a:lnTo>
                  <a:lnTo>
                    <a:pt x="373" y="232"/>
                  </a:lnTo>
                  <a:close/>
                  <a:moveTo>
                    <a:pt x="428" y="232"/>
                  </a:moveTo>
                  <a:lnTo>
                    <a:pt x="411" y="222"/>
                  </a:lnTo>
                  <a:lnTo>
                    <a:pt x="411" y="199"/>
                  </a:lnTo>
                  <a:lnTo>
                    <a:pt x="428" y="215"/>
                  </a:lnTo>
                  <a:lnTo>
                    <a:pt x="428" y="232"/>
                  </a:lnTo>
                  <a:lnTo>
                    <a:pt x="428" y="232"/>
                  </a:lnTo>
                  <a:lnTo>
                    <a:pt x="428" y="232"/>
                  </a:lnTo>
                  <a:close/>
                  <a:moveTo>
                    <a:pt x="470" y="305"/>
                  </a:moveTo>
                  <a:lnTo>
                    <a:pt x="470" y="305"/>
                  </a:lnTo>
                  <a:lnTo>
                    <a:pt x="482" y="310"/>
                  </a:lnTo>
                  <a:lnTo>
                    <a:pt x="444" y="293"/>
                  </a:lnTo>
                  <a:lnTo>
                    <a:pt x="428" y="289"/>
                  </a:lnTo>
                  <a:lnTo>
                    <a:pt x="416" y="272"/>
                  </a:lnTo>
                  <a:lnTo>
                    <a:pt x="406" y="272"/>
                  </a:lnTo>
                  <a:lnTo>
                    <a:pt x="406" y="260"/>
                  </a:lnTo>
                  <a:lnTo>
                    <a:pt x="444" y="277"/>
                  </a:lnTo>
                  <a:lnTo>
                    <a:pt x="465" y="277"/>
                  </a:lnTo>
                  <a:lnTo>
                    <a:pt x="470" y="305"/>
                  </a:lnTo>
                  <a:lnTo>
                    <a:pt x="470" y="305"/>
                  </a:lnTo>
                  <a:lnTo>
                    <a:pt x="470" y="305"/>
                  </a:lnTo>
                  <a:close/>
                  <a:moveTo>
                    <a:pt x="730" y="310"/>
                  </a:moveTo>
                  <a:lnTo>
                    <a:pt x="720" y="305"/>
                  </a:lnTo>
                  <a:lnTo>
                    <a:pt x="720" y="305"/>
                  </a:lnTo>
                  <a:lnTo>
                    <a:pt x="754" y="293"/>
                  </a:lnTo>
                  <a:lnTo>
                    <a:pt x="730" y="310"/>
                  </a:lnTo>
                  <a:lnTo>
                    <a:pt x="730" y="310"/>
                  </a:lnTo>
                  <a:lnTo>
                    <a:pt x="730" y="310"/>
                  </a:lnTo>
                  <a:close/>
                  <a:moveTo>
                    <a:pt x="775" y="343"/>
                  </a:moveTo>
                  <a:lnTo>
                    <a:pt x="775" y="343"/>
                  </a:lnTo>
                  <a:lnTo>
                    <a:pt x="775" y="343"/>
                  </a:lnTo>
                  <a:lnTo>
                    <a:pt x="775" y="343"/>
                  </a:lnTo>
                  <a:lnTo>
                    <a:pt x="775" y="343"/>
                  </a:lnTo>
                  <a:lnTo>
                    <a:pt x="775" y="343"/>
                  </a:lnTo>
                  <a:close/>
                  <a:moveTo>
                    <a:pt x="352" y="381"/>
                  </a:moveTo>
                  <a:lnTo>
                    <a:pt x="309" y="359"/>
                  </a:lnTo>
                  <a:lnTo>
                    <a:pt x="352" y="364"/>
                  </a:lnTo>
                  <a:lnTo>
                    <a:pt x="352" y="381"/>
                  </a:lnTo>
                  <a:lnTo>
                    <a:pt x="352" y="381"/>
                  </a:lnTo>
                  <a:lnTo>
                    <a:pt x="352" y="381"/>
                  </a:lnTo>
                  <a:close/>
                  <a:moveTo>
                    <a:pt x="796" y="364"/>
                  </a:moveTo>
                  <a:lnTo>
                    <a:pt x="791" y="359"/>
                  </a:lnTo>
                  <a:lnTo>
                    <a:pt x="805" y="364"/>
                  </a:lnTo>
                  <a:lnTo>
                    <a:pt x="796" y="364"/>
                  </a:lnTo>
                  <a:lnTo>
                    <a:pt x="796" y="364"/>
                  </a:lnTo>
                  <a:lnTo>
                    <a:pt x="796" y="364"/>
                  </a:lnTo>
                  <a:close/>
                </a:path>
              </a:pathLst>
            </a:custGeom>
            <a:solidFill>
              <a:schemeClr val="bg2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61" name="Freeform 403">
              <a:extLst>
                <a:ext uri="{FF2B5EF4-FFF2-40B4-BE49-F238E27FC236}">
                  <a16:creationId xmlns:a16="http://schemas.microsoft.com/office/drawing/2014/main" id="{8EC08F76-6350-435C-94DA-1EE09497C79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364165" y="2684387"/>
              <a:ext cx="422823" cy="445281"/>
            </a:xfrm>
            <a:custGeom>
              <a:avLst/>
              <a:gdLst>
                <a:gd name="T0" fmla="*/ 291 w 2755"/>
                <a:gd name="T1" fmla="*/ 255 h 2901"/>
                <a:gd name="T2" fmla="*/ 593 w 2755"/>
                <a:gd name="T3" fmla="*/ 312 h 2901"/>
                <a:gd name="T4" fmla="*/ 702 w 2755"/>
                <a:gd name="T5" fmla="*/ 201 h 2901"/>
                <a:gd name="T6" fmla="*/ 794 w 2755"/>
                <a:gd name="T7" fmla="*/ 90 h 2901"/>
                <a:gd name="T8" fmla="*/ 967 w 2755"/>
                <a:gd name="T9" fmla="*/ 0 h 2901"/>
                <a:gd name="T10" fmla="*/ 1009 w 2755"/>
                <a:gd name="T11" fmla="*/ 246 h 2901"/>
                <a:gd name="T12" fmla="*/ 1172 w 2755"/>
                <a:gd name="T13" fmla="*/ 239 h 2901"/>
                <a:gd name="T14" fmla="*/ 1366 w 2755"/>
                <a:gd name="T15" fmla="*/ 206 h 2901"/>
                <a:gd name="T16" fmla="*/ 1604 w 2755"/>
                <a:gd name="T17" fmla="*/ 95 h 2901"/>
                <a:gd name="T18" fmla="*/ 1600 w 2755"/>
                <a:gd name="T19" fmla="*/ 390 h 2901"/>
                <a:gd name="T20" fmla="*/ 1637 w 2755"/>
                <a:gd name="T21" fmla="*/ 506 h 2901"/>
                <a:gd name="T22" fmla="*/ 1637 w 2755"/>
                <a:gd name="T23" fmla="*/ 539 h 2901"/>
                <a:gd name="T24" fmla="*/ 1784 w 2755"/>
                <a:gd name="T25" fmla="*/ 485 h 2901"/>
                <a:gd name="T26" fmla="*/ 1869 w 2755"/>
                <a:gd name="T27" fmla="*/ 423 h 2901"/>
                <a:gd name="T28" fmla="*/ 1982 w 2755"/>
                <a:gd name="T29" fmla="*/ 461 h 2901"/>
                <a:gd name="T30" fmla="*/ 2063 w 2755"/>
                <a:gd name="T31" fmla="*/ 506 h 2901"/>
                <a:gd name="T32" fmla="*/ 2091 w 2755"/>
                <a:gd name="T33" fmla="*/ 577 h 2901"/>
                <a:gd name="T34" fmla="*/ 2301 w 2755"/>
                <a:gd name="T35" fmla="*/ 589 h 2901"/>
                <a:gd name="T36" fmla="*/ 2750 w 2755"/>
                <a:gd name="T37" fmla="*/ 884 h 2901"/>
                <a:gd name="T38" fmla="*/ 2594 w 2755"/>
                <a:gd name="T39" fmla="*/ 1172 h 2901"/>
                <a:gd name="T40" fmla="*/ 2469 w 2755"/>
                <a:gd name="T41" fmla="*/ 1309 h 2901"/>
                <a:gd name="T42" fmla="*/ 2448 w 2755"/>
                <a:gd name="T43" fmla="*/ 1625 h 2901"/>
                <a:gd name="T44" fmla="*/ 2322 w 2755"/>
                <a:gd name="T45" fmla="*/ 1937 h 2901"/>
                <a:gd name="T46" fmla="*/ 2117 w 2755"/>
                <a:gd name="T47" fmla="*/ 2053 h 2901"/>
                <a:gd name="T48" fmla="*/ 1944 w 2755"/>
                <a:gd name="T49" fmla="*/ 2143 h 2901"/>
                <a:gd name="T50" fmla="*/ 1777 w 2755"/>
                <a:gd name="T51" fmla="*/ 2287 h 2901"/>
                <a:gd name="T52" fmla="*/ 1767 w 2755"/>
                <a:gd name="T53" fmla="*/ 2476 h 2901"/>
                <a:gd name="T54" fmla="*/ 1600 w 2755"/>
                <a:gd name="T55" fmla="*/ 2719 h 2901"/>
                <a:gd name="T56" fmla="*/ 1604 w 2755"/>
                <a:gd name="T57" fmla="*/ 2625 h 2901"/>
                <a:gd name="T58" fmla="*/ 1496 w 2755"/>
                <a:gd name="T59" fmla="*/ 2851 h 2901"/>
                <a:gd name="T60" fmla="*/ 1210 w 2755"/>
                <a:gd name="T61" fmla="*/ 2620 h 2901"/>
                <a:gd name="T62" fmla="*/ 1281 w 2755"/>
                <a:gd name="T63" fmla="*/ 2464 h 2901"/>
                <a:gd name="T64" fmla="*/ 1366 w 2755"/>
                <a:gd name="T65" fmla="*/ 2259 h 2901"/>
                <a:gd name="T66" fmla="*/ 1238 w 2755"/>
                <a:gd name="T67" fmla="*/ 1992 h 2901"/>
                <a:gd name="T68" fmla="*/ 1146 w 2755"/>
                <a:gd name="T69" fmla="*/ 1659 h 2901"/>
                <a:gd name="T70" fmla="*/ 858 w 2755"/>
                <a:gd name="T71" fmla="*/ 1366 h 2901"/>
                <a:gd name="T72" fmla="*/ 631 w 2755"/>
                <a:gd name="T73" fmla="*/ 1243 h 2901"/>
                <a:gd name="T74" fmla="*/ 471 w 2755"/>
                <a:gd name="T75" fmla="*/ 1127 h 2901"/>
                <a:gd name="T76" fmla="*/ 248 w 2755"/>
                <a:gd name="T77" fmla="*/ 1061 h 2901"/>
                <a:gd name="T78" fmla="*/ 17 w 2755"/>
                <a:gd name="T79" fmla="*/ 888 h 2901"/>
                <a:gd name="T80" fmla="*/ 286 w 2755"/>
                <a:gd name="T81" fmla="*/ 683 h 2901"/>
                <a:gd name="T82" fmla="*/ 1685 w 2755"/>
                <a:gd name="T83" fmla="*/ 312 h 2901"/>
                <a:gd name="T84" fmla="*/ 1685 w 2755"/>
                <a:gd name="T85" fmla="*/ 333 h 2901"/>
                <a:gd name="T86" fmla="*/ 1706 w 2755"/>
                <a:gd name="T87" fmla="*/ 357 h 2901"/>
                <a:gd name="T88" fmla="*/ 1706 w 2755"/>
                <a:gd name="T89" fmla="*/ 390 h 2901"/>
                <a:gd name="T90" fmla="*/ 1621 w 2755"/>
                <a:gd name="T91" fmla="*/ 383 h 2901"/>
                <a:gd name="T92" fmla="*/ 1637 w 2755"/>
                <a:gd name="T93" fmla="*/ 411 h 2901"/>
                <a:gd name="T94" fmla="*/ 1685 w 2755"/>
                <a:gd name="T95" fmla="*/ 501 h 2901"/>
                <a:gd name="T96" fmla="*/ 1621 w 2755"/>
                <a:gd name="T97" fmla="*/ 407 h 2901"/>
                <a:gd name="T98" fmla="*/ 1630 w 2755"/>
                <a:gd name="T99" fmla="*/ 407 h 2901"/>
                <a:gd name="T100" fmla="*/ 1550 w 2755"/>
                <a:gd name="T101" fmla="*/ 485 h 2901"/>
                <a:gd name="T102" fmla="*/ 1831 w 2755"/>
                <a:gd name="T103" fmla="*/ 428 h 2901"/>
                <a:gd name="T104" fmla="*/ 1928 w 2755"/>
                <a:gd name="T105" fmla="*/ 449 h 2901"/>
                <a:gd name="T106" fmla="*/ 2037 w 2755"/>
                <a:gd name="T107" fmla="*/ 468 h 2901"/>
                <a:gd name="T108" fmla="*/ 1529 w 2755"/>
                <a:gd name="T109" fmla="*/ 501 h 2901"/>
                <a:gd name="T110" fmla="*/ 1760 w 2755"/>
                <a:gd name="T111" fmla="*/ 506 h 2901"/>
                <a:gd name="T112" fmla="*/ 2247 w 2755"/>
                <a:gd name="T113" fmla="*/ 577 h 2901"/>
                <a:gd name="T114" fmla="*/ 2485 w 2755"/>
                <a:gd name="T115" fmla="*/ 1309 h 2901"/>
                <a:gd name="T116" fmla="*/ 2464 w 2755"/>
                <a:gd name="T117" fmla="*/ 1370 h 2901"/>
                <a:gd name="T118" fmla="*/ 2020 w 2755"/>
                <a:gd name="T119" fmla="*/ 2143 h 2901"/>
                <a:gd name="T120" fmla="*/ 1777 w 2755"/>
                <a:gd name="T121" fmla="*/ 2313 h 29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755" h="2901">
                  <a:moveTo>
                    <a:pt x="286" y="683"/>
                  </a:moveTo>
                  <a:lnTo>
                    <a:pt x="324" y="477"/>
                  </a:lnTo>
                  <a:lnTo>
                    <a:pt x="324" y="449"/>
                  </a:lnTo>
                  <a:lnTo>
                    <a:pt x="308" y="428"/>
                  </a:lnTo>
                  <a:lnTo>
                    <a:pt x="308" y="411"/>
                  </a:lnTo>
                  <a:lnTo>
                    <a:pt x="274" y="390"/>
                  </a:lnTo>
                  <a:lnTo>
                    <a:pt x="274" y="333"/>
                  </a:lnTo>
                  <a:lnTo>
                    <a:pt x="324" y="329"/>
                  </a:lnTo>
                  <a:lnTo>
                    <a:pt x="329" y="333"/>
                  </a:lnTo>
                  <a:lnTo>
                    <a:pt x="345" y="333"/>
                  </a:lnTo>
                  <a:lnTo>
                    <a:pt x="341" y="317"/>
                  </a:lnTo>
                  <a:lnTo>
                    <a:pt x="329" y="300"/>
                  </a:lnTo>
                  <a:lnTo>
                    <a:pt x="291" y="300"/>
                  </a:lnTo>
                  <a:lnTo>
                    <a:pt x="291" y="255"/>
                  </a:lnTo>
                  <a:lnTo>
                    <a:pt x="319" y="246"/>
                  </a:lnTo>
                  <a:lnTo>
                    <a:pt x="411" y="255"/>
                  </a:lnTo>
                  <a:lnTo>
                    <a:pt x="400" y="246"/>
                  </a:lnTo>
                  <a:lnTo>
                    <a:pt x="411" y="239"/>
                  </a:lnTo>
                  <a:lnTo>
                    <a:pt x="433" y="255"/>
                  </a:lnTo>
                  <a:lnTo>
                    <a:pt x="466" y="222"/>
                  </a:lnTo>
                  <a:lnTo>
                    <a:pt x="471" y="222"/>
                  </a:lnTo>
                  <a:lnTo>
                    <a:pt x="487" y="263"/>
                  </a:lnTo>
                  <a:lnTo>
                    <a:pt x="487" y="296"/>
                  </a:lnTo>
                  <a:lnTo>
                    <a:pt x="504" y="296"/>
                  </a:lnTo>
                  <a:lnTo>
                    <a:pt x="541" y="329"/>
                  </a:lnTo>
                  <a:lnTo>
                    <a:pt x="556" y="329"/>
                  </a:lnTo>
                  <a:lnTo>
                    <a:pt x="579" y="312"/>
                  </a:lnTo>
                  <a:lnTo>
                    <a:pt x="593" y="312"/>
                  </a:lnTo>
                  <a:lnTo>
                    <a:pt x="593" y="329"/>
                  </a:lnTo>
                  <a:lnTo>
                    <a:pt x="593" y="333"/>
                  </a:lnTo>
                  <a:lnTo>
                    <a:pt x="610" y="312"/>
                  </a:lnTo>
                  <a:lnTo>
                    <a:pt x="617" y="312"/>
                  </a:lnTo>
                  <a:lnTo>
                    <a:pt x="626" y="296"/>
                  </a:lnTo>
                  <a:lnTo>
                    <a:pt x="648" y="284"/>
                  </a:lnTo>
                  <a:lnTo>
                    <a:pt x="659" y="284"/>
                  </a:lnTo>
                  <a:lnTo>
                    <a:pt x="681" y="267"/>
                  </a:lnTo>
                  <a:lnTo>
                    <a:pt x="685" y="267"/>
                  </a:lnTo>
                  <a:lnTo>
                    <a:pt x="697" y="263"/>
                  </a:lnTo>
                  <a:lnTo>
                    <a:pt x="702" y="239"/>
                  </a:lnTo>
                  <a:lnTo>
                    <a:pt x="752" y="222"/>
                  </a:lnTo>
                  <a:lnTo>
                    <a:pt x="752" y="206"/>
                  </a:lnTo>
                  <a:lnTo>
                    <a:pt x="702" y="201"/>
                  </a:lnTo>
                  <a:lnTo>
                    <a:pt x="702" y="185"/>
                  </a:lnTo>
                  <a:lnTo>
                    <a:pt x="685" y="152"/>
                  </a:lnTo>
                  <a:lnTo>
                    <a:pt x="685" y="118"/>
                  </a:lnTo>
                  <a:lnTo>
                    <a:pt x="659" y="90"/>
                  </a:lnTo>
                  <a:lnTo>
                    <a:pt x="648" y="74"/>
                  </a:lnTo>
                  <a:lnTo>
                    <a:pt x="664" y="78"/>
                  </a:lnTo>
                  <a:lnTo>
                    <a:pt x="697" y="78"/>
                  </a:lnTo>
                  <a:lnTo>
                    <a:pt x="702" y="95"/>
                  </a:lnTo>
                  <a:lnTo>
                    <a:pt x="719" y="95"/>
                  </a:lnTo>
                  <a:lnTo>
                    <a:pt x="740" y="102"/>
                  </a:lnTo>
                  <a:lnTo>
                    <a:pt x="752" y="95"/>
                  </a:lnTo>
                  <a:lnTo>
                    <a:pt x="778" y="118"/>
                  </a:lnTo>
                  <a:lnTo>
                    <a:pt x="794" y="111"/>
                  </a:lnTo>
                  <a:lnTo>
                    <a:pt x="794" y="90"/>
                  </a:lnTo>
                  <a:lnTo>
                    <a:pt x="806" y="90"/>
                  </a:lnTo>
                  <a:lnTo>
                    <a:pt x="811" y="78"/>
                  </a:lnTo>
                  <a:lnTo>
                    <a:pt x="832" y="78"/>
                  </a:lnTo>
                  <a:lnTo>
                    <a:pt x="858" y="78"/>
                  </a:lnTo>
                  <a:lnTo>
                    <a:pt x="865" y="74"/>
                  </a:lnTo>
                  <a:lnTo>
                    <a:pt x="874" y="74"/>
                  </a:lnTo>
                  <a:lnTo>
                    <a:pt x="882" y="62"/>
                  </a:lnTo>
                  <a:lnTo>
                    <a:pt x="896" y="57"/>
                  </a:lnTo>
                  <a:lnTo>
                    <a:pt x="919" y="45"/>
                  </a:lnTo>
                  <a:lnTo>
                    <a:pt x="929" y="40"/>
                  </a:lnTo>
                  <a:lnTo>
                    <a:pt x="941" y="24"/>
                  </a:lnTo>
                  <a:lnTo>
                    <a:pt x="941" y="7"/>
                  </a:lnTo>
                  <a:lnTo>
                    <a:pt x="933" y="0"/>
                  </a:lnTo>
                  <a:lnTo>
                    <a:pt x="967" y="0"/>
                  </a:lnTo>
                  <a:lnTo>
                    <a:pt x="971" y="0"/>
                  </a:lnTo>
                  <a:lnTo>
                    <a:pt x="983" y="7"/>
                  </a:lnTo>
                  <a:lnTo>
                    <a:pt x="988" y="17"/>
                  </a:lnTo>
                  <a:lnTo>
                    <a:pt x="983" y="40"/>
                  </a:lnTo>
                  <a:lnTo>
                    <a:pt x="971" y="57"/>
                  </a:lnTo>
                  <a:lnTo>
                    <a:pt x="1004" y="62"/>
                  </a:lnTo>
                  <a:lnTo>
                    <a:pt x="1004" y="74"/>
                  </a:lnTo>
                  <a:lnTo>
                    <a:pt x="1009" y="95"/>
                  </a:lnTo>
                  <a:lnTo>
                    <a:pt x="995" y="128"/>
                  </a:lnTo>
                  <a:lnTo>
                    <a:pt x="988" y="185"/>
                  </a:lnTo>
                  <a:lnTo>
                    <a:pt x="995" y="206"/>
                  </a:lnTo>
                  <a:lnTo>
                    <a:pt x="1004" y="211"/>
                  </a:lnTo>
                  <a:lnTo>
                    <a:pt x="1004" y="246"/>
                  </a:lnTo>
                  <a:lnTo>
                    <a:pt x="1009" y="246"/>
                  </a:lnTo>
                  <a:lnTo>
                    <a:pt x="1009" y="255"/>
                  </a:lnTo>
                  <a:lnTo>
                    <a:pt x="1021" y="255"/>
                  </a:lnTo>
                  <a:lnTo>
                    <a:pt x="1037" y="279"/>
                  </a:lnTo>
                  <a:lnTo>
                    <a:pt x="1059" y="284"/>
                  </a:lnTo>
                  <a:lnTo>
                    <a:pt x="1063" y="296"/>
                  </a:lnTo>
                  <a:lnTo>
                    <a:pt x="1075" y="284"/>
                  </a:lnTo>
                  <a:lnTo>
                    <a:pt x="1092" y="284"/>
                  </a:lnTo>
                  <a:lnTo>
                    <a:pt x="1092" y="267"/>
                  </a:lnTo>
                  <a:lnTo>
                    <a:pt x="1101" y="263"/>
                  </a:lnTo>
                  <a:lnTo>
                    <a:pt x="1130" y="267"/>
                  </a:lnTo>
                  <a:lnTo>
                    <a:pt x="1130" y="263"/>
                  </a:lnTo>
                  <a:lnTo>
                    <a:pt x="1146" y="255"/>
                  </a:lnTo>
                  <a:lnTo>
                    <a:pt x="1156" y="255"/>
                  </a:lnTo>
                  <a:lnTo>
                    <a:pt x="1172" y="239"/>
                  </a:lnTo>
                  <a:lnTo>
                    <a:pt x="1189" y="229"/>
                  </a:lnTo>
                  <a:lnTo>
                    <a:pt x="1210" y="246"/>
                  </a:lnTo>
                  <a:lnTo>
                    <a:pt x="1238" y="239"/>
                  </a:lnTo>
                  <a:lnTo>
                    <a:pt x="1264" y="246"/>
                  </a:lnTo>
                  <a:lnTo>
                    <a:pt x="1276" y="239"/>
                  </a:lnTo>
                  <a:lnTo>
                    <a:pt x="1276" y="229"/>
                  </a:lnTo>
                  <a:lnTo>
                    <a:pt x="1259" y="211"/>
                  </a:lnTo>
                  <a:lnTo>
                    <a:pt x="1264" y="201"/>
                  </a:lnTo>
                  <a:lnTo>
                    <a:pt x="1290" y="206"/>
                  </a:lnTo>
                  <a:lnTo>
                    <a:pt x="1335" y="189"/>
                  </a:lnTo>
                  <a:lnTo>
                    <a:pt x="1345" y="201"/>
                  </a:lnTo>
                  <a:lnTo>
                    <a:pt x="1361" y="201"/>
                  </a:lnTo>
                  <a:lnTo>
                    <a:pt x="1361" y="206"/>
                  </a:lnTo>
                  <a:lnTo>
                    <a:pt x="1366" y="206"/>
                  </a:lnTo>
                  <a:lnTo>
                    <a:pt x="1399" y="222"/>
                  </a:lnTo>
                  <a:lnTo>
                    <a:pt x="1420" y="206"/>
                  </a:lnTo>
                  <a:lnTo>
                    <a:pt x="1437" y="211"/>
                  </a:lnTo>
                  <a:lnTo>
                    <a:pt x="1453" y="206"/>
                  </a:lnTo>
                  <a:lnTo>
                    <a:pt x="1458" y="222"/>
                  </a:lnTo>
                  <a:lnTo>
                    <a:pt x="1479" y="222"/>
                  </a:lnTo>
                  <a:lnTo>
                    <a:pt x="1507" y="201"/>
                  </a:lnTo>
                  <a:lnTo>
                    <a:pt x="1524" y="152"/>
                  </a:lnTo>
                  <a:lnTo>
                    <a:pt x="1567" y="90"/>
                  </a:lnTo>
                  <a:lnTo>
                    <a:pt x="1578" y="78"/>
                  </a:lnTo>
                  <a:lnTo>
                    <a:pt x="1583" y="90"/>
                  </a:lnTo>
                  <a:lnTo>
                    <a:pt x="1578" y="62"/>
                  </a:lnTo>
                  <a:lnTo>
                    <a:pt x="1600" y="78"/>
                  </a:lnTo>
                  <a:lnTo>
                    <a:pt x="1604" y="95"/>
                  </a:lnTo>
                  <a:lnTo>
                    <a:pt x="1616" y="95"/>
                  </a:lnTo>
                  <a:lnTo>
                    <a:pt x="1616" y="152"/>
                  </a:lnTo>
                  <a:lnTo>
                    <a:pt x="1637" y="222"/>
                  </a:lnTo>
                  <a:lnTo>
                    <a:pt x="1654" y="246"/>
                  </a:lnTo>
                  <a:lnTo>
                    <a:pt x="1675" y="246"/>
                  </a:lnTo>
                  <a:lnTo>
                    <a:pt x="1692" y="255"/>
                  </a:lnTo>
                  <a:lnTo>
                    <a:pt x="1692" y="284"/>
                  </a:lnTo>
                  <a:lnTo>
                    <a:pt x="1675" y="296"/>
                  </a:lnTo>
                  <a:lnTo>
                    <a:pt x="1692" y="284"/>
                  </a:lnTo>
                  <a:lnTo>
                    <a:pt x="1692" y="296"/>
                  </a:lnTo>
                  <a:lnTo>
                    <a:pt x="1654" y="333"/>
                  </a:lnTo>
                  <a:lnTo>
                    <a:pt x="1630" y="366"/>
                  </a:lnTo>
                  <a:lnTo>
                    <a:pt x="1621" y="366"/>
                  </a:lnTo>
                  <a:lnTo>
                    <a:pt x="1600" y="390"/>
                  </a:lnTo>
                  <a:lnTo>
                    <a:pt x="1567" y="428"/>
                  </a:lnTo>
                  <a:lnTo>
                    <a:pt x="1567" y="449"/>
                  </a:lnTo>
                  <a:lnTo>
                    <a:pt x="1550" y="461"/>
                  </a:lnTo>
                  <a:lnTo>
                    <a:pt x="1550" y="477"/>
                  </a:lnTo>
                  <a:lnTo>
                    <a:pt x="1545" y="485"/>
                  </a:lnTo>
                  <a:lnTo>
                    <a:pt x="1529" y="477"/>
                  </a:lnTo>
                  <a:lnTo>
                    <a:pt x="1496" y="494"/>
                  </a:lnTo>
                  <a:lnTo>
                    <a:pt x="1529" y="494"/>
                  </a:lnTo>
                  <a:lnTo>
                    <a:pt x="1529" y="501"/>
                  </a:lnTo>
                  <a:lnTo>
                    <a:pt x="1600" y="468"/>
                  </a:lnTo>
                  <a:lnTo>
                    <a:pt x="1616" y="444"/>
                  </a:lnTo>
                  <a:lnTo>
                    <a:pt x="1630" y="444"/>
                  </a:lnTo>
                  <a:lnTo>
                    <a:pt x="1630" y="485"/>
                  </a:lnTo>
                  <a:lnTo>
                    <a:pt x="1637" y="506"/>
                  </a:lnTo>
                  <a:lnTo>
                    <a:pt x="1630" y="518"/>
                  </a:lnTo>
                  <a:lnTo>
                    <a:pt x="1604" y="506"/>
                  </a:lnTo>
                  <a:lnTo>
                    <a:pt x="1588" y="501"/>
                  </a:lnTo>
                  <a:lnTo>
                    <a:pt x="1583" y="522"/>
                  </a:lnTo>
                  <a:lnTo>
                    <a:pt x="1583" y="539"/>
                  </a:lnTo>
                  <a:lnTo>
                    <a:pt x="1588" y="551"/>
                  </a:lnTo>
                  <a:lnTo>
                    <a:pt x="1583" y="522"/>
                  </a:lnTo>
                  <a:lnTo>
                    <a:pt x="1600" y="506"/>
                  </a:lnTo>
                  <a:lnTo>
                    <a:pt x="1616" y="522"/>
                  </a:lnTo>
                  <a:lnTo>
                    <a:pt x="1616" y="551"/>
                  </a:lnTo>
                  <a:lnTo>
                    <a:pt x="1630" y="555"/>
                  </a:lnTo>
                  <a:lnTo>
                    <a:pt x="1616" y="551"/>
                  </a:lnTo>
                  <a:lnTo>
                    <a:pt x="1621" y="522"/>
                  </a:lnTo>
                  <a:lnTo>
                    <a:pt x="1637" y="539"/>
                  </a:lnTo>
                  <a:lnTo>
                    <a:pt x="1630" y="518"/>
                  </a:lnTo>
                  <a:lnTo>
                    <a:pt x="1637" y="506"/>
                  </a:lnTo>
                  <a:lnTo>
                    <a:pt x="1654" y="506"/>
                  </a:lnTo>
                  <a:lnTo>
                    <a:pt x="1659" y="518"/>
                  </a:lnTo>
                  <a:lnTo>
                    <a:pt x="1685" y="506"/>
                  </a:lnTo>
                  <a:lnTo>
                    <a:pt x="1696" y="518"/>
                  </a:lnTo>
                  <a:lnTo>
                    <a:pt x="1713" y="518"/>
                  </a:lnTo>
                  <a:lnTo>
                    <a:pt x="1739" y="501"/>
                  </a:lnTo>
                  <a:lnTo>
                    <a:pt x="1722" y="539"/>
                  </a:lnTo>
                  <a:lnTo>
                    <a:pt x="1722" y="560"/>
                  </a:lnTo>
                  <a:lnTo>
                    <a:pt x="1744" y="518"/>
                  </a:lnTo>
                  <a:lnTo>
                    <a:pt x="1760" y="506"/>
                  </a:lnTo>
                  <a:lnTo>
                    <a:pt x="1777" y="485"/>
                  </a:lnTo>
                  <a:lnTo>
                    <a:pt x="1784" y="485"/>
                  </a:lnTo>
                  <a:lnTo>
                    <a:pt x="1798" y="501"/>
                  </a:lnTo>
                  <a:lnTo>
                    <a:pt x="1798" y="485"/>
                  </a:lnTo>
                  <a:lnTo>
                    <a:pt x="1815" y="485"/>
                  </a:lnTo>
                  <a:lnTo>
                    <a:pt x="1793" y="485"/>
                  </a:lnTo>
                  <a:lnTo>
                    <a:pt x="1793" y="468"/>
                  </a:lnTo>
                  <a:lnTo>
                    <a:pt x="1805" y="477"/>
                  </a:lnTo>
                  <a:lnTo>
                    <a:pt x="1805" y="444"/>
                  </a:lnTo>
                  <a:lnTo>
                    <a:pt x="1822" y="428"/>
                  </a:lnTo>
                  <a:lnTo>
                    <a:pt x="1831" y="440"/>
                  </a:lnTo>
                  <a:lnTo>
                    <a:pt x="1848" y="423"/>
                  </a:lnTo>
                  <a:lnTo>
                    <a:pt x="1848" y="440"/>
                  </a:lnTo>
                  <a:lnTo>
                    <a:pt x="1859" y="423"/>
                  </a:lnTo>
                  <a:lnTo>
                    <a:pt x="1869" y="440"/>
                  </a:lnTo>
                  <a:lnTo>
                    <a:pt x="1869" y="423"/>
                  </a:lnTo>
                  <a:lnTo>
                    <a:pt x="1890" y="428"/>
                  </a:lnTo>
                  <a:lnTo>
                    <a:pt x="1902" y="428"/>
                  </a:lnTo>
                  <a:lnTo>
                    <a:pt x="1902" y="444"/>
                  </a:lnTo>
                  <a:lnTo>
                    <a:pt x="1907" y="428"/>
                  </a:lnTo>
                  <a:lnTo>
                    <a:pt x="1911" y="440"/>
                  </a:lnTo>
                  <a:lnTo>
                    <a:pt x="1923" y="440"/>
                  </a:lnTo>
                  <a:lnTo>
                    <a:pt x="1923" y="449"/>
                  </a:lnTo>
                  <a:lnTo>
                    <a:pt x="1956" y="444"/>
                  </a:lnTo>
                  <a:lnTo>
                    <a:pt x="1944" y="461"/>
                  </a:lnTo>
                  <a:lnTo>
                    <a:pt x="1961" y="461"/>
                  </a:lnTo>
                  <a:lnTo>
                    <a:pt x="1961" y="468"/>
                  </a:lnTo>
                  <a:lnTo>
                    <a:pt x="1966" y="449"/>
                  </a:lnTo>
                  <a:lnTo>
                    <a:pt x="1978" y="468"/>
                  </a:lnTo>
                  <a:lnTo>
                    <a:pt x="1982" y="461"/>
                  </a:lnTo>
                  <a:lnTo>
                    <a:pt x="1994" y="477"/>
                  </a:lnTo>
                  <a:lnTo>
                    <a:pt x="1994" y="468"/>
                  </a:lnTo>
                  <a:lnTo>
                    <a:pt x="2011" y="477"/>
                  </a:lnTo>
                  <a:lnTo>
                    <a:pt x="2011" y="494"/>
                  </a:lnTo>
                  <a:lnTo>
                    <a:pt x="2015" y="477"/>
                  </a:lnTo>
                  <a:lnTo>
                    <a:pt x="2015" y="501"/>
                  </a:lnTo>
                  <a:lnTo>
                    <a:pt x="2020" y="501"/>
                  </a:lnTo>
                  <a:lnTo>
                    <a:pt x="2020" y="485"/>
                  </a:lnTo>
                  <a:lnTo>
                    <a:pt x="2037" y="485"/>
                  </a:lnTo>
                  <a:lnTo>
                    <a:pt x="2048" y="485"/>
                  </a:lnTo>
                  <a:lnTo>
                    <a:pt x="2037" y="494"/>
                  </a:lnTo>
                  <a:lnTo>
                    <a:pt x="2053" y="494"/>
                  </a:lnTo>
                  <a:lnTo>
                    <a:pt x="2053" y="501"/>
                  </a:lnTo>
                  <a:lnTo>
                    <a:pt x="2063" y="506"/>
                  </a:lnTo>
                  <a:lnTo>
                    <a:pt x="2070" y="506"/>
                  </a:lnTo>
                  <a:lnTo>
                    <a:pt x="2074" y="522"/>
                  </a:lnTo>
                  <a:lnTo>
                    <a:pt x="2063" y="551"/>
                  </a:lnTo>
                  <a:lnTo>
                    <a:pt x="2074" y="534"/>
                  </a:lnTo>
                  <a:lnTo>
                    <a:pt x="2086" y="551"/>
                  </a:lnTo>
                  <a:lnTo>
                    <a:pt x="2070" y="560"/>
                  </a:lnTo>
                  <a:lnTo>
                    <a:pt x="2063" y="596"/>
                  </a:lnTo>
                  <a:lnTo>
                    <a:pt x="2053" y="617"/>
                  </a:lnTo>
                  <a:lnTo>
                    <a:pt x="2074" y="589"/>
                  </a:lnTo>
                  <a:lnTo>
                    <a:pt x="2086" y="560"/>
                  </a:lnTo>
                  <a:lnTo>
                    <a:pt x="2100" y="551"/>
                  </a:lnTo>
                  <a:lnTo>
                    <a:pt x="2107" y="560"/>
                  </a:lnTo>
                  <a:lnTo>
                    <a:pt x="2086" y="577"/>
                  </a:lnTo>
                  <a:lnTo>
                    <a:pt x="2091" y="577"/>
                  </a:lnTo>
                  <a:lnTo>
                    <a:pt x="2091" y="589"/>
                  </a:lnTo>
                  <a:lnTo>
                    <a:pt x="2117" y="560"/>
                  </a:lnTo>
                  <a:lnTo>
                    <a:pt x="2145" y="560"/>
                  </a:lnTo>
                  <a:lnTo>
                    <a:pt x="2145" y="551"/>
                  </a:lnTo>
                  <a:lnTo>
                    <a:pt x="2155" y="551"/>
                  </a:lnTo>
                  <a:lnTo>
                    <a:pt x="2200" y="560"/>
                  </a:lnTo>
                  <a:lnTo>
                    <a:pt x="2230" y="577"/>
                  </a:lnTo>
                  <a:lnTo>
                    <a:pt x="2252" y="577"/>
                  </a:lnTo>
                  <a:lnTo>
                    <a:pt x="2247" y="577"/>
                  </a:lnTo>
                  <a:lnTo>
                    <a:pt x="2263" y="572"/>
                  </a:lnTo>
                  <a:lnTo>
                    <a:pt x="2268" y="589"/>
                  </a:lnTo>
                  <a:lnTo>
                    <a:pt x="2289" y="589"/>
                  </a:lnTo>
                  <a:lnTo>
                    <a:pt x="2301" y="596"/>
                  </a:lnTo>
                  <a:lnTo>
                    <a:pt x="2301" y="589"/>
                  </a:lnTo>
                  <a:lnTo>
                    <a:pt x="2356" y="577"/>
                  </a:lnTo>
                  <a:lnTo>
                    <a:pt x="2389" y="577"/>
                  </a:lnTo>
                  <a:lnTo>
                    <a:pt x="2495" y="645"/>
                  </a:lnTo>
                  <a:lnTo>
                    <a:pt x="2556" y="704"/>
                  </a:lnTo>
                  <a:lnTo>
                    <a:pt x="2578" y="716"/>
                  </a:lnTo>
                  <a:lnTo>
                    <a:pt x="2587" y="728"/>
                  </a:lnTo>
                  <a:lnTo>
                    <a:pt x="2608" y="740"/>
                  </a:lnTo>
                  <a:lnTo>
                    <a:pt x="2615" y="744"/>
                  </a:lnTo>
                  <a:lnTo>
                    <a:pt x="2670" y="744"/>
                  </a:lnTo>
                  <a:lnTo>
                    <a:pt x="2712" y="756"/>
                  </a:lnTo>
                  <a:lnTo>
                    <a:pt x="2738" y="839"/>
                  </a:lnTo>
                  <a:lnTo>
                    <a:pt x="2750" y="884"/>
                  </a:lnTo>
                  <a:lnTo>
                    <a:pt x="2750" y="893"/>
                  </a:lnTo>
                  <a:lnTo>
                    <a:pt x="2750" y="884"/>
                  </a:lnTo>
                  <a:lnTo>
                    <a:pt x="2755" y="922"/>
                  </a:lnTo>
                  <a:lnTo>
                    <a:pt x="2750" y="922"/>
                  </a:lnTo>
                  <a:lnTo>
                    <a:pt x="2755" y="926"/>
                  </a:lnTo>
                  <a:lnTo>
                    <a:pt x="2750" y="943"/>
                  </a:lnTo>
                  <a:lnTo>
                    <a:pt x="2750" y="950"/>
                  </a:lnTo>
                  <a:lnTo>
                    <a:pt x="2750" y="959"/>
                  </a:lnTo>
                  <a:lnTo>
                    <a:pt x="2717" y="1037"/>
                  </a:lnTo>
                  <a:lnTo>
                    <a:pt x="2684" y="1077"/>
                  </a:lnTo>
                  <a:lnTo>
                    <a:pt x="2641" y="1132"/>
                  </a:lnTo>
                  <a:lnTo>
                    <a:pt x="2608" y="1160"/>
                  </a:lnTo>
                  <a:lnTo>
                    <a:pt x="2594" y="1165"/>
                  </a:lnTo>
                  <a:lnTo>
                    <a:pt x="2587" y="1160"/>
                  </a:lnTo>
                  <a:lnTo>
                    <a:pt x="2594" y="1165"/>
                  </a:lnTo>
                  <a:lnTo>
                    <a:pt x="2594" y="1172"/>
                  </a:lnTo>
                  <a:lnTo>
                    <a:pt x="2587" y="1181"/>
                  </a:lnTo>
                  <a:lnTo>
                    <a:pt x="2578" y="1172"/>
                  </a:lnTo>
                  <a:lnTo>
                    <a:pt x="2587" y="1181"/>
                  </a:lnTo>
                  <a:lnTo>
                    <a:pt x="2587" y="1188"/>
                  </a:lnTo>
                  <a:lnTo>
                    <a:pt x="2570" y="1205"/>
                  </a:lnTo>
                  <a:lnTo>
                    <a:pt x="2578" y="1188"/>
                  </a:lnTo>
                  <a:lnTo>
                    <a:pt x="2570" y="1188"/>
                  </a:lnTo>
                  <a:lnTo>
                    <a:pt x="2556" y="1243"/>
                  </a:lnTo>
                  <a:lnTo>
                    <a:pt x="2523" y="1292"/>
                  </a:lnTo>
                  <a:lnTo>
                    <a:pt x="2495" y="1325"/>
                  </a:lnTo>
                  <a:lnTo>
                    <a:pt x="2495" y="1300"/>
                  </a:lnTo>
                  <a:lnTo>
                    <a:pt x="2485" y="1300"/>
                  </a:lnTo>
                  <a:lnTo>
                    <a:pt x="2481" y="1292"/>
                  </a:lnTo>
                  <a:lnTo>
                    <a:pt x="2469" y="1309"/>
                  </a:lnTo>
                  <a:lnTo>
                    <a:pt x="2469" y="1292"/>
                  </a:lnTo>
                  <a:lnTo>
                    <a:pt x="2464" y="1300"/>
                  </a:lnTo>
                  <a:lnTo>
                    <a:pt x="2469" y="1309"/>
                  </a:lnTo>
                  <a:lnTo>
                    <a:pt x="2481" y="1309"/>
                  </a:lnTo>
                  <a:lnTo>
                    <a:pt x="2464" y="1349"/>
                  </a:lnTo>
                  <a:lnTo>
                    <a:pt x="2452" y="1349"/>
                  </a:lnTo>
                  <a:lnTo>
                    <a:pt x="2452" y="1354"/>
                  </a:lnTo>
                  <a:lnTo>
                    <a:pt x="2464" y="1370"/>
                  </a:lnTo>
                  <a:lnTo>
                    <a:pt x="2452" y="1403"/>
                  </a:lnTo>
                  <a:lnTo>
                    <a:pt x="2464" y="1394"/>
                  </a:lnTo>
                  <a:lnTo>
                    <a:pt x="2464" y="1387"/>
                  </a:lnTo>
                  <a:lnTo>
                    <a:pt x="2452" y="1444"/>
                  </a:lnTo>
                  <a:lnTo>
                    <a:pt x="2469" y="1531"/>
                  </a:lnTo>
                  <a:lnTo>
                    <a:pt x="2448" y="1625"/>
                  </a:lnTo>
                  <a:lnTo>
                    <a:pt x="2448" y="1666"/>
                  </a:lnTo>
                  <a:lnTo>
                    <a:pt x="2415" y="1703"/>
                  </a:lnTo>
                  <a:lnTo>
                    <a:pt x="2410" y="1744"/>
                  </a:lnTo>
                  <a:lnTo>
                    <a:pt x="2410" y="1793"/>
                  </a:lnTo>
                  <a:lnTo>
                    <a:pt x="2398" y="1810"/>
                  </a:lnTo>
                  <a:lnTo>
                    <a:pt x="2389" y="1814"/>
                  </a:lnTo>
                  <a:lnTo>
                    <a:pt x="2372" y="1864"/>
                  </a:lnTo>
                  <a:lnTo>
                    <a:pt x="2360" y="1855"/>
                  </a:lnTo>
                  <a:lnTo>
                    <a:pt x="2360" y="1864"/>
                  </a:lnTo>
                  <a:lnTo>
                    <a:pt x="2372" y="1864"/>
                  </a:lnTo>
                  <a:lnTo>
                    <a:pt x="2360" y="1888"/>
                  </a:lnTo>
                  <a:lnTo>
                    <a:pt x="2344" y="1904"/>
                  </a:lnTo>
                  <a:lnTo>
                    <a:pt x="2334" y="1904"/>
                  </a:lnTo>
                  <a:lnTo>
                    <a:pt x="2322" y="1937"/>
                  </a:lnTo>
                  <a:lnTo>
                    <a:pt x="2318" y="1959"/>
                  </a:lnTo>
                  <a:lnTo>
                    <a:pt x="2322" y="1992"/>
                  </a:lnTo>
                  <a:lnTo>
                    <a:pt x="2263" y="2015"/>
                  </a:lnTo>
                  <a:lnTo>
                    <a:pt x="2247" y="2032"/>
                  </a:lnTo>
                  <a:lnTo>
                    <a:pt x="2247" y="2065"/>
                  </a:lnTo>
                  <a:lnTo>
                    <a:pt x="2171" y="2065"/>
                  </a:lnTo>
                  <a:lnTo>
                    <a:pt x="2176" y="2048"/>
                  </a:lnTo>
                  <a:lnTo>
                    <a:pt x="2171" y="2036"/>
                  </a:lnTo>
                  <a:lnTo>
                    <a:pt x="2162" y="2048"/>
                  </a:lnTo>
                  <a:lnTo>
                    <a:pt x="2171" y="2065"/>
                  </a:lnTo>
                  <a:lnTo>
                    <a:pt x="2162" y="2065"/>
                  </a:lnTo>
                  <a:lnTo>
                    <a:pt x="2107" y="2070"/>
                  </a:lnTo>
                  <a:lnTo>
                    <a:pt x="2138" y="2070"/>
                  </a:lnTo>
                  <a:lnTo>
                    <a:pt x="2117" y="2053"/>
                  </a:lnTo>
                  <a:lnTo>
                    <a:pt x="2091" y="2070"/>
                  </a:lnTo>
                  <a:lnTo>
                    <a:pt x="2086" y="2065"/>
                  </a:lnTo>
                  <a:lnTo>
                    <a:pt x="2063" y="2070"/>
                  </a:lnTo>
                  <a:lnTo>
                    <a:pt x="2063" y="2086"/>
                  </a:lnTo>
                  <a:lnTo>
                    <a:pt x="2070" y="2086"/>
                  </a:lnTo>
                  <a:lnTo>
                    <a:pt x="2070" y="2093"/>
                  </a:lnTo>
                  <a:lnTo>
                    <a:pt x="2048" y="2093"/>
                  </a:lnTo>
                  <a:lnTo>
                    <a:pt x="2032" y="2103"/>
                  </a:lnTo>
                  <a:lnTo>
                    <a:pt x="2011" y="2110"/>
                  </a:lnTo>
                  <a:lnTo>
                    <a:pt x="2011" y="2126"/>
                  </a:lnTo>
                  <a:lnTo>
                    <a:pt x="1978" y="2126"/>
                  </a:lnTo>
                  <a:lnTo>
                    <a:pt x="1956" y="2131"/>
                  </a:lnTo>
                  <a:lnTo>
                    <a:pt x="1961" y="2131"/>
                  </a:lnTo>
                  <a:lnTo>
                    <a:pt x="1944" y="2143"/>
                  </a:lnTo>
                  <a:lnTo>
                    <a:pt x="1940" y="2131"/>
                  </a:lnTo>
                  <a:lnTo>
                    <a:pt x="1940" y="2143"/>
                  </a:lnTo>
                  <a:lnTo>
                    <a:pt x="1822" y="2221"/>
                  </a:lnTo>
                  <a:lnTo>
                    <a:pt x="1836" y="2221"/>
                  </a:lnTo>
                  <a:lnTo>
                    <a:pt x="1831" y="2230"/>
                  </a:lnTo>
                  <a:lnTo>
                    <a:pt x="1815" y="2254"/>
                  </a:lnTo>
                  <a:lnTo>
                    <a:pt x="1815" y="2242"/>
                  </a:lnTo>
                  <a:lnTo>
                    <a:pt x="1815" y="2237"/>
                  </a:lnTo>
                  <a:lnTo>
                    <a:pt x="1798" y="2242"/>
                  </a:lnTo>
                  <a:lnTo>
                    <a:pt x="1793" y="2254"/>
                  </a:lnTo>
                  <a:lnTo>
                    <a:pt x="1777" y="2254"/>
                  </a:lnTo>
                  <a:lnTo>
                    <a:pt x="1798" y="2259"/>
                  </a:lnTo>
                  <a:lnTo>
                    <a:pt x="1793" y="2275"/>
                  </a:lnTo>
                  <a:lnTo>
                    <a:pt x="1777" y="2287"/>
                  </a:lnTo>
                  <a:lnTo>
                    <a:pt x="1784" y="2287"/>
                  </a:lnTo>
                  <a:lnTo>
                    <a:pt x="1784" y="2308"/>
                  </a:lnTo>
                  <a:lnTo>
                    <a:pt x="1777" y="2313"/>
                  </a:lnTo>
                  <a:lnTo>
                    <a:pt x="1767" y="2296"/>
                  </a:lnTo>
                  <a:lnTo>
                    <a:pt x="1777" y="2313"/>
                  </a:lnTo>
                  <a:lnTo>
                    <a:pt x="1784" y="2329"/>
                  </a:lnTo>
                  <a:lnTo>
                    <a:pt x="1777" y="2348"/>
                  </a:lnTo>
                  <a:lnTo>
                    <a:pt x="1784" y="2381"/>
                  </a:lnTo>
                  <a:lnTo>
                    <a:pt x="1793" y="2386"/>
                  </a:lnTo>
                  <a:lnTo>
                    <a:pt x="1784" y="2386"/>
                  </a:lnTo>
                  <a:lnTo>
                    <a:pt x="1784" y="2419"/>
                  </a:lnTo>
                  <a:lnTo>
                    <a:pt x="1784" y="2440"/>
                  </a:lnTo>
                  <a:lnTo>
                    <a:pt x="1777" y="2492"/>
                  </a:lnTo>
                  <a:lnTo>
                    <a:pt x="1767" y="2476"/>
                  </a:lnTo>
                  <a:lnTo>
                    <a:pt x="1777" y="2492"/>
                  </a:lnTo>
                  <a:lnTo>
                    <a:pt x="1730" y="2530"/>
                  </a:lnTo>
                  <a:lnTo>
                    <a:pt x="1706" y="2551"/>
                  </a:lnTo>
                  <a:lnTo>
                    <a:pt x="1685" y="2592"/>
                  </a:lnTo>
                  <a:lnTo>
                    <a:pt x="1668" y="2641"/>
                  </a:lnTo>
                  <a:lnTo>
                    <a:pt x="1637" y="2686"/>
                  </a:lnTo>
                  <a:lnTo>
                    <a:pt x="1583" y="2740"/>
                  </a:lnTo>
                  <a:lnTo>
                    <a:pt x="1550" y="2757"/>
                  </a:lnTo>
                  <a:lnTo>
                    <a:pt x="1545" y="2773"/>
                  </a:lnTo>
                  <a:lnTo>
                    <a:pt x="1545" y="2757"/>
                  </a:lnTo>
                  <a:lnTo>
                    <a:pt x="1533" y="2752"/>
                  </a:lnTo>
                  <a:lnTo>
                    <a:pt x="1562" y="2752"/>
                  </a:lnTo>
                  <a:lnTo>
                    <a:pt x="1588" y="2731"/>
                  </a:lnTo>
                  <a:lnTo>
                    <a:pt x="1600" y="2719"/>
                  </a:lnTo>
                  <a:lnTo>
                    <a:pt x="1604" y="2686"/>
                  </a:lnTo>
                  <a:lnTo>
                    <a:pt x="1621" y="2696"/>
                  </a:lnTo>
                  <a:lnTo>
                    <a:pt x="1621" y="2679"/>
                  </a:lnTo>
                  <a:lnTo>
                    <a:pt x="1637" y="2662"/>
                  </a:lnTo>
                  <a:lnTo>
                    <a:pt x="1637" y="2641"/>
                  </a:lnTo>
                  <a:lnTo>
                    <a:pt x="1642" y="2641"/>
                  </a:lnTo>
                  <a:lnTo>
                    <a:pt x="1654" y="2625"/>
                  </a:lnTo>
                  <a:lnTo>
                    <a:pt x="1642" y="2625"/>
                  </a:lnTo>
                  <a:lnTo>
                    <a:pt x="1637" y="2629"/>
                  </a:lnTo>
                  <a:lnTo>
                    <a:pt x="1621" y="2629"/>
                  </a:lnTo>
                  <a:lnTo>
                    <a:pt x="1621" y="2641"/>
                  </a:lnTo>
                  <a:lnTo>
                    <a:pt x="1616" y="2641"/>
                  </a:lnTo>
                  <a:lnTo>
                    <a:pt x="1616" y="2625"/>
                  </a:lnTo>
                  <a:lnTo>
                    <a:pt x="1604" y="2625"/>
                  </a:lnTo>
                  <a:lnTo>
                    <a:pt x="1600" y="2608"/>
                  </a:lnTo>
                  <a:lnTo>
                    <a:pt x="1600" y="2620"/>
                  </a:lnTo>
                  <a:lnTo>
                    <a:pt x="1604" y="2641"/>
                  </a:lnTo>
                  <a:lnTo>
                    <a:pt x="1600" y="2674"/>
                  </a:lnTo>
                  <a:lnTo>
                    <a:pt x="1588" y="2658"/>
                  </a:lnTo>
                  <a:lnTo>
                    <a:pt x="1583" y="2686"/>
                  </a:lnTo>
                  <a:lnTo>
                    <a:pt x="1550" y="2712"/>
                  </a:lnTo>
                  <a:lnTo>
                    <a:pt x="1545" y="2736"/>
                  </a:lnTo>
                  <a:lnTo>
                    <a:pt x="1529" y="2740"/>
                  </a:lnTo>
                  <a:lnTo>
                    <a:pt x="1533" y="2757"/>
                  </a:lnTo>
                  <a:lnTo>
                    <a:pt x="1529" y="2769"/>
                  </a:lnTo>
                  <a:lnTo>
                    <a:pt x="1533" y="2773"/>
                  </a:lnTo>
                  <a:lnTo>
                    <a:pt x="1524" y="2807"/>
                  </a:lnTo>
                  <a:lnTo>
                    <a:pt x="1496" y="2851"/>
                  </a:lnTo>
                  <a:lnTo>
                    <a:pt x="1453" y="2901"/>
                  </a:lnTo>
                  <a:lnTo>
                    <a:pt x="1437" y="2901"/>
                  </a:lnTo>
                  <a:lnTo>
                    <a:pt x="1437" y="2851"/>
                  </a:lnTo>
                  <a:lnTo>
                    <a:pt x="1470" y="2823"/>
                  </a:lnTo>
                  <a:lnTo>
                    <a:pt x="1437" y="2797"/>
                  </a:lnTo>
                  <a:lnTo>
                    <a:pt x="1415" y="2757"/>
                  </a:lnTo>
                  <a:lnTo>
                    <a:pt x="1382" y="2752"/>
                  </a:lnTo>
                  <a:lnTo>
                    <a:pt x="1366" y="2719"/>
                  </a:lnTo>
                  <a:lnTo>
                    <a:pt x="1319" y="2703"/>
                  </a:lnTo>
                  <a:lnTo>
                    <a:pt x="1297" y="2674"/>
                  </a:lnTo>
                  <a:lnTo>
                    <a:pt x="1276" y="2686"/>
                  </a:lnTo>
                  <a:lnTo>
                    <a:pt x="1264" y="2686"/>
                  </a:lnTo>
                  <a:lnTo>
                    <a:pt x="1264" y="2674"/>
                  </a:lnTo>
                  <a:lnTo>
                    <a:pt x="1210" y="2620"/>
                  </a:lnTo>
                  <a:lnTo>
                    <a:pt x="1189" y="2620"/>
                  </a:lnTo>
                  <a:lnTo>
                    <a:pt x="1184" y="2629"/>
                  </a:lnTo>
                  <a:lnTo>
                    <a:pt x="1156" y="2625"/>
                  </a:lnTo>
                  <a:lnTo>
                    <a:pt x="1151" y="2625"/>
                  </a:lnTo>
                  <a:lnTo>
                    <a:pt x="1172" y="2608"/>
                  </a:lnTo>
                  <a:lnTo>
                    <a:pt x="1172" y="2592"/>
                  </a:lnTo>
                  <a:lnTo>
                    <a:pt x="1189" y="2585"/>
                  </a:lnTo>
                  <a:lnTo>
                    <a:pt x="1222" y="2535"/>
                  </a:lnTo>
                  <a:lnTo>
                    <a:pt x="1238" y="2535"/>
                  </a:lnTo>
                  <a:lnTo>
                    <a:pt x="1243" y="2514"/>
                  </a:lnTo>
                  <a:lnTo>
                    <a:pt x="1276" y="2481"/>
                  </a:lnTo>
                  <a:lnTo>
                    <a:pt x="1290" y="2481"/>
                  </a:lnTo>
                  <a:lnTo>
                    <a:pt x="1290" y="2476"/>
                  </a:lnTo>
                  <a:lnTo>
                    <a:pt x="1281" y="2464"/>
                  </a:lnTo>
                  <a:lnTo>
                    <a:pt x="1307" y="2457"/>
                  </a:lnTo>
                  <a:lnTo>
                    <a:pt x="1314" y="2440"/>
                  </a:lnTo>
                  <a:lnTo>
                    <a:pt x="1335" y="2436"/>
                  </a:lnTo>
                  <a:lnTo>
                    <a:pt x="1352" y="2407"/>
                  </a:lnTo>
                  <a:lnTo>
                    <a:pt x="1382" y="2403"/>
                  </a:lnTo>
                  <a:lnTo>
                    <a:pt x="1420" y="2381"/>
                  </a:lnTo>
                  <a:lnTo>
                    <a:pt x="1427" y="2365"/>
                  </a:lnTo>
                  <a:lnTo>
                    <a:pt x="1427" y="2325"/>
                  </a:lnTo>
                  <a:lnTo>
                    <a:pt x="1427" y="2313"/>
                  </a:lnTo>
                  <a:lnTo>
                    <a:pt x="1420" y="2292"/>
                  </a:lnTo>
                  <a:lnTo>
                    <a:pt x="1415" y="2270"/>
                  </a:lnTo>
                  <a:lnTo>
                    <a:pt x="1399" y="2254"/>
                  </a:lnTo>
                  <a:lnTo>
                    <a:pt x="1373" y="2270"/>
                  </a:lnTo>
                  <a:lnTo>
                    <a:pt x="1366" y="2259"/>
                  </a:lnTo>
                  <a:lnTo>
                    <a:pt x="1361" y="2254"/>
                  </a:lnTo>
                  <a:lnTo>
                    <a:pt x="1373" y="2230"/>
                  </a:lnTo>
                  <a:lnTo>
                    <a:pt x="1373" y="2221"/>
                  </a:lnTo>
                  <a:lnTo>
                    <a:pt x="1389" y="2164"/>
                  </a:lnTo>
                  <a:lnTo>
                    <a:pt x="1382" y="2148"/>
                  </a:lnTo>
                  <a:lnTo>
                    <a:pt x="1389" y="2148"/>
                  </a:lnTo>
                  <a:lnTo>
                    <a:pt x="1361" y="2126"/>
                  </a:lnTo>
                  <a:lnTo>
                    <a:pt x="1335" y="2143"/>
                  </a:lnTo>
                  <a:lnTo>
                    <a:pt x="1307" y="2143"/>
                  </a:lnTo>
                  <a:lnTo>
                    <a:pt x="1290" y="2053"/>
                  </a:lnTo>
                  <a:lnTo>
                    <a:pt x="1290" y="2036"/>
                  </a:lnTo>
                  <a:lnTo>
                    <a:pt x="1276" y="2015"/>
                  </a:lnTo>
                  <a:lnTo>
                    <a:pt x="1252" y="2008"/>
                  </a:lnTo>
                  <a:lnTo>
                    <a:pt x="1238" y="1992"/>
                  </a:lnTo>
                  <a:lnTo>
                    <a:pt x="1222" y="2008"/>
                  </a:lnTo>
                  <a:lnTo>
                    <a:pt x="1205" y="2008"/>
                  </a:lnTo>
                  <a:lnTo>
                    <a:pt x="1130" y="1999"/>
                  </a:lnTo>
                  <a:lnTo>
                    <a:pt x="1130" y="1954"/>
                  </a:lnTo>
                  <a:lnTo>
                    <a:pt x="1134" y="1942"/>
                  </a:lnTo>
                  <a:lnTo>
                    <a:pt x="1134" y="1909"/>
                  </a:lnTo>
                  <a:lnTo>
                    <a:pt x="1113" y="1848"/>
                  </a:lnTo>
                  <a:lnTo>
                    <a:pt x="1134" y="1836"/>
                  </a:lnTo>
                  <a:lnTo>
                    <a:pt x="1118" y="1814"/>
                  </a:lnTo>
                  <a:lnTo>
                    <a:pt x="1146" y="1770"/>
                  </a:lnTo>
                  <a:lnTo>
                    <a:pt x="1146" y="1760"/>
                  </a:lnTo>
                  <a:lnTo>
                    <a:pt x="1156" y="1703"/>
                  </a:lnTo>
                  <a:lnTo>
                    <a:pt x="1146" y="1682"/>
                  </a:lnTo>
                  <a:lnTo>
                    <a:pt x="1146" y="1659"/>
                  </a:lnTo>
                  <a:lnTo>
                    <a:pt x="1096" y="1633"/>
                  </a:lnTo>
                  <a:lnTo>
                    <a:pt x="1092" y="1592"/>
                  </a:lnTo>
                  <a:lnTo>
                    <a:pt x="1101" y="1576"/>
                  </a:lnTo>
                  <a:lnTo>
                    <a:pt x="1101" y="1559"/>
                  </a:lnTo>
                  <a:lnTo>
                    <a:pt x="971" y="1559"/>
                  </a:lnTo>
                  <a:lnTo>
                    <a:pt x="967" y="1498"/>
                  </a:lnTo>
                  <a:lnTo>
                    <a:pt x="941" y="1477"/>
                  </a:lnTo>
                  <a:lnTo>
                    <a:pt x="967" y="1477"/>
                  </a:lnTo>
                  <a:lnTo>
                    <a:pt x="967" y="1437"/>
                  </a:lnTo>
                  <a:lnTo>
                    <a:pt x="950" y="1403"/>
                  </a:lnTo>
                  <a:lnTo>
                    <a:pt x="957" y="1394"/>
                  </a:lnTo>
                  <a:lnTo>
                    <a:pt x="950" y="1382"/>
                  </a:lnTo>
                  <a:lnTo>
                    <a:pt x="912" y="1354"/>
                  </a:lnTo>
                  <a:lnTo>
                    <a:pt x="858" y="1366"/>
                  </a:lnTo>
                  <a:lnTo>
                    <a:pt x="832" y="1333"/>
                  </a:lnTo>
                  <a:lnTo>
                    <a:pt x="820" y="1333"/>
                  </a:lnTo>
                  <a:lnTo>
                    <a:pt x="794" y="1316"/>
                  </a:lnTo>
                  <a:lnTo>
                    <a:pt x="789" y="1325"/>
                  </a:lnTo>
                  <a:lnTo>
                    <a:pt x="773" y="1309"/>
                  </a:lnTo>
                  <a:lnTo>
                    <a:pt x="773" y="1292"/>
                  </a:lnTo>
                  <a:lnTo>
                    <a:pt x="752" y="1300"/>
                  </a:lnTo>
                  <a:lnTo>
                    <a:pt x="723" y="1283"/>
                  </a:lnTo>
                  <a:lnTo>
                    <a:pt x="714" y="1283"/>
                  </a:lnTo>
                  <a:lnTo>
                    <a:pt x="681" y="1283"/>
                  </a:lnTo>
                  <a:lnTo>
                    <a:pt x="669" y="1259"/>
                  </a:lnTo>
                  <a:lnTo>
                    <a:pt x="648" y="1259"/>
                  </a:lnTo>
                  <a:lnTo>
                    <a:pt x="648" y="1243"/>
                  </a:lnTo>
                  <a:lnTo>
                    <a:pt x="631" y="1243"/>
                  </a:lnTo>
                  <a:lnTo>
                    <a:pt x="631" y="1226"/>
                  </a:lnTo>
                  <a:lnTo>
                    <a:pt x="617" y="1226"/>
                  </a:lnTo>
                  <a:lnTo>
                    <a:pt x="626" y="1222"/>
                  </a:lnTo>
                  <a:lnTo>
                    <a:pt x="610" y="1205"/>
                  </a:lnTo>
                  <a:lnTo>
                    <a:pt x="610" y="1188"/>
                  </a:lnTo>
                  <a:lnTo>
                    <a:pt x="610" y="1172"/>
                  </a:lnTo>
                  <a:lnTo>
                    <a:pt x="605" y="1132"/>
                  </a:lnTo>
                  <a:lnTo>
                    <a:pt x="610" y="1115"/>
                  </a:lnTo>
                  <a:lnTo>
                    <a:pt x="610" y="1077"/>
                  </a:lnTo>
                  <a:lnTo>
                    <a:pt x="593" y="1087"/>
                  </a:lnTo>
                  <a:lnTo>
                    <a:pt x="556" y="1087"/>
                  </a:lnTo>
                  <a:lnTo>
                    <a:pt x="518" y="1094"/>
                  </a:lnTo>
                  <a:lnTo>
                    <a:pt x="487" y="1115"/>
                  </a:lnTo>
                  <a:lnTo>
                    <a:pt x="471" y="1127"/>
                  </a:lnTo>
                  <a:lnTo>
                    <a:pt x="454" y="1132"/>
                  </a:lnTo>
                  <a:lnTo>
                    <a:pt x="442" y="1148"/>
                  </a:lnTo>
                  <a:lnTo>
                    <a:pt x="416" y="1148"/>
                  </a:lnTo>
                  <a:lnTo>
                    <a:pt x="400" y="1172"/>
                  </a:lnTo>
                  <a:lnTo>
                    <a:pt x="378" y="1181"/>
                  </a:lnTo>
                  <a:lnTo>
                    <a:pt x="374" y="1181"/>
                  </a:lnTo>
                  <a:lnTo>
                    <a:pt x="362" y="1172"/>
                  </a:lnTo>
                  <a:lnTo>
                    <a:pt x="319" y="1172"/>
                  </a:lnTo>
                  <a:lnTo>
                    <a:pt x="286" y="1165"/>
                  </a:lnTo>
                  <a:lnTo>
                    <a:pt x="265" y="1181"/>
                  </a:lnTo>
                  <a:lnTo>
                    <a:pt x="248" y="1165"/>
                  </a:lnTo>
                  <a:lnTo>
                    <a:pt x="237" y="1172"/>
                  </a:lnTo>
                  <a:lnTo>
                    <a:pt x="237" y="1087"/>
                  </a:lnTo>
                  <a:lnTo>
                    <a:pt x="248" y="1061"/>
                  </a:lnTo>
                  <a:lnTo>
                    <a:pt x="194" y="1106"/>
                  </a:lnTo>
                  <a:lnTo>
                    <a:pt x="130" y="1106"/>
                  </a:lnTo>
                  <a:lnTo>
                    <a:pt x="114" y="1061"/>
                  </a:lnTo>
                  <a:lnTo>
                    <a:pt x="55" y="1054"/>
                  </a:lnTo>
                  <a:lnTo>
                    <a:pt x="76" y="1037"/>
                  </a:lnTo>
                  <a:lnTo>
                    <a:pt x="76" y="1021"/>
                  </a:lnTo>
                  <a:lnTo>
                    <a:pt x="38" y="983"/>
                  </a:lnTo>
                  <a:lnTo>
                    <a:pt x="33" y="959"/>
                  </a:lnTo>
                  <a:lnTo>
                    <a:pt x="17" y="950"/>
                  </a:lnTo>
                  <a:lnTo>
                    <a:pt x="22" y="938"/>
                  </a:lnTo>
                  <a:lnTo>
                    <a:pt x="0" y="922"/>
                  </a:lnTo>
                  <a:lnTo>
                    <a:pt x="5" y="910"/>
                  </a:lnTo>
                  <a:lnTo>
                    <a:pt x="22" y="905"/>
                  </a:lnTo>
                  <a:lnTo>
                    <a:pt x="17" y="888"/>
                  </a:lnTo>
                  <a:lnTo>
                    <a:pt x="22" y="872"/>
                  </a:lnTo>
                  <a:lnTo>
                    <a:pt x="59" y="839"/>
                  </a:lnTo>
                  <a:lnTo>
                    <a:pt x="55" y="815"/>
                  </a:lnTo>
                  <a:lnTo>
                    <a:pt x="76" y="782"/>
                  </a:lnTo>
                  <a:lnTo>
                    <a:pt x="85" y="744"/>
                  </a:lnTo>
                  <a:lnTo>
                    <a:pt x="147" y="704"/>
                  </a:lnTo>
                  <a:lnTo>
                    <a:pt x="199" y="688"/>
                  </a:lnTo>
                  <a:lnTo>
                    <a:pt x="215" y="688"/>
                  </a:lnTo>
                  <a:lnTo>
                    <a:pt x="232" y="671"/>
                  </a:lnTo>
                  <a:lnTo>
                    <a:pt x="265" y="671"/>
                  </a:lnTo>
                  <a:lnTo>
                    <a:pt x="270" y="688"/>
                  </a:lnTo>
                  <a:lnTo>
                    <a:pt x="274" y="688"/>
                  </a:lnTo>
                  <a:lnTo>
                    <a:pt x="286" y="683"/>
                  </a:lnTo>
                  <a:lnTo>
                    <a:pt x="286" y="683"/>
                  </a:lnTo>
                  <a:lnTo>
                    <a:pt x="286" y="683"/>
                  </a:lnTo>
                  <a:close/>
                  <a:moveTo>
                    <a:pt x="1654" y="222"/>
                  </a:moveTo>
                  <a:lnTo>
                    <a:pt x="1659" y="222"/>
                  </a:lnTo>
                  <a:lnTo>
                    <a:pt x="1654" y="222"/>
                  </a:lnTo>
                  <a:lnTo>
                    <a:pt x="1654" y="222"/>
                  </a:lnTo>
                  <a:lnTo>
                    <a:pt x="1654" y="222"/>
                  </a:lnTo>
                  <a:close/>
                  <a:moveTo>
                    <a:pt x="1659" y="246"/>
                  </a:moveTo>
                  <a:lnTo>
                    <a:pt x="1654" y="229"/>
                  </a:lnTo>
                  <a:lnTo>
                    <a:pt x="1659" y="222"/>
                  </a:lnTo>
                  <a:lnTo>
                    <a:pt x="1668" y="239"/>
                  </a:lnTo>
                  <a:lnTo>
                    <a:pt x="1659" y="246"/>
                  </a:lnTo>
                  <a:lnTo>
                    <a:pt x="1659" y="246"/>
                  </a:lnTo>
                  <a:lnTo>
                    <a:pt x="1659" y="246"/>
                  </a:lnTo>
                  <a:close/>
                  <a:moveTo>
                    <a:pt x="1685" y="312"/>
                  </a:moveTo>
                  <a:lnTo>
                    <a:pt x="1692" y="300"/>
                  </a:lnTo>
                  <a:lnTo>
                    <a:pt x="1685" y="312"/>
                  </a:lnTo>
                  <a:lnTo>
                    <a:pt x="1685" y="312"/>
                  </a:lnTo>
                  <a:lnTo>
                    <a:pt x="1685" y="312"/>
                  </a:lnTo>
                  <a:close/>
                  <a:moveTo>
                    <a:pt x="1668" y="329"/>
                  </a:moveTo>
                  <a:lnTo>
                    <a:pt x="1675" y="317"/>
                  </a:lnTo>
                  <a:lnTo>
                    <a:pt x="1685" y="312"/>
                  </a:lnTo>
                  <a:lnTo>
                    <a:pt x="1685" y="317"/>
                  </a:lnTo>
                  <a:lnTo>
                    <a:pt x="1668" y="329"/>
                  </a:lnTo>
                  <a:lnTo>
                    <a:pt x="1668" y="329"/>
                  </a:lnTo>
                  <a:lnTo>
                    <a:pt x="1668" y="329"/>
                  </a:lnTo>
                  <a:close/>
                  <a:moveTo>
                    <a:pt x="1668" y="357"/>
                  </a:moveTo>
                  <a:lnTo>
                    <a:pt x="1668" y="338"/>
                  </a:lnTo>
                  <a:lnTo>
                    <a:pt x="1685" y="333"/>
                  </a:lnTo>
                  <a:lnTo>
                    <a:pt x="1685" y="338"/>
                  </a:lnTo>
                  <a:lnTo>
                    <a:pt x="1668" y="357"/>
                  </a:lnTo>
                  <a:lnTo>
                    <a:pt x="1668" y="357"/>
                  </a:lnTo>
                  <a:lnTo>
                    <a:pt x="1668" y="357"/>
                  </a:lnTo>
                  <a:close/>
                  <a:moveTo>
                    <a:pt x="1654" y="366"/>
                  </a:moveTo>
                  <a:lnTo>
                    <a:pt x="1659" y="333"/>
                  </a:lnTo>
                  <a:lnTo>
                    <a:pt x="1668" y="357"/>
                  </a:lnTo>
                  <a:lnTo>
                    <a:pt x="1654" y="366"/>
                  </a:lnTo>
                  <a:lnTo>
                    <a:pt x="1654" y="366"/>
                  </a:lnTo>
                  <a:lnTo>
                    <a:pt x="1654" y="366"/>
                  </a:lnTo>
                  <a:close/>
                  <a:moveTo>
                    <a:pt x="1685" y="383"/>
                  </a:moveTo>
                  <a:lnTo>
                    <a:pt x="1659" y="374"/>
                  </a:lnTo>
                  <a:lnTo>
                    <a:pt x="1659" y="366"/>
                  </a:lnTo>
                  <a:lnTo>
                    <a:pt x="1706" y="357"/>
                  </a:lnTo>
                  <a:lnTo>
                    <a:pt x="1713" y="366"/>
                  </a:lnTo>
                  <a:lnTo>
                    <a:pt x="1685" y="383"/>
                  </a:lnTo>
                  <a:lnTo>
                    <a:pt x="1685" y="383"/>
                  </a:lnTo>
                  <a:lnTo>
                    <a:pt x="1685" y="383"/>
                  </a:lnTo>
                  <a:close/>
                  <a:moveTo>
                    <a:pt x="1654" y="383"/>
                  </a:moveTo>
                  <a:lnTo>
                    <a:pt x="1642" y="366"/>
                  </a:lnTo>
                  <a:lnTo>
                    <a:pt x="1654" y="366"/>
                  </a:lnTo>
                  <a:lnTo>
                    <a:pt x="1654" y="383"/>
                  </a:lnTo>
                  <a:lnTo>
                    <a:pt x="1654" y="383"/>
                  </a:lnTo>
                  <a:lnTo>
                    <a:pt x="1654" y="383"/>
                  </a:lnTo>
                  <a:close/>
                  <a:moveTo>
                    <a:pt x="1730" y="383"/>
                  </a:moveTo>
                  <a:lnTo>
                    <a:pt x="1730" y="390"/>
                  </a:lnTo>
                  <a:lnTo>
                    <a:pt x="1722" y="390"/>
                  </a:lnTo>
                  <a:lnTo>
                    <a:pt x="1706" y="390"/>
                  </a:lnTo>
                  <a:lnTo>
                    <a:pt x="1696" y="383"/>
                  </a:lnTo>
                  <a:lnTo>
                    <a:pt x="1713" y="374"/>
                  </a:lnTo>
                  <a:lnTo>
                    <a:pt x="1730" y="383"/>
                  </a:lnTo>
                  <a:lnTo>
                    <a:pt x="1730" y="383"/>
                  </a:lnTo>
                  <a:lnTo>
                    <a:pt x="1730" y="383"/>
                  </a:lnTo>
                  <a:close/>
                  <a:moveTo>
                    <a:pt x="1621" y="383"/>
                  </a:moveTo>
                  <a:lnTo>
                    <a:pt x="1630" y="374"/>
                  </a:lnTo>
                  <a:lnTo>
                    <a:pt x="1637" y="374"/>
                  </a:lnTo>
                  <a:lnTo>
                    <a:pt x="1621" y="383"/>
                  </a:lnTo>
                  <a:lnTo>
                    <a:pt x="1621" y="383"/>
                  </a:lnTo>
                  <a:lnTo>
                    <a:pt x="1621" y="383"/>
                  </a:lnTo>
                  <a:close/>
                  <a:moveTo>
                    <a:pt x="1630" y="395"/>
                  </a:moveTo>
                  <a:lnTo>
                    <a:pt x="1616" y="395"/>
                  </a:lnTo>
                  <a:lnTo>
                    <a:pt x="1621" y="383"/>
                  </a:lnTo>
                  <a:lnTo>
                    <a:pt x="1637" y="383"/>
                  </a:lnTo>
                  <a:lnTo>
                    <a:pt x="1642" y="383"/>
                  </a:lnTo>
                  <a:lnTo>
                    <a:pt x="1630" y="395"/>
                  </a:lnTo>
                  <a:lnTo>
                    <a:pt x="1630" y="395"/>
                  </a:lnTo>
                  <a:lnTo>
                    <a:pt x="1630" y="395"/>
                  </a:lnTo>
                  <a:close/>
                  <a:moveTo>
                    <a:pt x="1630" y="485"/>
                  </a:moveTo>
                  <a:lnTo>
                    <a:pt x="1630" y="461"/>
                  </a:lnTo>
                  <a:lnTo>
                    <a:pt x="1642" y="449"/>
                  </a:lnTo>
                  <a:lnTo>
                    <a:pt x="1630" y="449"/>
                  </a:lnTo>
                  <a:lnTo>
                    <a:pt x="1630" y="428"/>
                  </a:lnTo>
                  <a:lnTo>
                    <a:pt x="1637" y="423"/>
                  </a:lnTo>
                  <a:lnTo>
                    <a:pt x="1654" y="428"/>
                  </a:lnTo>
                  <a:lnTo>
                    <a:pt x="1637" y="423"/>
                  </a:lnTo>
                  <a:lnTo>
                    <a:pt x="1637" y="411"/>
                  </a:lnTo>
                  <a:lnTo>
                    <a:pt x="1637" y="395"/>
                  </a:lnTo>
                  <a:lnTo>
                    <a:pt x="1654" y="390"/>
                  </a:lnTo>
                  <a:lnTo>
                    <a:pt x="1659" y="390"/>
                  </a:lnTo>
                  <a:lnTo>
                    <a:pt x="1713" y="395"/>
                  </a:lnTo>
                  <a:lnTo>
                    <a:pt x="1744" y="390"/>
                  </a:lnTo>
                  <a:lnTo>
                    <a:pt x="1798" y="395"/>
                  </a:lnTo>
                  <a:lnTo>
                    <a:pt x="1793" y="444"/>
                  </a:lnTo>
                  <a:lnTo>
                    <a:pt x="1760" y="485"/>
                  </a:lnTo>
                  <a:lnTo>
                    <a:pt x="1744" y="494"/>
                  </a:lnTo>
                  <a:lnTo>
                    <a:pt x="1722" y="494"/>
                  </a:lnTo>
                  <a:lnTo>
                    <a:pt x="1706" y="506"/>
                  </a:lnTo>
                  <a:lnTo>
                    <a:pt x="1706" y="494"/>
                  </a:lnTo>
                  <a:lnTo>
                    <a:pt x="1696" y="506"/>
                  </a:lnTo>
                  <a:lnTo>
                    <a:pt x="1685" y="501"/>
                  </a:lnTo>
                  <a:lnTo>
                    <a:pt x="1659" y="506"/>
                  </a:lnTo>
                  <a:lnTo>
                    <a:pt x="1642" y="506"/>
                  </a:lnTo>
                  <a:lnTo>
                    <a:pt x="1630" y="485"/>
                  </a:lnTo>
                  <a:lnTo>
                    <a:pt x="1630" y="485"/>
                  </a:lnTo>
                  <a:lnTo>
                    <a:pt x="1630" y="485"/>
                  </a:lnTo>
                  <a:close/>
                  <a:moveTo>
                    <a:pt x="1588" y="411"/>
                  </a:moveTo>
                  <a:lnTo>
                    <a:pt x="1600" y="390"/>
                  </a:lnTo>
                  <a:lnTo>
                    <a:pt x="1604" y="390"/>
                  </a:lnTo>
                  <a:lnTo>
                    <a:pt x="1604" y="395"/>
                  </a:lnTo>
                  <a:lnTo>
                    <a:pt x="1588" y="411"/>
                  </a:lnTo>
                  <a:lnTo>
                    <a:pt x="1588" y="411"/>
                  </a:lnTo>
                  <a:lnTo>
                    <a:pt x="1588" y="411"/>
                  </a:lnTo>
                  <a:close/>
                  <a:moveTo>
                    <a:pt x="1630" y="407"/>
                  </a:moveTo>
                  <a:lnTo>
                    <a:pt x="1621" y="407"/>
                  </a:lnTo>
                  <a:lnTo>
                    <a:pt x="1637" y="395"/>
                  </a:lnTo>
                  <a:lnTo>
                    <a:pt x="1630" y="407"/>
                  </a:lnTo>
                  <a:lnTo>
                    <a:pt x="1630" y="407"/>
                  </a:lnTo>
                  <a:lnTo>
                    <a:pt x="1630" y="407"/>
                  </a:lnTo>
                  <a:close/>
                  <a:moveTo>
                    <a:pt x="1604" y="423"/>
                  </a:moveTo>
                  <a:lnTo>
                    <a:pt x="1604" y="407"/>
                  </a:lnTo>
                  <a:lnTo>
                    <a:pt x="1616" y="395"/>
                  </a:lnTo>
                  <a:lnTo>
                    <a:pt x="1621" y="407"/>
                  </a:lnTo>
                  <a:lnTo>
                    <a:pt x="1604" y="423"/>
                  </a:lnTo>
                  <a:lnTo>
                    <a:pt x="1604" y="423"/>
                  </a:lnTo>
                  <a:lnTo>
                    <a:pt x="1604" y="423"/>
                  </a:lnTo>
                  <a:close/>
                  <a:moveTo>
                    <a:pt x="1621" y="423"/>
                  </a:moveTo>
                  <a:lnTo>
                    <a:pt x="1621" y="407"/>
                  </a:lnTo>
                  <a:lnTo>
                    <a:pt x="1630" y="407"/>
                  </a:lnTo>
                  <a:lnTo>
                    <a:pt x="1630" y="411"/>
                  </a:lnTo>
                  <a:lnTo>
                    <a:pt x="1621" y="423"/>
                  </a:lnTo>
                  <a:lnTo>
                    <a:pt x="1621" y="423"/>
                  </a:lnTo>
                  <a:lnTo>
                    <a:pt x="1621" y="423"/>
                  </a:lnTo>
                  <a:close/>
                  <a:moveTo>
                    <a:pt x="1550" y="485"/>
                  </a:moveTo>
                  <a:lnTo>
                    <a:pt x="1550" y="461"/>
                  </a:lnTo>
                  <a:lnTo>
                    <a:pt x="1567" y="449"/>
                  </a:lnTo>
                  <a:lnTo>
                    <a:pt x="1578" y="428"/>
                  </a:lnTo>
                  <a:lnTo>
                    <a:pt x="1588" y="423"/>
                  </a:lnTo>
                  <a:lnTo>
                    <a:pt x="1604" y="411"/>
                  </a:lnTo>
                  <a:lnTo>
                    <a:pt x="1604" y="428"/>
                  </a:lnTo>
                  <a:lnTo>
                    <a:pt x="1600" y="449"/>
                  </a:lnTo>
                  <a:lnTo>
                    <a:pt x="1583" y="468"/>
                  </a:lnTo>
                  <a:lnTo>
                    <a:pt x="1550" y="485"/>
                  </a:lnTo>
                  <a:lnTo>
                    <a:pt x="1550" y="485"/>
                  </a:lnTo>
                  <a:lnTo>
                    <a:pt x="1550" y="485"/>
                  </a:lnTo>
                  <a:close/>
                  <a:moveTo>
                    <a:pt x="1604" y="444"/>
                  </a:moveTo>
                  <a:lnTo>
                    <a:pt x="1616" y="428"/>
                  </a:lnTo>
                  <a:lnTo>
                    <a:pt x="1630" y="423"/>
                  </a:lnTo>
                  <a:lnTo>
                    <a:pt x="1630" y="428"/>
                  </a:lnTo>
                  <a:lnTo>
                    <a:pt x="1604" y="444"/>
                  </a:lnTo>
                  <a:lnTo>
                    <a:pt x="1604" y="444"/>
                  </a:lnTo>
                  <a:lnTo>
                    <a:pt x="1604" y="444"/>
                  </a:lnTo>
                  <a:close/>
                  <a:moveTo>
                    <a:pt x="1831" y="428"/>
                  </a:moveTo>
                  <a:lnTo>
                    <a:pt x="1831" y="423"/>
                  </a:lnTo>
                  <a:lnTo>
                    <a:pt x="1836" y="428"/>
                  </a:lnTo>
                  <a:lnTo>
                    <a:pt x="1831" y="428"/>
                  </a:lnTo>
                  <a:lnTo>
                    <a:pt x="1831" y="428"/>
                  </a:lnTo>
                  <a:lnTo>
                    <a:pt x="1831" y="428"/>
                  </a:lnTo>
                  <a:close/>
                  <a:moveTo>
                    <a:pt x="1621" y="440"/>
                  </a:moveTo>
                  <a:lnTo>
                    <a:pt x="1621" y="428"/>
                  </a:lnTo>
                  <a:lnTo>
                    <a:pt x="1630" y="428"/>
                  </a:lnTo>
                  <a:lnTo>
                    <a:pt x="1621" y="440"/>
                  </a:lnTo>
                  <a:lnTo>
                    <a:pt x="1621" y="440"/>
                  </a:lnTo>
                  <a:lnTo>
                    <a:pt x="1621" y="440"/>
                  </a:lnTo>
                  <a:close/>
                  <a:moveTo>
                    <a:pt x="1588" y="468"/>
                  </a:moveTo>
                  <a:lnTo>
                    <a:pt x="1604" y="440"/>
                  </a:lnTo>
                  <a:lnTo>
                    <a:pt x="1600" y="461"/>
                  </a:lnTo>
                  <a:lnTo>
                    <a:pt x="1588" y="468"/>
                  </a:lnTo>
                  <a:lnTo>
                    <a:pt x="1588" y="468"/>
                  </a:lnTo>
                  <a:lnTo>
                    <a:pt x="1588" y="468"/>
                  </a:lnTo>
                  <a:close/>
                  <a:moveTo>
                    <a:pt x="1928" y="449"/>
                  </a:moveTo>
                  <a:lnTo>
                    <a:pt x="1940" y="444"/>
                  </a:lnTo>
                  <a:lnTo>
                    <a:pt x="1940" y="449"/>
                  </a:lnTo>
                  <a:lnTo>
                    <a:pt x="1928" y="449"/>
                  </a:lnTo>
                  <a:lnTo>
                    <a:pt x="1928" y="449"/>
                  </a:lnTo>
                  <a:lnTo>
                    <a:pt x="1928" y="449"/>
                  </a:lnTo>
                  <a:close/>
                  <a:moveTo>
                    <a:pt x="1798" y="468"/>
                  </a:moveTo>
                  <a:lnTo>
                    <a:pt x="1793" y="461"/>
                  </a:lnTo>
                  <a:lnTo>
                    <a:pt x="1798" y="449"/>
                  </a:lnTo>
                  <a:lnTo>
                    <a:pt x="1805" y="449"/>
                  </a:lnTo>
                  <a:lnTo>
                    <a:pt x="1798" y="468"/>
                  </a:lnTo>
                  <a:lnTo>
                    <a:pt x="1798" y="468"/>
                  </a:lnTo>
                  <a:lnTo>
                    <a:pt x="1798" y="468"/>
                  </a:lnTo>
                  <a:close/>
                  <a:moveTo>
                    <a:pt x="2037" y="477"/>
                  </a:moveTo>
                  <a:lnTo>
                    <a:pt x="2037" y="468"/>
                  </a:lnTo>
                  <a:lnTo>
                    <a:pt x="2048" y="468"/>
                  </a:lnTo>
                  <a:lnTo>
                    <a:pt x="2037" y="477"/>
                  </a:lnTo>
                  <a:lnTo>
                    <a:pt x="2037" y="477"/>
                  </a:lnTo>
                  <a:lnTo>
                    <a:pt x="2037" y="477"/>
                  </a:lnTo>
                  <a:close/>
                  <a:moveTo>
                    <a:pt x="1512" y="485"/>
                  </a:moveTo>
                  <a:lnTo>
                    <a:pt x="1533" y="477"/>
                  </a:lnTo>
                  <a:lnTo>
                    <a:pt x="1512" y="485"/>
                  </a:lnTo>
                  <a:lnTo>
                    <a:pt x="1512" y="485"/>
                  </a:lnTo>
                  <a:lnTo>
                    <a:pt x="1512" y="485"/>
                  </a:lnTo>
                  <a:close/>
                  <a:moveTo>
                    <a:pt x="1529" y="501"/>
                  </a:moveTo>
                  <a:lnTo>
                    <a:pt x="1533" y="485"/>
                  </a:lnTo>
                  <a:lnTo>
                    <a:pt x="1545" y="485"/>
                  </a:lnTo>
                  <a:lnTo>
                    <a:pt x="1550" y="485"/>
                  </a:lnTo>
                  <a:lnTo>
                    <a:pt x="1529" y="501"/>
                  </a:lnTo>
                  <a:lnTo>
                    <a:pt x="1529" y="501"/>
                  </a:lnTo>
                  <a:lnTo>
                    <a:pt x="1529" y="501"/>
                  </a:lnTo>
                  <a:close/>
                  <a:moveTo>
                    <a:pt x="2053" y="501"/>
                  </a:moveTo>
                  <a:lnTo>
                    <a:pt x="2063" y="494"/>
                  </a:lnTo>
                  <a:lnTo>
                    <a:pt x="2063" y="501"/>
                  </a:lnTo>
                  <a:lnTo>
                    <a:pt x="2053" y="501"/>
                  </a:lnTo>
                  <a:lnTo>
                    <a:pt x="2053" y="501"/>
                  </a:lnTo>
                  <a:lnTo>
                    <a:pt x="2053" y="501"/>
                  </a:lnTo>
                  <a:close/>
                  <a:moveTo>
                    <a:pt x="1760" y="506"/>
                  </a:moveTo>
                  <a:lnTo>
                    <a:pt x="1751" y="501"/>
                  </a:lnTo>
                  <a:lnTo>
                    <a:pt x="1760" y="494"/>
                  </a:lnTo>
                  <a:lnTo>
                    <a:pt x="1760" y="506"/>
                  </a:lnTo>
                  <a:lnTo>
                    <a:pt x="1760" y="506"/>
                  </a:lnTo>
                  <a:lnTo>
                    <a:pt x="1760" y="506"/>
                  </a:lnTo>
                  <a:close/>
                  <a:moveTo>
                    <a:pt x="1744" y="518"/>
                  </a:moveTo>
                  <a:lnTo>
                    <a:pt x="1751" y="501"/>
                  </a:lnTo>
                  <a:lnTo>
                    <a:pt x="1751" y="506"/>
                  </a:lnTo>
                  <a:lnTo>
                    <a:pt x="1744" y="518"/>
                  </a:lnTo>
                  <a:lnTo>
                    <a:pt x="1744" y="518"/>
                  </a:lnTo>
                  <a:lnTo>
                    <a:pt x="1744" y="518"/>
                  </a:lnTo>
                  <a:close/>
                  <a:moveTo>
                    <a:pt x="1630" y="522"/>
                  </a:moveTo>
                  <a:lnTo>
                    <a:pt x="1616" y="522"/>
                  </a:lnTo>
                  <a:lnTo>
                    <a:pt x="1604" y="506"/>
                  </a:lnTo>
                  <a:lnTo>
                    <a:pt x="1630" y="518"/>
                  </a:lnTo>
                  <a:lnTo>
                    <a:pt x="1630" y="522"/>
                  </a:lnTo>
                  <a:lnTo>
                    <a:pt x="1630" y="522"/>
                  </a:lnTo>
                  <a:lnTo>
                    <a:pt x="1630" y="522"/>
                  </a:lnTo>
                  <a:close/>
                  <a:moveTo>
                    <a:pt x="2247" y="577"/>
                  </a:moveTo>
                  <a:lnTo>
                    <a:pt x="2237" y="572"/>
                  </a:lnTo>
                  <a:lnTo>
                    <a:pt x="2247" y="572"/>
                  </a:lnTo>
                  <a:lnTo>
                    <a:pt x="2247" y="577"/>
                  </a:lnTo>
                  <a:lnTo>
                    <a:pt x="2247" y="577"/>
                  </a:lnTo>
                  <a:lnTo>
                    <a:pt x="2247" y="577"/>
                  </a:lnTo>
                  <a:close/>
                  <a:moveTo>
                    <a:pt x="2070" y="596"/>
                  </a:moveTo>
                  <a:lnTo>
                    <a:pt x="2070" y="577"/>
                  </a:lnTo>
                  <a:lnTo>
                    <a:pt x="2074" y="572"/>
                  </a:lnTo>
                  <a:lnTo>
                    <a:pt x="2070" y="589"/>
                  </a:lnTo>
                  <a:lnTo>
                    <a:pt x="2070" y="596"/>
                  </a:lnTo>
                  <a:lnTo>
                    <a:pt x="2070" y="596"/>
                  </a:lnTo>
                  <a:lnTo>
                    <a:pt x="2070" y="596"/>
                  </a:lnTo>
                  <a:close/>
                  <a:moveTo>
                    <a:pt x="2469" y="1333"/>
                  </a:moveTo>
                  <a:lnTo>
                    <a:pt x="2485" y="1309"/>
                  </a:lnTo>
                  <a:lnTo>
                    <a:pt x="2485" y="1316"/>
                  </a:lnTo>
                  <a:lnTo>
                    <a:pt x="2469" y="1333"/>
                  </a:lnTo>
                  <a:lnTo>
                    <a:pt x="2469" y="1333"/>
                  </a:lnTo>
                  <a:lnTo>
                    <a:pt x="2469" y="1333"/>
                  </a:lnTo>
                  <a:close/>
                  <a:moveTo>
                    <a:pt x="2464" y="1366"/>
                  </a:moveTo>
                  <a:lnTo>
                    <a:pt x="2452" y="1349"/>
                  </a:lnTo>
                  <a:lnTo>
                    <a:pt x="2464" y="1349"/>
                  </a:lnTo>
                  <a:lnTo>
                    <a:pt x="2464" y="1366"/>
                  </a:lnTo>
                  <a:lnTo>
                    <a:pt x="2464" y="1366"/>
                  </a:lnTo>
                  <a:lnTo>
                    <a:pt x="2464" y="1366"/>
                  </a:lnTo>
                  <a:close/>
                  <a:moveTo>
                    <a:pt x="2464" y="1370"/>
                  </a:moveTo>
                  <a:lnTo>
                    <a:pt x="2464" y="1366"/>
                  </a:lnTo>
                  <a:lnTo>
                    <a:pt x="2464" y="1370"/>
                  </a:lnTo>
                  <a:lnTo>
                    <a:pt x="2464" y="1370"/>
                  </a:lnTo>
                  <a:lnTo>
                    <a:pt x="2464" y="1370"/>
                  </a:lnTo>
                  <a:close/>
                  <a:moveTo>
                    <a:pt x="2086" y="2086"/>
                  </a:moveTo>
                  <a:lnTo>
                    <a:pt x="2086" y="2074"/>
                  </a:lnTo>
                  <a:lnTo>
                    <a:pt x="2091" y="2070"/>
                  </a:lnTo>
                  <a:lnTo>
                    <a:pt x="2100" y="2074"/>
                  </a:lnTo>
                  <a:lnTo>
                    <a:pt x="2086" y="2086"/>
                  </a:lnTo>
                  <a:lnTo>
                    <a:pt x="2086" y="2086"/>
                  </a:lnTo>
                  <a:lnTo>
                    <a:pt x="2086" y="2086"/>
                  </a:lnTo>
                  <a:close/>
                  <a:moveTo>
                    <a:pt x="2020" y="2143"/>
                  </a:moveTo>
                  <a:lnTo>
                    <a:pt x="2011" y="2131"/>
                  </a:lnTo>
                  <a:lnTo>
                    <a:pt x="2015" y="2119"/>
                  </a:lnTo>
                  <a:lnTo>
                    <a:pt x="2020" y="2126"/>
                  </a:lnTo>
                  <a:lnTo>
                    <a:pt x="2020" y="2143"/>
                  </a:lnTo>
                  <a:lnTo>
                    <a:pt x="2020" y="2143"/>
                  </a:lnTo>
                  <a:lnTo>
                    <a:pt x="2020" y="2143"/>
                  </a:lnTo>
                  <a:close/>
                  <a:moveTo>
                    <a:pt x="1836" y="2221"/>
                  </a:moveTo>
                  <a:lnTo>
                    <a:pt x="1836" y="2214"/>
                  </a:lnTo>
                  <a:lnTo>
                    <a:pt x="1852" y="2202"/>
                  </a:lnTo>
                  <a:lnTo>
                    <a:pt x="1836" y="2221"/>
                  </a:lnTo>
                  <a:lnTo>
                    <a:pt x="1836" y="2221"/>
                  </a:lnTo>
                  <a:lnTo>
                    <a:pt x="1836" y="2221"/>
                  </a:lnTo>
                  <a:close/>
                  <a:moveTo>
                    <a:pt x="1805" y="2254"/>
                  </a:moveTo>
                  <a:lnTo>
                    <a:pt x="1805" y="2242"/>
                  </a:lnTo>
                  <a:lnTo>
                    <a:pt x="1805" y="2254"/>
                  </a:lnTo>
                  <a:lnTo>
                    <a:pt x="1805" y="2254"/>
                  </a:lnTo>
                  <a:lnTo>
                    <a:pt x="1805" y="2254"/>
                  </a:lnTo>
                  <a:close/>
                  <a:moveTo>
                    <a:pt x="1784" y="2329"/>
                  </a:moveTo>
                  <a:lnTo>
                    <a:pt x="1777" y="2313"/>
                  </a:lnTo>
                  <a:lnTo>
                    <a:pt x="1793" y="2308"/>
                  </a:lnTo>
                  <a:lnTo>
                    <a:pt x="1793" y="2313"/>
                  </a:lnTo>
                  <a:lnTo>
                    <a:pt x="1784" y="2329"/>
                  </a:lnTo>
                  <a:lnTo>
                    <a:pt x="1784" y="2329"/>
                  </a:lnTo>
                  <a:lnTo>
                    <a:pt x="1784" y="2329"/>
                  </a:lnTo>
                  <a:close/>
                  <a:moveTo>
                    <a:pt x="1793" y="2436"/>
                  </a:moveTo>
                  <a:lnTo>
                    <a:pt x="1793" y="2403"/>
                  </a:lnTo>
                  <a:lnTo>
                    <a:pt x="1798" y="2403"/>
                  </a:lnTo>
                  <a:lnTo>
                    <a:pt x="1798" y="2419"/>
                  </a:lnTo>
                  <a:lnTo>
                    <a:pt x="1793" y="2436"/>
                  </a:lnTo>
                  <a:lnTo>
                    <a:pt x="1793" y="2436"/>
                  </a:lnTo>
                  <a:lnTo>
                    <a:pt x="1793" y="2436"/>
                  </a:lnTo>
                  <a:close/>
                </a:path>
              </a:pathLst>
            </a:custGeom>
            <a:solidFill>
              <a:schemeClr val="bg2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62" name="Freeform 404">
              <a:extLst>
                <a:ext uri="{FF2B5EF4-FFF2-40B4-BE49-F238E27FC236}">
                  <a16:creationId xmlns:a16="http://schemas.microsoft.com/office/drawing/2014/main" id="{CB61F014-3186-49F7-B64D-468A461AA68A}"/>
                </a:ext>
              </a:extLst>
            </p:cNvPr>
            <p:cNvSpPr>
              <a:spLocks/>
            </p:cNvSpPr>
            <p:nvPr/>
          </p:nvSpPr>
          <p:spPr bwMode="gray">
            <a:xfrm>
              <a:off x="7116695" y="2420534"/>
              <a:ext cx="36220" cy="19494"/>
            </a:xfrm>
            <a:custGeom>
              <a:avLst/>
              <a:gdLst>
                <a:gd name="T0" fmla="*/ 5 w 236"/>
                <a:gd name="T1" fmla="*/ 78 h 127"/>
                <a:gd name="T2" fmla="*/ 55 w 236"/>
                <a:gd name="T3" fmla="*/ 21 h 127"/>
                <a:gd name="T4" fmla="*/ 88 w 236"/>
                <a:gd name="T5" fmla="*/ 0 h 127"/>
                <a:gd name="T6" fmla="*/ 116 w 236"/>
                <a:gd name="T7" fmla="*/ 4 h 127"/>
                <a:gd name="T8" fmla="*/ 116 w 236"/>
                <a:gd name="T9" fmla="*/ 21 h 127"/>
                <a:gd name="T10" fmla="*/ 166 w 236"/>
                <a:gd name="T11" fmla="*/ 28 h 127"/>
                <a:gd name="T12" fmla="*/ 182 w 236"/>
                <a:gd name="T13" fmla="*/ 21 h 127"/>
                <a:gd name="T14" fmla="*/ 203 w 236"/>
                <a:gd name="T15" fmla="*/ 28 h 127"/>
                <a:gd name="T16" fmla="*/ 203 w 236"/>
                <a:gd name="T17" fmla="*/ 45 h 127"/>
                <a:gd name="T18" fmla="*/ 203 w 236"/>
                <a:gd name="T19" fmla="*/ 54 h 127"/>
                <a:gd name="T20" fmla="*/ 203 w 236"/>
                <a:gd name="T21" fmla="*/ 61 h 127"/>
                <a:gd name="T22" fmla="*/ 225 w 236"/>
                <a:gd name="T23" fmla="*/ 61 h 127"/>
                <a:gd name="T24" fmla="*/ 236 w 236"/>
                <a:gd name="T25" fmla="*/ 78 h 127"/>
                <a:gd name="T26" fmla="*/ 225 w 236"/>
                <a:gd name="T27" fmla="*/ 94 h 127"/>
                <a:gd name="T28" fmla="*/ 236 w 236"/>
                <a:gd name="T29" fmla="*/ 111 h 127"/>
                <a:gd name="T30" fmla="*/ 236 w 236"/>
                <a:gd name="T31" fmla="*/ 111 h 127"/>
                <a:gd name="T32" fmla="*/ 199 w 236"/>
                <a:gd name="T33" fmla="*/ 118 h 127"/>
                <a:gd name="T34" fmla="*/ 187 w 236"/>
                <a:gd name="T35" fmla="*/ 111 h 127"/>
                <a:gd name="T36" fmla="*/ 182 w 236"/>
                <a:gd name="T37" fmla="*/ 118 h 127"/>
                <a:gd name="T38" fmla="*/ 142 w 236"/>
                <a:gd name="T39" fmla="*/ 118 h 127"/>
                <a:gd name="T40" fmla="*/ 116 w 236"/>
                <a:gd name="T41" fmla="*/ 111 h 127"/>
                <a:gd name="T42" fmla="*/ 92 w 236"/>
                <a:gd name="T43" fmla="*/ 127 h 127"/>
                <a:gd name="T44" fmla="*/ 62 w 236"/>
                <a:gd name="T45" fmla="*/ 127 h 127"/>
                <a:gd name="T46" fmla="*/ 38 w 236"/>
                <a:gd name="T47" fmla="*/ 118 h 127"/>
                <a:gd name="T48" fmla="*/ 21 w 236"/>
                <a:gd name="T49" fmla="*/ 118 h 127"/>
                <a:gd name="T50" fmla="*/ 5 w 236"/>
                <a:gd name="T51" fmla="*/ 99 h 127"/>
                <a:gd name="T52" fmla="*/ 0 w 236"/>
                <a:gd name="T53" fmla="*/ 94 h 127"/>
                <a:gd name="T54" fmla="*/ 5 w 236"/>
                <a:gd name="T55" fmla="*/ 78 h 127"/>
                <a:gd name="T56" fmla="*/ 5 w 236"/>
                <a:gd name="T57" fmla="*/ 78 h 127"/>
                <a:gd name="T58" fmla="*/ 5 w 236"/>
                <a:gd name="T59" fmla="*/ 78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36" h="127">
                  <a:moveTo>
                    <a:pt x="5" y="78"/>
                  </a:moveTo>
                  <a:lnTo>
                    <a:pt x="55" y="21"/>
                  </a:lnTo>
                  <a:lnTo>
                    <a:pt x="88" y="0"/>
                  </a:lnTo>
                  <a:lnTo>
                    <a:pt x="116" y="4"/>
                  </a:lnTo>
                  <a:lnTo>
                    <a:pt x="116" y="21"/>
                  </a:lnTo>
                  <a:lnTo>
                    <a:pt x="166" y="28"/>
                  </a:lnTo>
                  <a:lnTo>
                    <a:pt x="182" y="21"/>
                  </a:lnTo>
                  <a:lnTo>
                    <a:pt x="203" y="28"/>
                  </a:lnTo>
                  <a:lnTo>
                    <a:pt x="203" y="45"/>
                  </a:lnTo>
                  <a:lnTo>
                    <a:pt x="203" y="54"/>
                  </a:lnTo>
                  <a:lnTo>
                    <a:pt x="203" y="61"/>
                  </a:lnTo>
                  <a:lnTo>
                    <a:pt x="225" y="61"/>
                  </a:lnTo>
                  <a:lnTo>
                    <a:pt x="236" y="78"/>
                  </a:lnTo>
                  <a:lnTo>
                    <a:pt x="225" y="94"/>
                  </a:lnTo>
                  <a:lnTo>
                    <a:pt x="236" y="111"/>
                  </a:lnTo>
                  <a:lnTo>
                    <a:pt x="236" y="111"/>
                  </a:lnTo>
                  <a:lnTo>
                    <a:pt x="199" y="118"/>
                  </a:lnTo>
                  <a:lnTo>
                    <a:pt x="187" y="111"/>
                  </a:lnTo>
                  <a:lnTo>
                    <a:pt x="182" y="118"/>
                  </a:lnTo>
                  <a:lnTo>
                    <a:pt x="142" y="118"/>
                  </a:lnTo>
                  <a:lnTo>
                    <a:pt x="116" y="111"/>
                  </a:lnTo>
                  <a:lnTo>
                    <a:pt x="92" y="127"/>
                  </a:lnTo>
                  <a:lnTo>
                    <a:pt x="62" y="127"/>
                  </a:lnTo>
                  <a:lnTo>
                    <a:pt x="38" y="118"/>
                  </a:lnTo>
                  <a:lnTo>
                    <a:pt x="21" y="118"/>
                  </a:lnTo>
                  <a:lnTo>
                    <a:pt x="5" y="99"/>
                  </a:lnTo>
                  <a:lnTo>
                    <a:pt x="0" y="94"/>
                  </a:lnTo>
                  <a:lnTo>
                    <a:pt x="5" y="78"/>
                  </a:lnTo>
                  <a:lnTo>
                    <a:pt x="5" y="78"/>
                  </a:lnTo>
                  <a:lnTo>
                    <a:pt x="5" y="78"/>
                  </a:lnTo>
                  <a:close/>
                </a:path>
              </a:pathLst>
            </a:custGeom>
            <a:solidFill>
              <a:schemeClr val="bg2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63" name="Freeform 405">
              <a:extLst>
                <a:ext uri="{FF2B5EF4-FFF2-40B4-BE49-F238E27FC236}">
                  <a16:creationId xmlns:a16="http://schemas.microsoft.com/office/drawing/2014/main" id="{A443F09C-0EFD-41FE-ACB3-FD6EF4E0BCBB}"/>
                </a:ext>
              </a:extLst>
            </p:cNvPr>
            <p:cNvSpPr>
              <a:spLocks/>
            </p:cNvSpPr>
            <p:nvPr/>
          </p:nvSpPr>
          <p:spPr bwMode="gray">
            <a:xfrm>
              <a:off x="6402116" y="2218231"/>
              <a:ext cx="67069" cy="40982"/>
            </a:xfrm>
            <a:custGeom>
              <a:avLst/>
              <a:gdLst>
                <a:gd name="T0" fmla="*/ 400 w 437"/>
                <a:gd name="T1" fmla="*/ 200 h 267"/>
                <a:gd name="T2" fmla="*/ 366 w 437"/>
                <a:gd name="T3" fmla="*/ 210 h 267"/>
                <a:gd name="T4" fmla="*/ 345 w 437"/>
                <a:gd name="T5" fmla="*/ 193 h 267"/>
                <a:gd name="T6" fmla="*/ 329 w 437"/>
                <a:gd name="T7" fmla="*/ 193 h 267"/>
                <a:gd name="T8" fmla="*/ 324 w 437"/>
                <a:gd name="T9" fmla="*/ 200 h 267"/>
                <a:gd name="T10" fmla="*/ 303 w 437"/>
                <a:gd name="T11" fmla="*/ 200 h 267"/>
                <a:gd name="T12" fmla="*/ 291 w 437"/>
                <a:gd name="T13" fmla="*/ 217 h 267"/>
                <a:gd name="T14" fmla="*/ 286 w 437"/>
                <a:gd name="T15" fmla="*/ 217 h 267"/>
                <a:gd name="T16" fmla="*/ 286 w 437"/>
                <a:gd name="T17" fmla="*/ 226 h 267"/>
                <a:gd name="T18" fmla="*/ 260 w 437"/>
                <a:gd name="T19" fmla="*/ 226 h 267"/>
                <a:gd name="T20" fmla="*/ 270 w 437"/>
                <a:gd name="T21" fmla="*/ 238 h 267"/>
                <a:gd name="T22" fmla="*/ 270 w 437"/>
                <a:gd name="T23" fmla="*/ 255 h 267"/>
                <a:gd name="T24" fmla="*/ 206 w 437"/>
                <a:gd name="T25" fmla="*/ 267 h 267"/>
                <a:gd name="T26" fmla="*/ 140 w 437"/>
                <a:gd name="T27" fmla="*/ 238 h 267"/>
                <a:gd name="T28" fmla="*/ 92 w 437"/>
                <a:gd name="T29" fmla="*/ 255 h 267"/>
                <a:gd name="T30" fmla="*/ 43 w 437"/>
                <a:gd name="T31" fmla="*/ 255 h 267"/>
                <a:gd name="T32" fmla="*/ 43 w 437"/>
                <a:gd name="T33" fmla="*/ 217 h 267"/>
                <a:gd name="T34" fmla="*/ 38 w 437"/>
                <a:gd name="T35" fmla="*/ 200 h 267"/>
                <a:gd name="T36" fmla="*/ 17 w 437"/>
                <a:gd name="T37" fmla="*/ 184 h 267"/>
                <a:gd name="T38" fmla="*/ 0 w 437"/>
                <a:gd name="T39" fmla="*/ 165 h 267"/>
                <a:gd name="T40" fmla="*/ 17 w 437"/>
                <a:gd name="T41" fmla="*/ 160 h 267"/>
                <a:gd name="T42" fmla="*/ 5 w 437"/>
                <a:gd name="T43" fmla="*/ 144 h 267"/>
                <a:gd name="T44" fmla="*/ 5 w 437"/>
                <a:gd name="T45" fmla="*/ 127 h 267"/>
                <a:gd name="T46" fmla="*/ 33 w 437"/>
                <a:gd name="T47" fmla="*/ 122 h 267"/>
                <a:gd name="T48" fmla="*/ 43 w 437"/>
                <a:gd name="T49" fmla="*/ 99 h 267"/>
                <a:gd name="T50" fmla="*/ 17 w 437"/>
                <a:gd name="T51" fmla="*/ 73 h 267"/>
                <a:gd name="T52" fmla="*/ 0 w 437"/>
                <a:gd name="T53" fmla="*/ 44 h 267"/>
                <a:gd name="T54" fmla="*/ 5 w 437"/>
                <a:gd name="T55" fmla="*/ 28 h 267"/>
                <a:gd name="T56" fmla="*/ 22 w 437"/>
                <a:gd name="T57" fmla="*/ 0 h 267"/>
                <a:gd name="T58" fmla="*/ 43 w 437"/>
                <a:gd name="T59" fmla="*/ 16 h 267"/>
                <a:gd name="T60" fmla="*/ 38 w 437"/>
                <a:gd name="T61" fmla="*/ 28 h 267"/>
                <a:gd name="T62" fmla="*/ 38 w 437"/>
                <a:gd name="T63" fmla="*/ 44 h 267"/>
                <a:gd name="T64" fmla="*/ 76 w 437"/>
                <a:gd name="T65" fmla="*/ 33 h 267"/>
                <a:gd name="T66" fmla="*/ 130 w 437"/>
                <a:gd name="T67" fmla="*/ 49 h 267"/>
                <a:gd name="T68" fmla="*/ 152 w 437"/>
                <a:gd name="T69" fmla="*/ 44 h 267"/>
                <a:gd name="T70" fmla="*/ 215 w 437"/>
                <a:gd name="T71" fmla="*/ 56 h 267"/>
                <a:gd name="T72" fmla="*/ 239 w 437"/>
                <a:gd name="T73" fmla="*/ 49 h 267"/>
                <a:gd name="T74" fmla="*/ 270 w 437"/>
                <a:gd name="T75" fmla="*/ 28 h 267"/>
                <a:gd name="T76" fmla="*/ 329 w 437"/>
                <a:gd name="T77" fmla="*/ 11 h 267"/>
                <a:gd name="T78" fmla="*/ 345 w 437"/>
                <a:gd name="T79" fmla="*/ 11 h 267"/>
                <a:gd name="T80" fmla="*/ 357 w 437"/>
                <a:gd name="T81" fmla="*/ 28 h 267"/>
                <a:gd name="T82" fmla="*/ 366 w 437"/>
                <a:gd name="T83" fmla="*/ 16 h 267"/>
                <a:gd name="T84" fmla="*/ 378 w 437"/>
                <a:gd name="T85" fmla="*/ 28 h 267"/>
                <a:gd name="T86" fmla="*/ 395 w 437"/>
                <a:gd name="T87" fmla="*/ 28 h 267"/>
                <a:gd name="T88" fmla="*/ 400 w 437"/>
                <a:gd name="T89" fmla="*/ 44 h 267"/>
                <a:gd name="T90" fmla="*/ 437 w 437"/>
                <a:gd name="T91" fmla="*/ 49 h 267"/>
                <a:gd name="T92" fmla="*/ 437 w 437"/>
                <a:gd name="T93" fmla="*/ 73 h 267"/>
                <a:gd name="T94" fmla="*/ 411 w 437"/>
                <a:gd name="T95" fmla="*/ 73 h 267"/>
                <a:gd name="T96" fmla="*/ 395 w 437"/>
                <a:gd name="T97" fmla="*/ 99 h 267"/>
                <a:gd name="T98" fmla="*/ 395 w 437"/>
                <a:gd name="T99" fmla="*/ 139 h 267"/>
                <a:gd name="T100" fmla="*/ 378 w 437"/>
                <a:gd name="T101" fmla="*/ 139 h 267"/>
                <a:gd name="T102" fmla="*/ 362 w 437"/>
                <a:gd name="T103" fmla="*/ 160 h 267"/>
                <a:gd name="T104" fmla="*/ 378 w 437"/>
                <a:gd name="T105" fmla="*/ 160 h 267"/>
                <a:gd name="T106" fmla="*/ 400 w 437"/>
                <a:gd name="T107" fmla="*/ 200 h 267"/>
                <a:gd name="T108" fmla="*/ 400 w 437"/>
                <a:gd name="T109" fmla="*/ 200 h 267"/>
                <a:gd name="T110" fmla="*/ 400 w 437"/>
                <a:gd name="T111" fmla="*/ 200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437" h="267">
                  <a:moveTo>
                    <a:pt x="400" y="200"/>
                  </a:moveTo>
                  <a:lnTo>
                    <a:pt x="366" y="210"/>
                  </a:lnTo>
                  <a:lnTo>
                    <a:pt x="345" y="193"/>
                  </a:lnTo>
                  <a:lnTo>
                    <a:pt x="329" y="193"/>
                  </a:lnTo>
                  <a:lnTo>
                    <a:pt x="324" y="200"/>
                  </a:lnTo>
                  <a:lnTo>
                    <a:pt x="303" y="200"/>
                  </a:lnTo>
                  <a:lnTo>
                    <a:pt x="291" y="217"/>
                  </a:lnTo>
                  <a:lnTo>
                    <a:pt x="286" y="217"/>
                  </a:lnTo>
                  <a:lnTo>
                    <a:pt x="286" y="226"/>
                  </a:lnTo>
                  <a:lnTo>
                    <a:pt x="260" y="226"/>
                  </a:lnTo>
                  <a:lnTo>
                    <a:pt x="270" y="238"/>
                  </a:lnTo>
                  <a:lnTo>
                    <a:pt x="270" y="255"/>
                  </a:lnTo>
                  <a:lnTo>
                    <a:pt x="206" y="267"/>
                  </a:lnTo>
                  <a:lnTo>
                    <a:pt x="140" y="238"/>
                  </a:lnTo>
                  <a:lnTo>
                    <a:pt x="92" y="255"/>
                  </a:lnTo>
                  <a:lnTo>
                    <a:pt x="43" y="255"/>
                  </a:lnTo>
                  <a:lnTo>
                    <a:pt x="43" y="217"/>
                  </a:lnTo>
                  <a:lnTo>
                    <a:pt x="38" y="200"/>
                  </a:lnTo>
                  <a:lnTo>
                    <a:pt x="17" y="184"/>
                  </a:lnTo>
                  <a:lnTo>
                    <a:pt x="0" y="165"/>
                  </a:lnTo>
                  <a:lnTo>
                    <a:pt x="17" y="160"/>
                  </a:lnTo>
                  <a:lnTo>
                    <a:pt x="5" y="144"/>
                  </a:lnTo>
                  <a:lnTo>
                    <a:pt x="5" y="127"/>
                  </a:lnTo>
                  <a:lnTo>
                    <a:pt x="33" y="122"/>
                  </a:lnTo>
                  <a:lnTo>
                    <a:pt x="43" y="99"/>
                  </a:lnTo>
                  <a:lnTo>
                    <a:pt x="17" y="73"/>
                  </a:lnTo>
                  <a:lnTo>
                    <a:pt x="0" y="44"/>
                  </a:lnTo>
                  <a:lnTo>
                    <a:pt x="5" y="28"/>
                  </a:lnTo>
                  <a:lnTo>
                    <a:pt x="22" y="0"/>
                  </a:lnTo>
                  <a:lnTo>
                    <a:pt x="43" y="16"/>
                  </a:lnTo>
                  <a:lnTo>
                    <a:pt x="38" y="28"/>
                  </a:lnTo>
                  <a:lnTo>
                    <a:pt x="38" y="44"/>
                  </a:lnTo>
                  <a:lnTo>
                    <a:pt x="76" y="33"/>
                  </a:lnTo>
                  <a:lnTo>
                    <a:pt x="130" y="49"/>
                  </a:lnTo>
                  <a:lnTo>
                    <a:pt x="152" y="44"/>
                  </a:lnTo>
                  <a:lnTo>
                    <a:pt x="215" y="56"/>
                  </a:lnTo>
                  <a:lnTo>
                    <a:pt x="239" y="49"/>
                  </a:lnTo>
                  <a:lnTo>
                    <a:pt x="270" y="28"/>
                  </a:lnTo>
                  <a:lnTo>
                    <a:pt x="329" y="11"/>
                  </a:lnTo>
                  <a:lnTo>
                    <a:pt x="345" y="11"/>
                  </a:lnTo>
                  <a:lnTo>
                    <a:pt x="357" y="28"/>
                  </a:lnTo>
                  <a:lnTo>
                    <a:pt x="366" y="16"/>
                  </a:lnTo>
                  <a:lnTo>
                    <a:pt x="378" y="28"/>
                  </a:lnTo>
                  <a:lnTo>
                    <a:pt x="395" y="28"/>
                  </a:lnTo>
                  <a:lnTo>
                    <a:pt x="400" y="44"/>
                  </a:lnTo>
                  <a:lnTo>
                    <a:pt x="437" y="49"/>
                  </a:lnTo>
                  <a:lnTo>
                    <a:pt x="437" y="73"/>
                  </a:lnTo>
                  <a:lnTo>
                    <a:pt x="411" y="73"/>
                  </a:lnTo>
                  <a:lnTo>
                    <a:pt x="395" y="99"/>
                  </a:lnTo>
                  <a:lnTo>
                    <a:pt x="395" y="139"/>
                  </a:lnTo>
                  <a:lnTo>
                    <a:pt x="378" y="139"/>
                  </a:lnTo>
                  <a:lnTo>
                    <a:pt x="362" y="160"/>
                  </a:lnTo>
                  <a:lnTo>
                    <a:pt x="378" y="160"/>
                  </a:lnTo>
                  <a:lnTo>
                    <a:pt x="400" y="200"/>
                  </a:lnTo>
                  <a:lnTo>
                    <a:pt x="400" y="200"/>
                  </a:lnTo>
                  <a:lnTo>
                    <a:pt x="400" y="200"/>
                  </a:lnTo>
                  <a:close/>
                </a:path>
              </a:pathLst>
            </a:custGeom>
            <a:solidFill>
              <a:schemeClr val="bg2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64" name="Freeform 406">
              <a:extLst>
                <a:ext uri="{FF2B5EF4-FFF2-40B4-BE49-F238E27FC236}">
                  <a16:creationId xmlns:a16="http://schemas.microsoft.com/office/drawing/2014/main" id="{C3BDF92F-B92F-4BEE-A102-38105AF3E4D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389420" y="2687303"/>
              <a:ext cx="14427" cy="10898"/>
            </a:xfrm>
            <a:custGeom>
              <a:avLst/>
              <a:gdLst>
                <a:gd name="T0" fmla="*/ 66 w 94"/>
                <a:gd name="T1" fmla="*/ 5 h 71"/>
                <a:gd name="T2" fmla="*/ 56 w 94"/>
                <a:gd name="T3" fmla="*/ 21 h 71"/>
                <a:gd name="T4" fmla="*/ 56 w 94"/>
                <a:gd name="T5" fmla="*/ 45 h 71"/>
                <a:gd name="T6" fmla="*/ 56 w 94"/>
                <a:gd name="T7" fmla="*/ 62 h 71"/>
                <a:gd name="T8" fmla="*/ 40 w 94"/>
                <a:gd name="T9" fmla="*/ 71 h 71"/>
                <a:gd name="T10" fmla="*/ 11 w 94"/>
                <a:gd name="T11" fmla="*/ 26 h 71"/>
                <a:gd name="T12" fmla="*/ 0 w 94"/>
                <a:gd name="T13" fmla="*/ 26 h 71"/>
                <a:gd name="T14" fmla="*/ 28 w 94"/>
                <a:gd name="T15" fmla="*/ 21 h 71"/>
                <a:gd name="T16" fmla="*/ 61 w 94"/>
                <a:gd name="T17" fmla="*/ 0 h 71"/>
                <a:gd name="T18" fmla="*/ 66 w 94"/>
                <a:gd name="T19" fmla="*/ 0 h 71"/>
                <a:gd name="T20" fmla="*/ 66 w 94"/>
                <a:gd name="T21" fmla="*/ 5 h 71"/>
                <a:gd name="T22" fmla="*/ 66 w 94"/>
                <a:gd name="T23" fmla="*/ 5 h 71"/>
                <a:gd name="T24" fmla="*/ 66 w 94"/>
                <a:gd name="T25" fmla="*/ 5 h 71"/>
                <a:gd name="T26" fmla="*/ 77 w 94"/>
                <a:gd name="T27" fmla="*/ 5 h 71"/>
                <a:gd name="T28" fmla="*/ 94 w 94"/>
                <a:gd name="T29" fmla="*/ 45 h 71"/>
                <a:gd name="T30" fmla="*/ 66 w 94"/>
                <a:gd name="T31" fmla="*/ 45 h 71"/>
                <a:gd name="T32" fmla="*/ 66 w 94"/>
                <a:gd name="T33" fmla="*/ 17 h 71"/>
                <a:gd name="T34" fmla="*/ 77 w 94"/>
                <a:gd name="T35" fmla="*/ 5 h 71"/>
                <a:gd name="T36" fmla="*/ 77 w 94"/>
                <a:gd name="T37" fmla="*/ 5 h 71"/>
                <a:gd name="T38" fmla="*/ 77 w 94"/>
                <a:gd name="T39" fmla="*/ 5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94" h="71">
                  <a:moveTo>
                    <a:pt x="66" y="5"/>
                  </a:moveTo>
                  <a:lnTo>
                    <a:pt x="56" y="21"/>
                  </a:lnTo>
                  <a:lnTo>
                    <a:pt x="56" y="45"/>
                  </a:lnTo>
                  <a:lnTo>
                    <a:pt x="56" y="62"/>
                  </a:lnTo>
                  <a:lnTo>
                    <a:pt x="40" y="71"/>
                  </a:lnTo>
                  <a:lnTo>
                    <a:pt x="11" y="26"/>
                  </a:lnTo>
                  <a:lnTo>
                    <a:pt x="0" y="26"/>
                  </a:lnTo>
                  <a:lnTo>
                    <a:pt x="28" y="21"/>
                  </a:lnTo>
                  <a:lnTo>
                    <a:pt x="61" y="0"/>
                  </a:lnTo>
                  <a:lnTo>
                    <a:pt x="66" y="0"/>
                  </a:lnTo>
                  <a:lnTo>
                    <a:pt x="66" y="5"/>
                  </a:lnTo>
                  <a:lnTo>
                    <a:pt x="66" y="5"/>
                  </a:lnTo>
                  <a:lnTo>
                    <a:pt x="66" y="5"/>
                  </a:lnTo>
                  <a:close/>
                  <a:moveTo>
                    <a:pt x="77" y="5"/>
                  </a:moveTo>
                  <a:lnTo>
                    <a:pt x="94" y="45"/>
                  </a:lnTo>
                  <a:lnTo>
                    <a:pt x="66" y="45"/>
                  </a:lnTo>
                  <a:lnTo>
                    <a:pt x="66" y="17"/>
                  </a:lnTo>
                  <a:lnTo>
                    <a:pt x="77" y="5"/>
                  </a:lnTo>
                  <a:lnTo>
                    <a:pt x="77" y="5"/>
                  </a:lnTo>
                  <a:lnTo>
                    <a:pt x="77" y="5"/>
                  </a:lnTo>
                  <a:close/>
                </a:path>
              </a:pathLst>
            </a:custGeom>
            <a:solidFill>
              <a:schemeClr val="bg2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65" name="Freeform 407">
              <a:extLst>
                <a:ext uri="{FF2B5EF4-FFF2-40B4-BE49-F238E27FC236}">
                  <a16:creationId xmlns:a16="http://schemas.microsoft.com/office/drawing/2014/main" id="{D1331B6E-0E1C-4781-ACC2-668B8C6F5EB0}"/>
                </a:ext>
              </a:extLst>
            </p:cNvPr>
            <p:cNvSpPr>
              <a:spLocks/>
            </p:cNvSpPr>
            <p:nvPr/>
          </p:nvSpPr>
          <p:spPr bwMode="gray">
            <a:xfrm>
              <a:off x="6473942" y="2768961"/>
              <a:ext cx="19184" cy="22870"/>
            </a:xfrm>
            <a:custGeom>
              <a:avLst/>
              <a:gdLst>
                <a:gd name="T0" fmla="*/ 21 w 125"/>
                <a:gd name="T1" fmla="*/ 149 h 149"/>
                <a:gd name="T2" fmla="*/ 21 w 125"/>
                <a:gd name="T3" fmla="*/ 123 h 149"/>
                <a:gd name="T4" fmla="*/ 17 w 125"/>
                <a:gd name="T5" fmla="*/ 111 h 149"/>
                <a:gd name="T6" fmla="*/ 17 w 125"/>
                <a:gd name="T7" fmla="*/ 45 h 149"/>
                <a:gd name="T8" fmla="*/ 0 w 125"/>
                <a:gd name="T9" fmla="*/ 28 h 149"/>
                <a:gd name="T10" fmla="*/ 0 w 125"/>
                <a:gd name="T11" fmla="*/ 28 h 149"/>
                <a:gd name="T12" fmla="*/ 0 w 125"/>
                <a:gd name="T13" fmla="*/ 12 h 149"/>
                <a:gd name="T14" fmla="*/ 5 w 125"/>
                <a:gd name="T15" fmla="*/ 12 h 149"/>
                <a:gd name="T16" fmla="*/ 21 w 125"/>
                <a:gd name="T17" fmla="*/ 21 h 149"/>
                <a:gd name="T18" fmla="*/ 21 w 125"/>
                <a:gd name="T19" fmla="*/ 28 h 149"/>
                <a:gd name="T20" fmla="*/ 54 w 125"/>
                <a:gd name="T21" fmla="*/ 28 h 149"/>
                <a:gd name="T22" fmla="*/ 59 w 125"/>
                <a:gd name="T23" fmla="*/ 0 h 149"/>
                <a:gd name="T24" fmla="*/ 76 w 125"/>
                <a:gd name="T25" fmla="*/ 4 h 149"/>
                <a:gd name="T26" fmla="*/ 92 w 125"/>
                <a:gd name="T27" fmla="*/ 0 h 149"/>
                <a:gd name="T28" fmla="*/ 109 w 125"/>
                <a:gd name="T29" fmla="*/ 0 h 149"/>
                <a:gd name="T30" fmla="*/ 102 w 125"/>
                <a:gd name="T31" fmla="*/ 38 h 149"/>
                <a:gd name="T32" fmla="*/ 102 w 125"/>
                <a:gd name="T33" fmla="*/ 38 h 149"/>
                <a:gd name="T34" fmla="*/ 109 w 125"/>
                <a:gd name="T35" fmla="*/ 38 h 149"/>
                <a:gd name="T36" fmla="*/ 125 w 125"/>
                <a:gd name="T37" fmla="*/ 45 h 149"/>
                <a:gd name="T38" fmla="*/ 125 w 125"/>
                <a:gd name="T39" fmla="*/ 61 h 149"/>
                <a:gd name="T40" fmla="*/ 102 w 125"/>
                <a:gd name="T41" fmla="*/ 82 h 149"/>
                <a:gd name="T42" fmla="*/ 92 w 125"/>
                <a:gd name="T43" fmla="*/ 99 h 149"/>
                <a:gd name="T44" fmla="*/ 92 w 125"/>
                <a:gd name="T45" fmla="*/ 99 h 149"/>
                <a:gd name="T46" fmla="*/ 71 w 125"/>
                <a:gd name="T47" fmla="*/ 132 h 149"/>
                <a:gd name="T48" fmla="*/ 54 w 125"/>
                <a:gd name="T49" fmla="*/ 149 h 149"/>
                <a:gd name="T50" fmla="*/ 21 w 125"/>
                <a:gd name="T51" fmla="*/ 149 h 149"/>
                <a:gd name="T52" fmla="*/ 21 w 125"/>
                <a:gd name="T53" fmla="*/ 149 h 149"/>
                <a:gd name="T54" fmla="*/ 21 w 125"/>
                <a:gd name="T55" fmla="*/ 149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25" h="149">
                  <a:moveTo>
                    <a:pt x="21" y="149"/>
                  </a:moveTo>
                  <a:lnTo>
                    <a:pt x="21" y="123"/>
                  </a:lnTo>
                  <a:lnTo>
                    <a:pt x="17" y="111"/>
                  </a:lnTo>
                  <a:lnTo>
                    <a:pt x="17" y="45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12"/>
                  </a:lnTo>
                  <a:lnTo>
                    <a:pt x="5" y="12"/>
                  </a:lnTo>
                  <a:lnTo>
                    <a:pt x="21" y="21"/>
                  </a:lnTo>
                  <a:lnTo>
                    <a:pt x="21" y="28"/>
                  </a:lnTo>
                  <a:lnTo>
                    <a:pt x="54" y="28"/>
                  </a:lnTo>
                  <a:lnTo>
                    <a:pt x="59" y="0"/>
                  </a:lnTo>
                  <a:lnTo>
                    <a:pt x="76" y="4"/>
                  </a:lnTo>
                  <a:lnTo>
                    <a:pt x="92" y="0"/>
                  </a:lnTo>
                  <a:lnTo>
                    <a:pt x="109" y="0"/>
                  </a:lnTo>
                  <a:lnTo>
                    <a:pt x="102" y="38"/>
                  </a:lnTo>
                  <a:lnTo>
                    <a:pt x="102" y="38"/>
                  </a:lnTo>
                  <a:lnTo>
                    <a:pt x="109" y="38"/>
                  </a:lnTo>
                  <a:lnTo>
                    <a:pt x="125" y="45"/>
                  </a:lnTo>
                  <a:lnTo>
                    <a:pt x="125" y="61"/>
                  </a:lnTo>
                  <a:lnTo>
                    <a:pt x="102" y="82"/>
                  </a:lnTo>
                  <a:lnTo>
                    <a:pt x="92" y="99"/>
                  </a:lnTo>
                  <a:lnTo>
                    <a:pt x="92" y="99"/>
                  </a:lnTo>
                  <a:lnTo>
                    <a:pt x="71" y="132"/>
                  </a:lnTo>
                  <a:lnTo>
                    <a:pt x="54" y="149"/>
                  </a:lnTo>
                  <a:lnTo>
                    <a:pt x="21" y="149"/>
                  </a:lnTo>
                  <a:lnTo>
                    <a:pt x="21" y="149"/>
                  </a:lnTo>
                  <a:lnTo>
                    <a:pt x="21" y="149"/>
                  </a:lnTo>
                  <a:close/>
                </a:path>
              </a:pathLst>
            </a:custGeom>
            <a:solidFill>
              <a:schemeClr val="bg2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66" name="Freeform 408">
              <a:extLst>
                <a:ext uri="{FF2B5EF4-FFF2-40B4-BE49-F238E27FC236}">
                  <a16:creationId xmlns:a16="http://schemas.microsoft.com/office/drawing/2014/main" id="{6D3F91A5-E909-4D0A-8E0E-2316190F574E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643447" y="1498047"/>
              <a:ext cx="951698" cy="754874"/>
            </a:xfrm>
            <a:custGeom>
              <a:avLst/>
              <a:gdLst>
                <a:gd name="T0" fmla="*/ 3990 w 6201"/>
                <a:gd name="T1" fmla="*/ 834 h 4918"/>
                <a:gd name="T2" fmla="*/ 4108 w 6201"/>
                <a:gd name="T3" fmla="*/ 345 h 4918"/>
                <a:gd name="T4" fmla="*/ 4805 w 6201"/>
                <a:gd name="T5" fmla="*/ 74 h 4918"/>
                <a:gd name="T6" fmla="*/ 4465 w 6201"/>
                <a:gd name="T7" fmla="*/ 629 h 4918"/>
                <a:gd name="T8" fmla="*/ 3418 w 6201"/>
                <a:gd name="T9" fmla="*/ 638 h 4918"/>
                <a:gd name="T10" fmla="*/ 3721 w 6201"/>
                <a:gd name="T11" fmla="*/ 711 h 4918"/>
                <a:gd name="T12" fmla="*/ 3239 w 6201"/>
                <a:gd name="T13" fmla="*/ 806 h 4918"/>
                <a:gd name="T14" fmla="*/ 3352 w 6201"/>
                <a:gd name="T15" fmla="*/ 905 h 4918"/>
                <a:gd name="T16" fmla="*/ 3504 w 6201"/>
                <a:gd name="T17" fmla="*/ 978 h 4918"/>
                <a:gd name="T18" fmla="*/ 3440 w 6201"/>
                <a:gd name="T19" fmla="*/ 1292 h 4918"/>
                <a:gd name="T20" fmla="*/ 3078 w 6201"/>
                <a:gd name="T21" fmla="*/ 1044 h 4918"/>
                <a:gd name="T22" fmla="*/ 2327 w 6201"/>
                <a:gd name="T23" fmla="*/ 1292 h 4918"/>
                <a:gd name="T24" fmla="*/ 2899 w 6201"/>
                <a:gd name="T25" fmla="*/ 1222 h 4918"/>
                <a:gd name="T26" fmla="*/ 1276 w 6201"/>
                <a:gd name="T27" fmla="*/ 1160 h 4918"/>
                <a:gd name="T28" fmla="*/ 3062 w 6201"/>
                <a:gd name="T29" fmla="*/ 1366 h 4918"/>
                <a:gd name="T30" fmla="*/ 2948 w 6201"/>
                <a:gd name="T31" fmla="*/ 1486 h 4918"/>
                <a:gd name="T32" fmla="*/ 3910 w 6201"/>
                <a:gd name="T33" fmla="*/ 1992 h 4918"/>
                <a:gd name="T34" fmla="*/ 3990 w 6201"/>
                <a:gd name="T35" fmla="*/ 1526 h 4918"/>
                <a:gd name="T36" fmla="*/ 4729 w 6201"/>
                <a:gd name="T37" fmla="*/ 1826 h 4918"/>
                <a:gd name="T38" fmla="*/ 5138 w 6201"/>
                <a:gd name="T39" fmla="*/ 2119 h 4918"/>
                <a:gd name="T40" fmla="*/ 5490 w 6201"/>
                <a:gd name="T41" fmla="*/ 2374 h 4918"/>
                <a:gd name="T42" fmla="*/ 5183 w 6201"/>
                <a:gd name="T43" fmla="*/ 2452 h 4918"/>
                <a:gd name="T44" fmla="*/ 5145 w 6201"/>
                <a:gd name="T45" fmla="*/ 2847 h 4918"/>
                <a:gd name="T46" fmla="*/ 4611 w 6201"/>
                <a:gd name="T47" fmla="*/ 2613 h 4918"/>
                <a:gd name="T48" fmla="*/ 4460 w 6201"/>
                <a:gd name="T49" fmla="*/ 1515 h 4918"/>
                <a:gd name="T50" fmla="*/ 1928 w 6201"/>
                <a:gd name="T51" fmla="*/ 2115 h 4918"/>
                <a:gd name="T52" fmla="*/ 2301 w 6201"/>
                <a:gd name="T53" fmla="*/ 1737 h 4918"/>
                <a:gd name="T54" fmla="*/ 4318 w 6201"/>
                <a:gd name="T55" fmla="*/ 1682 h 4918"/>
                <a:gd name="T56" fmla="*/ 1226 w 6201"/>
                <a:gd name="T57" fmla="*/ 4222 h 4918"/>
                <a:gd name="T58" fmla="*/ 898 w 6201"/>
                <a:gd name="T59" fmla="*/ 3933 h 4918"/>
                <a:gd name="T60" fmla="*/ 600 w 6201"/>
                <a:gd name="T61" fmla="*/ 2025 h 4918"/>
                <a:gd name="T62" fmla="*/ 1167 w 6201"/>
                <a:gd name="T63" fmla="*/ 2070 h 4918"/>
                <a:gd name="T64" fmla="*/ 2500 w 6201"/>
                <a:gd name="T65" fmla="*/ 2181 h 4918"/>
                <a:gd name="T66" fmla="*/ 3310 w 6201"/>
                <a:gd name="T67" fmla="*/ 2103 h 4918"/>
                <a:gd name="T68" fmla="*/ 3693 w 6201"/>
                <a:gd name="T69" fmla="*/ 2252 h 4918"/>
                <a:gd name="T70" fmla="*/ 3801 w 6201"/>
                <a:gd name="T71" fmla="*/ 2429 h 4918"/>
                <a:gd name="T72" fmla="*/ 3239 w 6201"/>
                <a:gd name="T73" fmla="*/ 3263 h 4918"/>
                <a:gd name="T74" fmla="*/ 4378 w 6201"/>
                <a:gd name="T75" fmla="*/ 3279 h 4918"/>
                <a:gd name="T76" fmla="*/ 5124 w 6201"/>
                <a:gd name="T77" fmla="*/ 3317 h 4918"/>
                <a:gd name="T78" fmla="*/ 5544 w 6201"/>
                <a:gd name="T79" fmla="*/ 3506 h 4918"/>
                <a:gd name="T80" fmla="*/ 5939 w 6201"/>
                <a:gd name="T81" fmla="*/ 3832 h 4918"/>
                <a:gd name="T82" fmla="*/ 5544 w 6201"/>
                <a:gd name="T83" fmla="*/ 4552 h 4918"/>
                <a:gd name="T84" fmla="*/ 4772 w 6201"/>
                <a:gd name="T85" fmla="*/ 1781 h 4918"/>
                <a:gd name="T86" fmla="*/ 3019 w 6201"/>
                <a:gd name="T87" fmla="*/ 2065 h 4918"/>
                <a:gd name="T88" fmla="*/ 378 w 6201"/>
                <a:gd name="T89" fmla="*/ 2119 h 4918"/>
                <a:gd name="T90" fmla="*/ 3563 w 6201"/>
                <a:gd name="T91" fmla="*/ 2115 h 4918"/>
                <a:gd name="T92" fmla="*/ 2861 w 6201"/>
                <a:gd name="T93" fmla="*/ 2209 h 4918"/>
                <a:gd name="T94" fmla="*/ 2306 w 6201"/>
                <a:gd name="T95" fmla="*/ 2308 h 4918"/>
                <a:gd name="T96" fmla="*/ 4016 w 6201"/>
                <a:gd name="T97" fmla="*/ 2502 h 4918"/>
                <a:gd name="T98" fmla="*/ 5523 w 6201"/>
                <a:gd name="T99" fmla="*/ 2523 h 4918"/>
                <a:gd name="T100" fmla="*/ 4422 w 6201"/>
                <a:gd name="T101" fmla="*/ 2724 h 4918"/>
                <a:gd name="T102" fmla="*/ 4125 w 6201"/>
                <a:gd name="T103" fmla="*/ 2840 h 4918"/>
                <a:gd name="T104" fmla="*/ 5365 w 6201"/>
                <a:gd name="T105" fmla="*/ 3135 h 4918"/>
                <a:gd name="T106" fmla="*/ 4285 w 6201"/>
                <a:gd name="T107" fmla="*/ 3499 h 4918"/>
                <a:gd name="T108" fmla="*/ 763 w 6201"/>
                <a:gd name="T109" fmla="*/ 3683 h 4918"/>
                <a:gd name="T110" fmla="*/ 832 w 6201"/>
                <a:gd name="T111" fmla="*/ 3848 h 4918"/>
                <a:gd name="T112" fmla="*/ 811 w 6201"/>
                <a:gd name="T113" fmla="*/ 3860 h 4918"/>
                <a:gd name="T114" fmla="*/ 903 w 6201"/>
                <a:gd name="T115" fmla="*/ 3966 h 4918"/>
                <a:gd name="T116" fmla="*/ 5970 w 6201"/>
                <a:gd name="T117" fmla="*/ 4387 h 4918"/>
                <a:gd name="T118" fmla="*/ 6116 w 6201"/>
                <a:gd name="T119" fmla="*/ 4316 h 4918"/>
                <a:gd name="T120" fmla="*/ 1016 w 6201"/>
                <a:gd name="T121" fmla="*/ 4111 h 4918"/>
                <a:gd name="T122" fmla="*/ 6041 w 6201"/>
                <a:gd name="T123" fmla="*/ 4210 h 4918"/>
                <a:gd name="T124" fmla="*/ 5377 w 6201"/>
                <a:gd name="T125" fmla="*/ 4481 h 49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6201" h="4918">
                  <a:moveTo>
                    <a:pt x="4389" y="1099"/>
                  </a:moveTo>
                  <a:lnTo>
                    <a:pt x="4368" y="1082"/>
                  </a:lnTo>
                  <a:lnTo>
                    <a:pt x="4323" y="1122"/>
                  </a:lnTo>
                  <a:lnTo>
                    <a:pt x="4205" y="1144"/>
                  </a:lnTo>
                  <a:lnTo>
                    <a:pt x="4205" y="1139"/>
                  </a:lnTo>
                  <a:lnTo>
                    <a:pt x="4226" y="1106"/>
                  </a:lnTo>
                  <a:lnTo>
                    <a:pt x="4189" y="1087"/>
                  </a:lnTo>
                  <a:lnTo>
                    <a:pt x="4172" y="1099"/>
                  </a:lnTo>
                  <a:lnTo>
                    <a:pt x="4134" y="1087"/>
                  </a:lnTo>
                  <a:lnTo>
                    <a:pt x="4141" y="1082"/>
                  </a:lnTo>
                  <a:lnTo>
                    <a:pt x="4134" y="1070"/>
                  </a:lnTo>
                  <a:lnTo>
                    <a:pt x="4158" y="1066"/>
                  </a:lnTo>
                  <a:lnTo>
                    <a:pt x="4120" y="1070"/>
                  </a:lnTo>
                  <a:lnTo>
                    <a:pt x="4087" y="1044"/>
                  </a:lnTo>
                  <a:lnTo>
                    <a:pt x="4104" y="1070"/>
                  </a:lnTo>
                  <a:lnTo>
                    <a:pt x="4134" y="1082"/>
                  </a:lnTo>
                  <a:lnTo>
                    <a:pt x="4120" y="1087"/>
                  </a:lnTo>
                  <a:lnTo>
                    <a:pt x="4125" y="1099"/>
                  </a:lnTo>
                  <a:lnTo>
                    <a:pt x="4066" y="1106"/>
                  </a:lnTo>
                  <a:lnTo>
                    <a:pt x="4044" y="1049"/>
                  </a:lnTo>
                  <a:lnTo>
                    <a:pt x="4033" y="1066"/>
                  </a:lnTo>
                  <a:lnTo>
                    <a:pt x="4049" y="1082"/>
                  </a:lnTo>
                  <a:lnTo>
                    <a:pt x="4054" y="1106"/>
                  </a:lnTo>
                  <a:lnTo>
                    <a:pt x="4016" y="1106"/>
                  </a:lnTo>
                  <a:lnTo>
                    <a:pt x="3978" y="1066"/>
                  </a:lnTo>
                  <a:lnTo>
                    <a:pt x="3990" y="1070"/>
                  </a:lnTo>
                  <a:lnTo>
                    <a:pt x="3978" y="1087"/>
                  </a:lnTo>
                  <a:lnTo>
                    <a:pt x="3990" y="1099"/>
                  </a:lnTo>
                  <a:lnTo>
                    <a:pt x="3957" y="1106"/>
                  </a:lnTo>
                  <a:lnTo>
                    <a:pt x="3924" y="1082"/>
                  </a:lnTo>
                  <a:lnTo>
                    <a:pt x="3936" y="1106"/>
                  </a:lnTo>
                  <a:lnTo>
                    <a:pt x="3974" y="1122"/>
                  </a:lnTo>
                  <a:lnTo>
                    <a:pt x="3936" y="1122"/>
                  </a:lnTo>
                  <a:lnTo>
                    <a:pt x="3834" y="1111"/>
                  </a:lnTo>
                  <a:lnTo>
                    <a:pt x="3827" y="1099"/>
                  </a:lnTo>
                  <a:lnTo>
                    <a:pt x="3839" y="1087"/>
                  </a:lnTo>
                  <a:lnTo>
                    <a:pt x="3818" y="1070"/>
                  </a:lnTo>
                  <a:lnTo>
                    <a:pt x="3834" y="1087"/>
                  </a:lnTo>
                  <a:lnTo>
                    <a:pt x="3811" y="1099"/>
                  </a:lnTo>
                  <a:lnTo>
                    <a:pt x="3811" y="1111"/>
                  </a:lnTo>
                  <a:lnTo>
                    <a:pt x="3759" y="1099"/>
                  </a:lnTo>
                  <a:lnTo>
                    <a:pt x="3747" y="1070"/>
                  </a:lnTo>
                  <a:lnTo>
                    <a:pt x="3747" y="1099"/>
                  </a:lnTo>
                  <a:lnTo>
                    <a:pt x="3759" y="1111"/>
                  </a:lnTo>
                  <a:lnTo>
                    <a:pt x="3688" y="1106"/>
                  </a:lnTo>
                  <a:lnTo>
                    <a:pt x="3693" y="1087"/>
                  </a:lnTo>
                  <a:lnTo>
                    <a:pt x="3676" y="1070"/>
                  </a:lnTo>
                  <a:lnTo>
                    <a:pt x="3688" y="1044"/>
                  </a:lnTo>
                  <a:lnTo>
                    <a:pt x="3671" y="1054"/>
                  </a:lnTo>
                  <a:lnTo>
                    <a:pt x="3676" y="1082"/>
                  </a:lnTo>
                  <a:lnTo>
                    <a:pt x="3671" y="1106"/>
                  </a:lnTo>
                  <a:lnTo>
                    <a:pt x="3671" y="1082"/>
                  </a:lnTo>
                  <a:lnTo>
                    <a:pt x="3655" y="1106"/>
                  </a:lnTo>
                  <a:lnTo>
                    <a:pt x="3600" y="1082"/>
                  </a:lnTo>
                  <a:lnTo>
                    <a:pt x="3617" y="1066"/>
                  </a:lnTo>
                  <a:lnTo>
                    <a:pt x="3612" y="1044"/>
                  </a:lnTo>
                  <a:lnTo>
                    <a:pt x="3688" y="1000"/>
                  </a:lnTo>
                  <a:lnTo>
                    <a:pt x="3676" y="1000"/>
                  </a:lnTo>
                  <a:lnTo>
                    <a:pt x="3801" y="988"/>
                  </a:lnTo>
                  <a:lnTo>
                    <a:pt x="3773" y="988"/>
                  </a:lnTo>
                  <a:lnTo>
                    <a:pt x="3796" y="978"/>
                  </a:lnTo>
                  <a:lnTo>
                    <a:pt x="3773" y="971"/>
                  </a:lnTo>
                  <a:lnTo>
                    <a:pt x="3796" y="962"/>
                  </a:lnTo>
                  <a:lnTo>
                    <a:pt x="3742" y="962"/>
                  </a:lnTo>
                  <a:lnTo>
                    <a:pt x="3730" y="955"/>
                  </a:lnTo>
                  <a:lnTo>
                    <a:pt x="3742" y="943"/>
                  </a:lnTo>
                  <a:lnTo>
                    <a:pt x="3742" y="933"/>
                  </a:lnTo>
                  <a:lnTo>
                    <a:pt x="3704" y="917"/>
                  </a:lnTo>
                  <a:lnTo>
                    <a:pt x="3709" y="889"/>
                  </a:lnTo>
                  <a:lnTo>
                    <a:pt x="3773" y="884"/>
                  </a:lnTo>
                  <a:lnTo>
                    <a:pt x="3827" y="889"/>
                  </a:lnTo>
                  <a:lnTo>
                    <a:pt x="3855" y="905"/>
                  </a:lnTo>
                  <a:lnTo>
                    <a:pt x="3881" y="943"/>
                  </a:lnTo>
                  <a:lnTo>
                    <a:pt x="3872" y="955"/>
                  </a:lnTo>
                  <a:lnTo>
                    <a:pt x="3886" y="943"/>
                  </a:lnTo>
                  <a:lnTo>
                    <a:pt x="3962" y="971"/>
                  </a:lnTo>
                  <a:lnTo>
                    <a:pt x="3957" y="955"/>
                  </a:lnTo>
                  <a:lnTo>
                    <a:pt x="4033" y="962"/>
                  </a:lnTo>
                  <a:lnTo>
                    <a:pt x="4011" y="943"/>
                  </a:lnTo>
                  <a:lnTo>
                    <a:pt x="4049" y="933"/>
                  </a:lnTo>
                  <a:lnTo>
                    <a:pt x="4104" y="877"/>
                  </a:lnTo>
                  <a:lnTo>
                    <a:pt x="4096" y="860"/>
                  </a:lnTo>
                  <a:lnTo>
                    <a:pt x="4120" y="851"/>
                  </a:lnTo>
                  <a:lnTo>
                    <a:pt x="4082" y="860"/>
                  </a:lnTo>
                  <a:lnTo>
                    <a:pt x="4087" y="877"/>
                  </a:lnTo>
                  <a:lnTo>
                    <a:pt x="4044" y="922"/>
                  </a:lnTo>
                  <a:lnTo>
                    <a:pt x="4000" y="938"/>
                  </a:lnTo>
                  <a:lnTo>
                    <a:pt x="3941" y="938"/>
                  </a:lnTo>
                  <a:lnTo>
                    <a:pt x="3936" y="933"/>
                  </a:lnTo>
                  <a:lnTo>
                    <a:pt x="3962" y="905"/>
                  </a:lnTo>
                  <a:lnTo>
                    <a:pt x="3936" y="922"/>
                  </a:lnTo>
                  <a:lnTo>
                    <a:pt x="3903" y="905"/>
                  </a:lnTo>
                  <a:lnTo>
                    <a:pt x="3924" y="889"/>
                  </a:lnTo>
                  <a:lnTo>
                    <a:pt x="3903" y="889"/>
                  </a:lnTo>
                  <a:lnTo>
                    <a:pt x="3974" y="884"/>
                  </a:lnTo>
                  <a:lnTo>
                    <a:pt x="3893" y="884"/>
                  </a:lnTo>
                  <a:lnTo>
                    <a:pt x="3881" y="877"/>
                  </a:lnTo>
                  <a:lnTo>
                    <a:pt x="3924" y="851"/>
                  </a:lnTo>
                  <a:lnTo>
                    <a:pt x="3978" y="851"/>
                  </a:lnTo>
                  <a:lnTo>
                    <a:pt x="3919" y="851"/>
                  </a:lnTo>
                  <a:lnTo>
                    <a:pt x="3924" y="834"/>
                  </a:lnTo>
                  <a:lnTo>
                    <a:pt x="3990" y="834"/>
                  </a:lnTo>
                  <a:lnTo>
                    <a:pt x="3936" y="827"/>
                  </a:lnTo>
                  <a:lnTo>
                    <a:pt x="3941" y="811"/>
                  </a:lnTo>
                  <a:lnTo>
                    <a:pt x="3957" y="811"/>
                  </a:lnTo>
                  <a:lnTo>
                    <a:pt x="3936" y="806"/>
                  </a:lnTo>
                  <a:lnTo>
                    <a:pt x="3957" y="773"/>
                  </a:lnTo>
                  <a:lnTo>
                    <a:pt x="3924" y="794"/>
                  </a:lnTo>
                  <a:lnTo>
                    <a:pt x="3936" y="811"/>
                  </a:lnTo>
                  <a:lnTo>
                    <a:pt x="3893" y="844"/>
                  </a:lnTo>
                  <a:lnTo>
                    <a:pt x="3839" y="851"/>
                  </a:lnTo>
                  <a:lnTo>
                    <a:pt x="3839" y="834"/>
                  </a:lnTo>
                  <a:lnTo>
                    <a:pt x="3865" y="827"/>
                  </a:lnTo>
                  <a:lnTo>
                    <a:pt x="3872" y="806"/>
                  </a:lnTo>
                  <a:lnTo>
                    <a:pt x="3848" y="827"/>
                  </a:lnTo>
                  <a:lnTo>
                    <a:pt x="3801" y="844"/>
                  </a:lnTo>
                  <a:lnTo>
                    <a:pt x="3747" y="844"/>
                  </a:lnTo>
                  <a:lnTo>
                    <a:pt x="3780" y="827"/>
                  </a:lnTo>
                  <a:lnTo>
                    <a:pt x="3747" y="827"/>
                  </a:lnTo>
                  <a:lnTo>
                    <a:pt x="3747" y="794"/>
                  </a:lnTo>
                  <a:lnTo>
                    <a:pt x="3780" y="778"/>
                  </a:lnTo>
                  <a:lnTo>
                    <a:pt x="3796" y="778"/>
                  </a:lnTo>
                  <a:lnTo>
                    <a:pt x="3780" y="773"/>
                  </a:lnTo>
                  <a:lnTo>
                    <a:pt x="3796" y="749"/>
                  </a:lnTo>
                  <a:lnTo>
                    <a:pt x="3924" y="716"/>
                  </a:lnTo>
                  <a:lnTo>
                    <a:pt x="4016" y="733"/>
                  </a:lnTo>
                  <a:lnTo>
                    <a:pt x="4108" y="773"/>
                  </a:lnTo>
                  <a:lnTo>
                    <a:pt x="4120" y="773"/>
                  </a:lnTo>
                  <a:lnTo>
                    <a:pt x="4096" y="756"/>
                  </a:lnTo>
                  <a:lnTo>
                    <a:pt x="4125" y="749"/>
                  </a:lnTo>
                  <a:lnTo>
                    <a:pt x="4082" y="749"/>
                  </a:lnTo>
                  <a:lnTo>
                    <a:pt x="4049" y="733"/>
                  </a:lnTo>
                  <a:lnTo>
                    <a:pt x="4158" y="733"/>
                  </a:lnTo>
                  <a:lnTo>
                    <a:pt x="4158" y="711"/>
                  </a:lnTo>
                  <a:lnTo>
                    <a:pt x="4172" y="700"/>
                  </a:lnTo>
                  <a:lnTo>
                    <a:pt x="4104" y="723"/>
                  </a:lnTo>
                  <a:lnTo>
                    <a:pt x="3945" y="700"/>
                  </a:lnTo>
                  <a:lnTo>
                    <a:pt x="3941" y="695"/>
                  </a:lnTo>
                  <a:lnTo>
                    <a:pt x="3962" y="683"/>
                  </a:lnTo>
                  <a:lnTo>
                    <a:pt x="4000" y="700"/>
                  </a:lnTo>
                  <a:lnTo>
                    <a:pt x="4044" y="700"/>
                  </a:lnTo>
                  <a:lnTo>
                    <a:pt x="3995" y="678"/>
                  </a:lnTo>
                  <a:lnTo>
                    <a:pt x="4000" y="667"/>
                  </a:lnTo>
                  <a:lnTo>
                    <a:pt x="3974" y="678"/>
                  </a:lnTo>
                  <a:lnTo>
                    <a:pt x="3962" y="638"/>
                  </a:lnTo>
                  <a:lnTo>
                    <a:pt x="3936" y="629"/>
                  </a:lnTo>
                  <a:lnTo>
                    <a:pt x="3924" y="605"/>
                  </a:lnTo>
                  <a:lnTo>
                    <a:pt x="3827" y="584"/>
                  </a:lnTo>
                  <a:lnTo>
                    <a:pt x="3827" y="556"/>
                  </a:lnTo>
                  <a:lnTo>
                    <a:pt x="3834" y="551"/>
                  </a:lnTo>
                  <a:lnTo>
                    <a:pt x="3910" y="556"/>
                  </a:lnTo>
                  <a:lnTo>
                    <a:pt x="3827" y="544"/>
                  </a:lnTo>
                  <a:lnTo>
                    <a:pt x="3811" y="527"/>
                  </a:lnTo>
                  <a:lnTo>
                    <a:pt x="3818" y="494"/>
                  </a:lnTo>
                  <a:lnTo>
                    <a:pt x="4011" y="501"/>
                  </a:lnTo>
                  <a:lnTo>
                    <a:pt x="4125" y="567"/>
                  </a:lnTo>
                  <a:lnTo>
                    <a:pt x="4141" y="589"/>
                  </a:lnTo>
                  <a:lnTo>
                    <a:pt x="4163" y="605"/>
                  </a:lnTo>
                  <a:lnTo>
                    <a:pt x="4151" y="605"/>
                  </a:lnTo>
                  <a:lnTo>
                    <a:pt x="4158" y="612"/>
                  </a:lnTo>
                  <a:lnTo>
                    <a:pt x="4179" y="605"/>
                  </a:lnTo>
                  <a:lnTo>
                    <a:pt x="4233" y="612"/>
                  </a:lnTo>
                  <a:lnTo>
                    <a:pt x="4285" y="600"/>
                  </a:lnTo>
                  <a:lnTo>
                    <a:pt x="4297" y="589"/>
                  </a:lnTo>
                  <a:lnTo>
                    <a:pt x="4217" y="600"/>
                  </a:lnTo>
                  <a:lnTo>
                    <a:pt x="4172" y="589"/>
                  </a:lnTo>
                  <a:lnTo>
                    <a:pt x="4163" y="556"/>
                  </a:lnTo>
                  <a:lnTo>
                    <a:pt x="4179" y="551"/>
                  </a:lnTo>
                  <a:lnTo>
                    <a:pt x="4125" y="544"/>
                  </a:lnTo>
                  <a:lnTo>
                    <a:pt x="4054" y="494"/>
                  </a:lnTo>
                  <a:lnTo>
                    <a:pt x="4264" y="456"/>
                  </a:lnTo>
                  <a:lnTo>
                    <a:pt x="4422" y="444"/>
                  </a:lnTo>
                  <a:lnTo>
                    <a:pt x="4281" y="440"/>
                  </a:lnTo>
                  <a:lnTo>
                    <a:pt x="4378" y="416"/>
                  </a:lnTo>
                  <a:lnTo>
                    <a:pt x="4529" y="400"/>
                  </a:lnTo>
                  <a:lnTo>
                    <a:pt x="4352" y="400"/>
                  </a:lnTo>
                  <a:lnTo>
                    <a:pt x="4352" y="378"/>
                  </a:lnTo>
                  <a:lnTo>
                    <a:pt x="4389" y="350"/>
                  </a:lnTo>
                  <a:lnTo>
                    <a:pt x="4503" y="307"/>
                  </a:lnTo>
                  <a:lnTo>
                    <a:pt x="4406" y="329"/>
                  </a:lnTo>
                  <a:lnTo>
                    <a:pt x="4356" y="362"/>
                  </a:lnTo>
                  <a:lnTo>
                    <a:pt x="4314" y="345"/>
                  </a:lnTo>
                  <a:lnTo>
                    <a:pt x="4340" y="362"/>
                  </a:lnTo>
                  <a:lnTo>
                    <a:pt x="4323" y="378"/>
                  </a:lnTo>
                  <a:lnTo>
                    <a:pt x="4335" y="383"/>
                  </a:lnTo>
                  <a:lnTo>
                    <a:pt x="4302" y="407"/>
                  </a:lnTo>
                  <a:lnTo>
                    <a:pt x="4210" y="435"/>
                  </a:lnTo>
                  <a:lnTo>
                    <a:pt x="4066" y="456"/>
                  </a:lnTo>
                  <a:lnTo>
                    <a:pt x="4054" y="444"/>
                  </a:lnTo>
                  <a:lnTo>
                    <a:pt x="4158" y="407"/>
                  </a:lnTo>
                  <a:lnTo>
                    <a:pt x="4044" y="435"/>
                  </a:lnTo>
                  <a:lnTo>
                    <a:pt x="4028" y="423"/>
                  </a:lnTo>
                  <a:lnTo>
                    <a:pt x="4054" y="407"/>
                  </a:lnTo>
                  <a:lnTo>
                    <a:pt x="4049" y="407"/>
                  </a:lnTo>
                  <a:lnTo>
                    <a:pt x="4011" y="416"/>
                  </a:lnTo>
                  <a:lnTo>
                    <a:pt x="4016" y="440"/>
                  </a:lnTo>
                  <a:lnTo>
                    <a:pt x="4011" y="456"/>
                  </a:lnTo>
                  <a:lnTo>
                    <a:pt x="3924" y="461"/>
                  </a:lnTo>
                  <a:lnTo>
                    <a:pt x="3865" y="456"/>
                  </a:lnTo>
                  <a:lnTo>
                    <a:pt x="3886" y="440"/>
                  </a:lnTo>
                  <a:lnTo>
                    <a:pt x="3848" y="456"/>
                  </a:lnTo>
                  <a:lnTo>
                    <a:pt x="3801" y="444"/>
                  </a:lnTo>
                  <a:lnTo>
                    <a:pt x="3886" y="383"/>
                  </a:lnTo>
                  <a:lnTo>
                    <a:pt x="4108" y="345"/>
                  </a:lnTo>
                  <a:lnTo>
                    <a:pt x="3881" y="367"/>
                  </a:lnTo>
                  <a:lnTo>
                    <a:pt x="3834" y="390"/>
                  </a:lnTo>
                  <a:lnTo>
                    <a:pt x="3773" y="440"/>
                  </a:lnTo>
                  <a:lnTo>
                    <a:pt x="3747" y="440"/>
                  </a:lnTo>
                  <a:lnTo>
                    <a:pt x="3617" y="390"/>
                  </a:lnTo>
                  <a:lnTo>
                    <a:pt x="3811" y="378"/>
                  </a:lnTo>
                  <a:lnTo>
                    <a:pt x="3945" y="329"/>
                  </a:lnTo>
                  <a:lnTo>
                    <a:pt x="3763" y="362"/>
                  </a:lnTo>
                  <a:lnTo>
                    <a:pt x="3584" y="378"/>
                  </a:lnTo>
                  <a:lnTo>
                    <a:pt x="3558" y="350"/>
                  </a:lnTo>
                  <a:lnTo>
                    <a:pt x="3579" y="333"/>
                  </a:lnTo>
                  <a:lnTo>
                    <a:pt x="3650" y="333"/>
                  </a:lnTo>
                  <a:lnTo>
                    <a:pt x="3579" y="324"/>
                  </a:lnTo>
                  <a:lnTo>
                    <a:pt x="3655" y="291"/>
                  </a:lnTo>
                  <a:lnTo>
                    <a:pt x="3773" y="296"/>
                  </a:lnTo>
                  <a:lnTo>
                    <a:pt x="3693" y="279"/>
                  </a:lnTo>
                  <a:lnTo>
                    <a:pt x="3546" y="312"/>
                  </a:lnTo>
                  <a:lnTo>
                    <a:pt x="3515" y="307"/>
                  </a:lnTo>
                  <a:lnTo>
                    <a:pt x="3612" y="272"/>
                  </a:lnTo>
                  <a:lnTo>
                    <a:pt x="3558" y="256"/>
                  </a:lnTo>
                  <a:lnTo>
                    <a:pt x="3478" y="291"/>
                  </a:lnTo>
                  <a:lnTo>
                    <a:pt x="3478" y="279"/>
                  </a:lnTo>
                  <a:lnTo>
                    <a:pt x="3440" y="267"/>
                  </a:lnTo>
                  <a:lnTo>
                    <a:pt x="3546" y="222"/>
                  </a:lnTo>
                  <a:lnTo>
                    <a:pt x="3600" y="218"/>
                  </a:lnTo>
                  <a:lnTo>
                    <a:pt x="3622" y="239"/>
                  </a:lnTo>
                  <a:lnTo>
                    <a:pt x="3633" y="222"/>
                  </a:lnTo>
                  <a:lnTo>
                    <a:pt x="3617" y="218"/>
                  </a:lnTo>
                  <a:lnTo>
                    <a:pt x="3650" y="218"/>
                  </a:lnTo>
                  <a:lnTo>
                    <a:pt x="3638" y="213"/>
                  </a:lnTo>
                  <a:lnTo>
                    <a:pt x="3709" y="185"/>
                  </a:lnTo>
                  <a:lnTo>
                    <a:pt x="3763" y="196"/>
                  </a:lnTo>
                  <a:lnTo>
                    <a:pt x="3773" y="201"/>
                  </a:lnTo>
                  <a:lnTo>
                    <a:pt x="3763" y="213"/>
                  </a:lnTo>
                  <a:lnTo>
                    <a:pt x="3801" y="222"/>
                  </a:lnTo>
                  <a:lnTo>
                    <a:pt x="3780" y="213"/>
                  </a:lnTo>
                  <a:lnTo>
                    <a:pt x="3796" y="196"/>
                  </a:lnTo>
                  <a:lnTo>
                    <a:pt x="3834" y="196"/>
                  </a:lnTo>
                  <a:lnTo>
                    <a:pt x="3893" y="234"/>
                  </a:lnTo>
                  <a:lnTo>
                    <a:pt x="3881" y="213"/>
                  </a:lnTo>
                  <a:lnTo>
                    <a:pt x="3919" y="213"/>
                  </a:lnTo>
                  <a:lnTo>
                    <a:pt x="3941" y="222"/>
                  </a:lnTo>
                  <a:lnTo>
                    <a:pt x="3924" y="213"/>
                  </a:lnTo>
                  <a:lnTo>
                    <a:pt x="3936" y="213"/>
                  </a:lnTo>
                  <a:lnTo>
                    <a:pt x="3957" y="222"/>
                  </a:lnTo>
                  <a:lnTo>
                    <a:pt x="3936" y="201"/>
                  </a:lnTo>
                  <a:lnTo>
                    <a:pt x="3811" y="185"/>
                  </a:lnTo>
                  <a:lnTo>
                    <a:pt x="3796" y="168"/>
                  </a:lnTo>
                  <a:lnTo>
                    <a:pt x="3903" y="156"/>
                  </a:lnTo>
                  <a:lnTo>
                    <a:pt x="3893" y="140"/>
                  </a:lnTo>
                  <a:lnTo>
                    <a:pt x="3865" y="128"/>
                  </a:lnTo>
                  <a:lnTo>
                    <a:pt x="3924" y="123"/>
                  </a:lnTo>
                  <a:lnTo>
                    <a:pt x="4033" y="144"/>
                  </a:lnTo>
                  <a:lnTo>
                    <a:pt x="4070" y="185"/>
                  </a:lnTo>
                  <a:lnTo>
                    <a:pt x="4054" y="196"/>
                  </a:lnTo>
                  <a:lnTo>
                    <a:pt x="4151" y="201"/>
                  </a:lnTo>
                  <a:lnTo>
                    <a:pt x="4096" y="185"/>
                  </a:lnTo>
                  <a:lnTo>
                    <a:pt x="4066" y="163"/>
                  </a:lnTo>
                  <a:lnTo>
                    <a:pt x="4096" y="156"/>
                  </a:lnTo>
                  <a:lnTo>
                    <a:pt x="4335" y="234"/>
                  </a:lnTo>
                  <a:lnTo>
                    <a:pt x="4285" y="201"/>
                  </a:lnTo>
                  <a:lnTo>
                    <a:pt x="4226" y="196"/>
                  </a:lnTo>
                  <a:lnTo>
                    <a:pt x="4210" y="185"/>
                  </a:lnTo>
                  <a:lnTo>
                    <a:pt x="4217" y="180"/>
                  </a:lnTo>
                  <a:lnTo>
                    <a:pt x="4151" y="163"/>
                  </a:lnTo>
                  <a:lnTo>
                    <a:pt x="4087" y="140"/>
                  </a:lnTo>
                  <a:lnTo>
                    <a:pt x="4104" y="111"/>
                  </a:lnTo>
                  <a:lnTo>
                    <a:pt x="4172" y="111"/>
                  </a:lnTo>
                  <a:lnTo>
                    <a:pt x="4108" y="95"/>
                  </a:lnTo>
                  <a:lnTo>
                    <a:pt x="4125" y="90"/>
                  </a:lnTo>
                  <a:lnTo>
                    <a:pt x="4233" y="107"/>
                  </a:lnTo>
                  <a:lnTo>
                    <a:pt x="4163" y="69"/>
                  </a:lnTo>
                  <a:lnTo>
                    <a:pt x="4172" y="57"/>
                  </a:lnTo>
                  <a:lnTo>
                    <a:pt x="4248" y="69"/>
                  </a:lnTo>
                  <a:lnTo>
                    <a:pt x="4285" y="90"/>
                  </a:lnTo>
                  <a:lnTo>
                    <a:pt x="4297" y="90"/>
                  </a:lnTo>
                  <a:lnTo>
                    <a:pt x="4281" y="85"/>
                  </a:lnTo>
                  <a:lnTo>
                    <a:pt x="4378" y="85"/>
                  </a:lnTo>
                  <a:lnTo>
                    <a:pt x="4285" y="74"/>
                  </a:lnTo>
                  <a:lnTo>
                    <a:pt x="4281" y="69"/>
                  </a:lnTo>
                  <a:lnTo>
                    <a:pt x="4302" y="57"/>
                  </a:lnTo>
                  <a:lnTo>
                    <a:pt x="4248" y="52"/>
                  </a:lnTo>
                  <a:lnTo>
                    <a:pt x="4285" y="36"/>
                  </a:lnTo>
                  <a:lnTo>
                    <a:pt x="4318" y="36"/>
                  </a:lnTo>
                  <a:lnTo>
                    <a:pt x="4340" y="52"/>
                  </a:lnTo>
                  <a:lnTo>
                    <a:pt x="4373" y="36"/>
                  </a:lnTo>
                  <a:lnTo>
                    <a:pt x="4378" y="41"/>
                  </a:lnTo>
                  <a:lnTo>
                    <a:pt x="4378" y="57"/>
                  </a:lnTo>
                  <a:lnTo>
                    <a:pt x="4411" y="57"/>
                  </a:lnTo>
                  <a:lnTo>
                    <a:pt x="4406" y="52"/>
                  </a:lnTo>
                  <a:lnTo>
                    <a:pt x="4432" y="41"/>
                  </a:lnTo>
                  <a:lnTo>
                    <a:pt x="4567" y="95"/>
                  </a:lnTo>
                  <a:lnTo>
                    <a:pt x="4541" y="128"/>
                  </a:lnTo>
                  <a:lnTo>
                    <a:pt x="4604" y="95"/>
                  </a:lnTo>
                  <a:lnTo>
                    <a:pt x="4536" y="74"/>
                  </a:lnTo>
                  <a:lnTo>
                    <a:pt x="4557" y="69"/>
                  </a:lnTo>
                  <a:lnTo>
                    <a:pt x="4460" y="29"/>
                  </a:lnTo>
                  <a:lnTo>
                    <a:pt x="4474" y="17"/>
                  </a:lnTo>
                  <a:lnTo>
                    <a:pt x="4663" y="17"/>
                  </a:lnTo>
                  <a:lnTo>
                    <a:pt x="4713" y="52"/>
                  </a:lnTo>
                  <a:lnTo>
                    <a:pt x="4798" y="85"/>
                  </a:lnTo>
                  <a:lnTo>
                    <a:pt x="4805" y="74"/>
                  </a:lnTo>
                  <a:lnTo>
                    <a:pt x="4718" y="41"/>
                  </a:lnTo>
                  <a:lnTo>
                    <a:pt x="4798" y="12"/>
                  </a:lnTo>
                  <a:lnTo>
                    <a:pt x="4859" y="12"/>
                  </a:lnTo>
                  <a:lnTo>
                    <a:pt x="4864" y="12"/>
                  </a:lnTo>
                  <a:lnTo>
                    <a:pt x="4852" y="29"/>
                  </a:lnTo>
                  <a:lnTo>
                    <a:pt x="4918" y="52"/>
                  </a:lnTo>
                  <a:lnTo>
                    <a:pt x="4874" y="29"/>
                  </a:lnTo>
                  <a:lnTo>
                    <a:pt x="4961" y="0"/>
                  </a:lnTo>
                  <a:lnTo>
                    <a:pt x="5020" y="17"/>
                  </a:lnTo>
                  <a:lnTo>
                    <a:pt x="5015" y="29"/>
                  </a:lnTo>
                  <a:lnTo>
                    <a:pt x="5053" y="17"/>
                  </a:lnTo>
                  <a:lnTo>
                    <a:pt x="5107" y="29"/>
                  </a:lnTo>
                  <a:lnTo>
                    <a:pt x="5107" y="41"/>
                  </a:lnTo>
                  <a:lnTo>
                    <a:pt x="5237" y="41"/>
                  </a:lnTo>
                  <a:lnTo>
                    <a:pt x="5074" y="95"/>
                  </a:lnTo>
                  <a:lnTo>
                    <a:pt x="5162" y="90"/>
                  </a:lnTo>
                  <a:lnTo>
                    <a:pt x="5275" y="57"/>
                  </a:lnTo>
                  <a:lnTo>
                    <a:pt x="5322" y="69"/>
                  </a:lnTo>
                  <a:lnTo>
                    <a:pt x="5306" y="69"/>
                  </a:lnTo>
                  <a:lnTo>
                    <a:pt x="5322" y="57"/>
                  </a:lnTo>
                  <a:lnTo>
                    <a:pt x="5306" y="52"/>
                  </a:lnTo>
                  <a:lnTo>
                    <a:pt x="5355" y="41"/>
                  </a:lnTo>
                  <a:lnTo>
                    <a:pt x="5339" y="52"/>
                  </a:lnTo>
                  <a:lnTo>
                    <a:pt x="5365" y="69"/>
                  </a:lnTo>
                  <a:lnTo>
                    <a:pt x="5436" y="57"/>
                  </a:lnTo>
                  <a:lnTo>
                    <a:pt x="5448" y="69"/>
                  </a:lnTo>
                  <a:lnTo>
                    <a:pt x="5415" y="85"/>
                  </a:lnTo>
                  <a:lnTo>
                    <a:pt x="5474" y="107"/>
                  </a:lnTo>
                  <a:lnTo>
                    <a:pt x="5462" y="123"/>
                  </a:lnTo>
                  <a:lnTo>
                    <a:pt x="5448" y="128"/>
                  </a:lnTo>
                  <a:lnTo>
                    <a:pt x="5528" y="111"/>
                  </a:lnTo>
                  <a:lnTo>
                    <a:pt x="5516" y="123"/>
                  </a:lnTo>
                  <a:lnTo>
                    <a:pt x="5575" y="123"/>
                  </a:lnTo>
                  <a:lnTo>
                    <a:pt x="5608" y="144"/>
                  </a:lnTo>
                  <a:lnTo>
                    <a:pt x="5599" y="163"/>
                  </a:lnTo>
                  <a:lnTo>
                    <a:pt x="5523" y="201"/>
                  </a:lnTo>
                  <a:lnTo>
                    <a:pt x="5415" y="239"/>
                  </a:lnTo>
                  <a:lnTo>
                    <a:pt x="5377" y="234"/>
                  </a:lnTo>
                  <a:lnTo>
                    <a:pt x="5393" y="251"/>
                  </a:lnTo>
                  <a:lnTo>
                    <a:pt x="5377" y="251"/>
                  </a:lnTo>
                  <a:lnTo>
                    <a:pt x="5313" y="251"/>
                  </a:lnTo>
                  <a:lnTo>
                    <a:pt x="5259" y="256"/>
                  </a:lnTo>
                  <a:lnTo>
                    <a:pt x="5306" y="256"/>
                  </a:lnTo>
                  <a:lnTo>
                    <a:pt x="5275" y="272"/>
                  </a:lnTo>
                  <a:lnTo>
                    <a:pt x="5107" y="279"/>
                  </a:lnTo>
                  <a:lnTo>
                    <a:pt x="5025" y="256"/>
                  </a:lnTo>
                  <a:lnTo>
                    <a:pt x="5096" y="279"/>
                  </a:lnTo>
                  <a:lnTo>
                    <a:pt x="5058" y="279"/>
                  </a:lnTo>
                  <a:lnTo>
                    <a:pt x="5079" y="291"/>
                  </a:lnTo>
                  <a:lnTo>
                    <a:pt x="5214" y="291"/>
                  </a:lnTo>
                  <a:lnTo>
                    <a:pt x="4966" y="345"/>
                  </a:lnTo>
                  <a:lnTo>
                    <a:pt x="5004" y="345"/>
                  </a:lnTo>
                  <a:lnTo>
                    <a:pt x="4973" y="362"/>
                  </a:lnTo>
                  <a:lnTo>
                    <a:pt x="4982" y="362"/>
                  </a:lnTo>
                  <a:lnTo>
                    <a:pt x="5285" y="291"/>
                  </a:lnTo>
                  <a:lnTo>
                    <a:pt x="5360" y="279"/>
                  </a:lnTo>
                  <a:lnTo>
                    <a:pt x="5365" y="296"/>
                  </a:lnTo>
                  <a:lnTo>
                    <a:pt x="5176" y="383"/>
                  </a:lnTo>
                  <a:lnTo>
                    <a:pt x="5145" y="390"/>
                  </a:lnTo>
                  <a:lnTo>
                    <a:pt x="5150" y="390"/>
                  </a:lnTo>
                  <a:lnTo>
                    <a:pt x="5053" y="444"/>
                  </a:lnTo>
                  <a:lnTo>
                    <a:pt x="5020" y="478"/>
                  </a:lnTo>
                  <a:lnTo>
                    <a:pt x="4961" y="489"/>
                  </a:lnTo>
                  <a:lnTo>
                    <a:pt x="4966" y="473"/>
                  </a:lnTo>
                  <a:lnTo>
                    <a:pt x="4961" y="473"/>
                  </a:lnTo>
                  <a:lnTo>
                    <a:pt x="4918" y="444"/>
                  </a:lnTo>
                  <a:lnTo>
                    <a:pt x="4944" y="473"/>
                  </a:lnTo>
                  <a:lnTo>
                    <a:pt x="4949" y="489"/>
                  </a:lnTo>
                  <a:lnTo>
                    <a:pt x="4982" y="501"/>
                  </a:lnTo>
                  <a:lnTo>
                    <a:pt x="4966" y="511"/>
                  </a:lnTo>
                  <a:lnTo>
                    <a:pt x="4859" y="527"/>
                  </a:lnTo>
                  <a:lnTo>
                    <a:pt x="4810" y="511"/>
                  </a:lnTo>
                  <a:lnTo>
                    <a:pt x="4843" y="527"/>
                  </a:lnTo>
                  <a:lnTo>
                    <a:pt x="4810" y="527"/>
                  </a:lnTo>
                  <a:lnTo>
                    <a:pt x="4810" y="534"/>
                  </a:lnTo>
                  <a:lnTo>
                    <a:pt x="4944" y="527"/>
                  </a:lnTo>
                  <a:lnTo>
                    <a:pt x="4874" y="556"/>
                  </a:lnTo>
                  <a:lnTo>
                    <a:pt x="4911" y="567"/>
                  </a:lnTo>
                  <a:lnTo>
                    <a:pt x="4897" y="584"/>
                  </a:lnTo>
                  <a:lnTo>
                    <a:pt x="4822" y="600"/>
                  </a:lnTo>
                  <a:lnTo>
                    <a:pt x="4772" y="589"/>
                  </a:lnTo>
                  <a:lnTo>
                    <a:pt x="4767" y="572"/>
                  </a:lnTo>
                  <a:lnTo>
                    <a:pt x="4772" y="572"/>
                  </a:lnTo>
                  <a:lnTo>
                    <a:pt x="4680" y="567"/>
                  </a:lnTo>
                  <a:lnTo>
                    <a:pt x="4642" y="567"/>
                  </a:lnTo>
                  <a:lnTo>
                    <a:pt x="4746" y="584"/>
                  </a:lnTo>
                  <a:lnTo>
                    <a:pt x="4755" y="612"/>
                  </a:lnTo>
                  <a:lnTo>
                    <a:pt x="4718" y="629"/>
                  </a:lnTo>
                  <a:lnTo>
                    <a:pt x="4696" y="612"/>
                  </a:lnTo>
                  <a:lnTo>
                    <a:pt x="4701" y="629"/>
                  </a:lnTo>
                  <a:lnTo>
                    <a:pt x="4692" y="638"/>
                  </a:lnTo>
                  <a:lnTo>
                    <a:pt x="4637" y="622"/>
                  </a:lnTo>
                  <a:lnTo>
                    <a:pt x="4626" y="629"/>
                  </a:lnTo>
                  <a:lnTo>
                    <a:pt x="4637" y="638"/>
                  </a:lnTo>
                  <a:lnTo>
                    <a:pt x="4626" y="645"/>
                  </a:lnTo>
                  <a:lnTo>
                    <a:pt x="4481" y="612"/>
                  </a:lnTo>
                  <a:lnTo>
                    <a:pt x="4474" y="622"/>
                  </a:lnTo>
                  <a:lnTo>
                    <a:pt x="4541" y="629"/>
                  </a:lnTo>
                  <a:lnTo>
                    <a:pt x="4550" y="645"/>
                  </a:lnTo>
                  <a:lnTo>
                    <a:pt x="4567" y="645"/>
                  </a:lnTo>
                  <a:lnTo>
                    <a:pt x="4498" y="645"/>
                  </a:lnTo>
                  <a:lnTo>
                    <a:pt x="4465" y="629"/>
                  </a:lnTo>
                  <a:lnTo>
                    <a:pt x="4481" y="655"/>
                  </a:lnTo>
                  <a:lnTo>
                    <a:pt x="4411" y="645"/>
                  </a:lnTo>
                  <a:lnTo>
                    <a:pt x="4465" y="662"/>
                  </a:lnTo>
                  <a:lnTo>
                    <a:pt x="4460" y="667"/>
                  </a:lnTo>
                  <a:lnTo>
                    <a:pt x="4663" y="667"/>
                  </a:lnTo>
                  <a:lnTo>
                    <a:pt x="4642" y="678"/>
                  </a:lnTo>
                  <a:lnTo>
                    <a:pt x="4663" y="695"/>
                  </a:lnTo>
                  <a:lnTo>
                    <a:pt x="4583" y="695"/>
                  </a:lnTo>
                  <a:lnTo>
                    <a:pt x="4550" y="678"/>
                  </a:lnTo>
                  <a:lnTo>
                    <a:pt x="4432" y="667"/>
                  </a:lnTo>
                  <a:lnTo>
                    <a:pt x="4406" y="678"/>
                  </a:lnTo>
                  <a:lnTo>
                    <a:pt x="4550" y="695"/>
                  </a:lnTo>
                  <a:lnTo>
                    <a:pt x="4448" y="700"/>
                  </a:lnTo>
                  <a:lnTo>
                    <a:pt x="4356" y="695"/>
                  </a:lnTo>
                  <a:lnTo>
                    <a:pt x="4444" y="700"/>
                  </a:lnTo>
                  <a:lnTo>
                    <a:pt x="4406" y="740"/>
                  </a:lnTo>
                  <a:lnTo>
                    <a:pt x="4432" y="711"/>
                  </a:lnTo>
                  <a:lnTo>
                    <a:pt x="4512" y="700"/>
                  </a:lnTo>
                  <a:lnTo>
                    <a:pt x="4583" y="711"/>
                  </a:lnTo>
                  <a:lnTo>
                    <a:pt x="4529" y="733"/>
                  </a:lnTo>
                  <a:lnTo>
                    <a:pt x="4604" y="723"/>
                  </a:lnTo>
                  <a:lnTo>
                    <a:pt x="4642" y="733"/>
                  </a:lnTo>
                  <a:lnTo>
                    <a:pt x="4649" y="749"/>
                  </a:lnTo>
                  <a:lnTo>
                    <a:pt x="4637" y="756"/>
                  </a:lnTo>
                  <a:lnTo>
                    <a:pt x="4642" y="773"/>
                  </a:lnTo>
                  <a:lnTo>
                    <a:pt x="4626" y="778"/>
                  </a:lnTo>
                  <a:lnTo>
                    <a:pt x="4512" y="778"/>
                  </a:lnTo>
                  <a:lnTo>
                    <a:pt x="4595" y="794"/>
                  </a:lnTo>
                  <a:lnTo>
                    <a:pt x="4626" y="811"/>
                  </a:lnTo>
                  <a:lnTo>
                    <a:pt x="4588" y="834"/>
                  </a:lnTo>
                  <a:lnTo>
                    <a:pt x="4498" y="834"/>
                  </a:lnTo>
                  <a:lnTo>
                    <a:pt x="4588" y="844"/>
                  </a:lnTo>
                  <a:lnTo>
                    <a:pt x="4567" y="867"/>
                  </a:lnTo>
                  <a:lnTo>
                    <a:pt x="4541" y="860"/>
                  </a:lnTo>
                  <a:lnTo>
                    <a:pt x="4498" y="877"/>
                  </a:lnTo>
                  <a:lnTo>
                    <a:pt x="4406" y="867"/>
                  </a:lnTo>
                  <a:lnTo>
                    <a:pt x="4389" y="877"/>
                  </a:lnTo>
                  <a:lnTo>
                    <a:pt x="4422" y="889"/>
                  </a:lnTo>
                  <a:lnTo>
                    <a:pt x="4422" y="905"/>
                  </a:lnTo>
                  <a:lnTo>
                    <a:pt x="4432" y="922"/>
                  </a:lnTo>
                  <a:lnTo>
                    <a:pt x="4406" y="962"/>
                  </a:lnTo>
                  <a:lnTo>
                    <a:pt x="4335" y="971"/>
                  </a:lnTo>
                  <a:lnTo>
                    <a:pt x="4248" y="971"/>
                  </a:lnTo>
                  <a:lnTo>
                    <a:pt x="4189" y="955"/>
                  </a:lnTo>
                  <a:lnTo>
                    <a:pt x="4141" y="917"/>
                  </a:lnTo>
                  <a:lnTo>
                    <a:pt x="4141" y="922"/>
                  </a:lnTo>
                  <a:lnTo>
                    <a:pt x="4163" y="938"/>
                  </a:lnTo>
                  <a:lnTo>
                    <a:pt x="4158" y="955"/>
                  </a:lnTo>
                  <a:lnTo>
                    <a:pt x="4196" y="971"/>
                  </a:lnTo>
                  <a:lnTo>
                    <a:pt x="4125" y="971"/>
                  </a:lnTo>
                  <a:lnTo>
                    <a:pt x="4151" y="995"/>
                  </a:lnTo>
                  <a:lnTo>
                    <a:pt x="4196" y="978"/>
                  </a:lnTo>
                  <a:lnTo>
                    <a:pt x="4271" y="988"/>
                  </a:lnTo>
                  <a:lnTo>
                    <a:pt x="4248" y="1000"/>
                  </a:lnTo>
                  <a:lnTo>
                    <a:pt x="4297" y="978"/>
                  </a:lnTo>
                  <a:lnTo>
                    <a:pt x="4335" y="988"/>
                  </a:lnTo>
                  <a:lnTo>
                    <a:pt x="4352" y="1000"/>
                  </a:lnTo>
                  <a:lnTo>
                    <a:pt x="4318" y="1028"/>
                  </a:lnTo>
                  <a:lnTo>
                    <a:pt x="4356" y="1028"/>
                  </a:lnTo>
                  <a:lnTo>
                    <a:pt x="4356" y="1044"/>
                  </a:lnTo>
                  <a:lnTo>
                    <a:pt x="4368" y="1044"/>
                  </a:lnTo>
                  <a:lnTo>
                    <a:pt x="4394" y="1016"/>
                  </a:lnTo>
                  <a:lnTo>
                    <a:pt x="4427" y="1028"/>
                  </a:lnTo>
                  <a:lnTo>
                    <a:pt x="4432" y="1066"/>
                  </a:lnTo>
                  <a:lnTo>
                    <a:pt x="4389" y="1099"/>
                  </a:lnTo>
                  <a:lnTo>
                    <a:pt x="4389" y="1099"/>
                  </a:lnTo>
                  <a:lnTo>
                    <a:pt x="4389" y="1099"/>
                  </a:lnTo>
                  <a:close/>
                  <a:moveTo>
                    <a:pt x="3456" y="279"/>
                  </a:moveTo>
                  <a:lnTo>
                    <a:pt x="3440" y="272"/>
                  </a:lnTo>
                  <a:lnTo>
                    <a:pt x="3461" y="279"/>
                  </a:lnTo>
                  <a:lnTo>
                    <a:pt x="3456" y="279"/>
                  </a:lnTo>
                  <a:lnTo>
                    <a:pt x="3456" y="279"/>
                  </a:lnTo>
                  <a:lnTo>
                    <a:pt x="3456" y="279"/>
                  </a:lnTo>
                  <a:close/>
                  <a:moveTo>
                    <a:pt x="3655" y="844"/>
                  </a:moveTo>
                  <a:lnTo>
                    <a:pt x="3633" y="827"/>
                  </a:lnTo>
                  <a:lnTo>
                    <a:pt x="3579" y="766"/>
                  </a:lnTo>
                  <a:lnTo>
                    <a:pt x="3570" y="778"/>
                  </a:lnTo>
                  <a:lnTo>
                    <a:pt x="3579" y="794"/>
                  </a:lnTo>
                  <a:lnTo>
                    <a:pt x="3596" y="806"/>
                  </a:lnTo>
                  <a:lnTo>
                    <a:pt x="3617" y="834"/>
                  </a:lnTo>
                  <a:lnTo>
                    <a:pt x="3563" y="811"/>
                  </a:lnTo>
                  <a:lnTo>
                    <a:pt x="3525" y="811"/>
                  </a:lnTo>
                  <a:lnTo>
                    <a:pt x="3558" y="834"/>
                  </a:lnTo>
                  <a:lnTo>
                    <a:pt x="3546" y="844"/>
                  </a:lnTo>
                  <a:lnTo>
                    <a:pt x="3433" y="827"/>
                  </a:lnTo>
                  <a:lnTo>
                    <a:pt x="3402" y="811"/>
                  </a:lnTo>
                  <a:lnTo>
                    <a:pt x="3369" y="789"/>
                  </a:lnTo>
                  <a:lnTo>
                    <a:pt x="3461" y="778"/>
                  </a:lnTo>
                  <a:lnTo>
                    <a:pt x="3381" y="766"/>
                  </a:lnTo>
                  <a:lnTo>
                    <a:pt x="3348" y="773"/>
                  </a:lnTo>
                  <a:lnTo>
                    <a:pt x="3310" y="740"/>
                  </a:lnTo>
                  <a:lnTo>
                    <a:pt x="3364" y="740"/>
                  </a:lnTo>
                  <a:lnTo>
                    <a:pt x="3310" y="733"/>
                  </a:lnTo>
                  <a:lnTo>
                    <a:pt x="3277" y="711"/>
                  </a:lnTo>
                  <a:lnTo>
                    <a:pt x="3348" y="678"/>
                  </a:lnTo>
                  <a:lnTo>
                    <a:pt x="3546" y="667"/>
                  </a:lnTo>
                  <a:lnTo>
                    <a:pt x="3418" y="667"/>
                  </a:lnTo>
                  <a:lnTo>
                    <a:pt x="3385" y="662"/>
                  </a:lnTo>
                  <a:lnTo>
                    <a:pt x="3504" y="645"/>
                  </a:lnTo>
                  <a:lnTo>
                    <a:pt x="3423" y="655"/>
                  </a:lnTo>
                  <a:lnTo>
                    <a:pt x="3395" y="645"/>
                  </a:lnTo>
                  <a:lnTo>
                    <a:pt x="3418" y="638"/>
                  </a:lnTo>
                  <a:lnTo>
                    <a:pt x="3381" y="638"/>
                  </a:lnTo>
                  <a:lnTo>
                    <a:pt x="3364" y="629"/>
                  </a:lnTo>
                  <a:lnTo>
                    <a:pt x="3352" y="629"/>
                  </a:lnTo>
                  <a:lnTo>
                    <a:pt x="3364" y="645"/>
                  </a:lnTo>
                  <a:lnTo>
                    <a:pt x="3348" y="645"/>
                  </a:lnTo>
                  <a:lnTo>
                    <a:pt x="3348" y="638"/>
                  </a:lnTo>
                  <a:lnTo>
                    <a:pt x="3343" y="638"/>
                  </a:lnTo>
                  <a:lnTo>
                    <a:pt x="3310" y="662"/>
                  </a:lnTo>
                  <a:lnTo>
                    <a:pt x="3289" y="662"/>
                  </a:lnTo>
                  <a:lnTo>
                    <a:pt x="3293" y="645"/>
                  </a:lnTo>
                  <a:lnTo>
                    <a:pt x="3272" y="638"/>
                  </a:lnTo>
                  <a:lnTo>
                    <a:pt x="3260" y="638"/>
                  </a:lnTo>
                  <a:lnTo>
                    <a:pt x="3272" y="645"/>
                  </a:lnTo>
                  <a:lnTo>
                    <a:pt x="3260" y="655"/>
                  </a:lnTo>
                  <a:lnTo>
                    <a:pt x="3222" y="662"/>
                  </a:lnTo>
                  <a:lnTo>
                    <a:pt x="3208" y="645"/>
                  </a:lnTo>
                  <a:lnTo>
                    <a:pt x="3170" y="638"/>
                  </a:lnTo>
                  <a:lnTo>
                    <a:pt x="3180" y="622"/>
                  </a:lnTo>
                  <a:lnTo>
                    <a:pt x="3244" y="605"/>
                  </a:lnTo>
                  <a:lnTo>
                    <a:pt x="3277" y="584"/>
                  </a:lnTo>
                  <a:lnTo>
                    <a:pt x="3170" y="600"/>
                  </a:lnTo>
                  <a:lnTo>
                    <a:pt x="3116" y="567"/>
                  </a:lnTo>
                  <a:lnTo>
                    <a:pt x="3147" y="556"/>
                  </a:lnTo>
                  <a:lnTo>
                    <a:pt x="3109" y="544"/>
                  </a:lnTo>
                  <a:lnTo>
                    <a:pt x="3133" y="534"/>
                  </a:lnTo>
                  <a:lnTo>
                    <a:pt x="3100" y="527"/>
                  </a:lnTo>
                  <a:lnTo>
                    <a:pt x="3133" y="518"/>
                  </a:lnTo>
                  <a:lnTo>
                    <a:pt x="3272" y="551"/>
                  </a:lnTo>
                  <a:lnTo>
                    <a:pt x="3244" y="527"/>
                  </a:lnTo>
                  <a:lnTo>
                    <a:pt x="3293" y="518"/>
                  </a:lnTo>
                  <a:lnTo>
                    <a:pt x="3201" y="527"/>
                  </a:lnTo>
                  <a:lnTo>
                    <a:pt x="3180" y="518"/>
                  </a:lnTo>
                  <a:lnTo>
                    <a:pt x="3208" y="501"/>
                  </a:lnTo>
                  <a:lnTo>
                    <a:pt x="3163" y="511"/>
                  </a:lnTo>
                  <a:lnTo>
                    <a:pt x="3109" y="489"/>
                  </a:lnTo>
                  <a:lnTo>
                    <a:pt x="3192" y="489"/>
                  </a:lnTo>
                  <a:lnTo>
                    <a:pt x="3170" y="473"/>
                  </a:lnTo>
                  <a:lnTo>
                    <a:pt x="3154" y="444"/>
                  </a:lnTo>
                  <a:lnTo>
                    <a:pt x="3310" y="456"/>
                  </a:lnTo>
                  <a:lnTo>
                    <a:pt x="3244" y="435"/>
                  </a:lnTo>
                  <a:lnTo>
                    <a:pt x="3289" y="423"/>
                  </a:lnTo>
                  <a:lnTo>
                    <a:pt x="3185" y="407"/>
                  </a:lnTo>
                  <a:lnTo>
                    <a:pt x="3218" y="400"/>
                  </a:lnTo>
                  <a:lnTo>
                    <a:pt x="3192" y="390"/>
                  </a:lnTo>
                  <a:lnTo>
                    <a:pt x="3218" y="378"/>
                  </a:lnTo>
                  <a:lnTo>
                    <a:pt x="3244" y="367"/>
                  </a:lnTo>
                  <a:lnTo>
                    <a:pt x="3272" y="383"/>
                  </a:lnTo>
                  <a:lnTo>
                    <a:pt x="3298" y="367"/>
                  </a:lnTo>
                  <a:lnTo>
                    <a:pt x="3277" y="362"/>
                  </a:lnTo>
                  <a:lnTo>
                    <a:pt x="3348" y="362"/>
                  </a:lnTo>
                  <a:lnTo>
                    <a:pt x="3364" y="350"/>
                  </a:lnTo>
                  <a:lnTo>
                    <a:pt x="3272" y="329"/>
                  </a:lnTo>
                  <a:lnTo>
                    <a:pt x="3289" y="312"/>
                  </a:lnTo>
                  <a:lnTo>
                    <a:pt x="3331" y="324"/>
                  </a:lnTo>
                  <a:lnTo>
                    <a:pt x="3331" y="312"/>
                  </a:lnTo>
                  <a:lnTo>
                    <a:pt x="3449" y="345"/>
                  </a:lnTo>
                  <a:lnTo>
                    <a:pt x="3456" y="362"/>
                  </a:lnTo>
                  <a:lnTo>
                    <a:pt x="3440" y="367"/>
                  </a:lnTo>
                  <a:lnTo>
                    <a:pt x="3470" y="378"/>
                  </a:lnTo>
                  <a:lnTo>
                    <a:pt x="3504" y="416"/>
                  </a:lnTo>
                  <a:lnTo>
                    <a:pt x="3532" y="440"/>
                  </a:lnTo>
                  <a:lnTo>
                    <a:pt x="3525" y="444"/>
                  </a:lnTo>
                  <a:lnTo>
                    <a:pt x="3596" y="473"/>
                  </a:lnTo>
                  <a:lnTo>
                    <a:pt x="3596" y="456"/>
                  </a:lnTo>
                  <a:lnTo>
                    <a:pt x="3633" y="456"/>
                  </a:lnTo>
                  <a:lnTo>
                    <a:pt x="3638" y="473"/>
                  </a:lnTo>
                  <a:lnTo>
                    <a:pt x="3633" y="478"/>
                  </a:lnTo>
                  <a:lnTo>
                    <a:pt x="3638" y="478"/>
                  </a:lnTo>
                  <a:lnTo>
                    <a:pt x="3633" y="494"/>
                  </a:lnTo>
                  <a:lnTo>
                    <a:pt x="3667" y="527"/>
                  </a:lnTo>
                  <a:lnTo>
                    <a:pt x="3709" y="527"/>
                  </a:lnTo>
                  <a:lnTo>
                    <a:pt x="3704" y="511"/>
                  </a:lnTo>
                  <a:lnTo>
                    <a:pt x="3671" y="501"/>
                  </a:lnTo>
                  <a:lnTo>
                    <a:pt x="3671" y="478"/>
                  </a:lnTo>
                  <a:lnTo>
                    <a:pt x="3742" y="478"/>
                  </a:lnTo>
                  <a:lnTo>
                    <a:pt x="3747" y="511"/>
                  </a:lnTo>
                  <a:lnTo>
                    <a:pt x="3709" y="527"/>
                  </a:lnTo>
                  <a:lnTo>
                    <a:pt x="3773" y="534"/>
                  </a:lnTo>
                  <a:lnTo>
                    <a:pt x="3785" y="551"/>
                  </a:lnTo>
                  <a:lnTo>
                    <a:pt x="3759" y="572"/>
                  </a:lnTo>
                  <a:lnTo>
                    <a:pt x="3785" y="556"/>
                  </a:lnTo>
                  <a:lnTo>
                    <a:pt x="3780" y="605"/>
                  </a:lnTo>
                  <a:lnTo>
                    <a:pt x="3759" y="622"/>
                  </a:lnTo>
                  <a:lnTo>
                    <a:pt x="3785" y="605"/>
                  </a:lnTo>
                  <a:lnTo>
                    <a:pt x="3801" y="622"/>
                  </a:lnTo>
                  <a:lnTo>
                    <a:pt x="3811" y="612"/>
                  </a:lnTo>
                  <a:lnTo>
                    <a:pt x="3801" y="605"/>
                  </a:lnTo>
                  <a:lnTo>
                    <a:pt x="3834" y="605"/>
                  </a:lnTo>
                  <a:lnTo>
                    <a:pt x="3855" y="612"/>
                  </a:lnTo>
                  <a:lnTo>
                    <a:pt x="3855" y="629"/>
                  </a:lnTo>
                  <a:lnTo>
                    <a:pt x="3848" y="629"/>
                  </a:lnTo>
                  <a:lnTo>
                    <a:pt x="3855" y="638"/>
                  </a:lnTo>
                  <a:lnTo>
                    <a:pt x="3872" y="605"/>
                  </a:lnTo>
                  <a:lnTo>
                    <a:pt x="3881" y="605"/>
                  </a:lnTo>
                  <a:lnTo>
                    <a:pt x="3936" y="662"/>
                  </a:lnTo>
                  <a:lnTo>
                    <a:pt x="3827" y="695"/>
                  </a:lnTo>
                  <a:lnTo>
                    <a:pt x="3811" y="711"/>
                  </a:lnTo>
                  <a:lnTo>
                    <a:pt x="3785" y="695"/>
                  </a:lnTo>
                  <a:lnTo>
                    <a:pt x="3785" y="716"/>
                  </a:lnTo>
                  <a:lnTo>
                    <a:pt x="3747" y="766"/>
                  </a:lnTo>
                  <a:lnTo>
                    <a:pt x="3721" y="733"/>
                  </a:lnTo>
                  <a:lnTo>
                    <a:pt x="3721" y="711"/>
                  </a:lnTo>
                  <a:lnTo>
                    <a:pt x="3742" y="695"/>
                  </a:lnTo>
                  <a:lnTo>
                    <a:pt x="3709" y="711"/>
                  </a:lnTo>
                  <a:lnTo>
                    <a:pt x="3704" y="740"/>
                  </a:lnTo>
                  <a:lnTo>
                    <a:pt x="3726" y="778"/>
                  </a:lnTo>
                  <a:lnTo>
                    <a:pt x="3704" y="794"/>
                  </a:lnTo>
                  <a:lnTo>
                    <a:pt x="3676" y="773"/>
                  </a:lnTo>
                  <a:lnTo>
                    <a:pt x="3667" y="766"/>
                  </a:lnTo>
                  <a:lnTo>
                    <a:pt x="3676" y="794"/>
                  </a:lnTo>
                  <a:lnTo>
                    <a:pt x="3655" y="844"/>
                  </a:lnTo>
                  <a:lnTo>
                    <a:pt x="3655" y="844"/>
                  </a:lnTo>
                  <a:lnTo>
                    <a:pt x="3655" y="844"/>
                  </a:lnTo>
                  <a:close/>
                  <a:moveTo>
                    <a:pt x="3222" y="435"/>
                  </a:moveTo>
                  <a:lnTo>
                    <a:pt x="3234" y="440"/>
                  </a:lnTo>
                  <a:lnTo>
                    <a:pt x="3147" y="435"/>
                  </a:lnTo>
                  <a:lnTo>
                    <a:pt x="3222" y="435"/>
                  </a:lnTo>
                  <a:lnTo>
                    <a:pt x="3222" y="435"/>
                  </a:lnTo>
                  <a:lnTo>
                    <a:pt x="3222" y="435"/>
                  </a:lnTo>
                  <a:close/>
                  <a:moveTo>
                    <a:pt x="2965" y="600"/>
                  </a:moveTo>
                  <a:lnTo>
                    <a:pt x="2920" y="584"/>
                  </a:lnTo>
                  <a:lnTo>
                    <a:pt x="2920" y="567"/>
                  </a:lnTo>
                  <a:lnTo>
                    <a:pt x="2868" y="567"/>
                  </a:lnTo>
                  <a:lnTo>
                    <a:pt x="2861" y="534"/>
                  </a:lnTo>
                  <a:lnTo>
                    <a:pt x="2894" y="518"/>
                  </a:lnTo>
                  <a:lnTo>
                    <a:pt x="2953" y="534"/>
                  </a:lnTo>
                  <a:lnTo>
                    <a:pt x="2970" y="551"/>
                  </a:lnTo>
                  <a:lnTo>
                    <a:pt x="2970" y="572"/>
                  </a:lnTo>
                  <a:lnTo>
                    <a:pt x="2965" y="600"/>
                  </a:lnTo>
                  <a:lnTo>
                    <a:pt x="2965" y="600"/>
                  </a:lnTo>
                  <a:lnTo>
                    <a:pt x="2965" y="600"/>
                  </a:lnTo>
                  <a:close/>
                  <a:moveTo>
                    <a:pt x="2608" y="749"/>
                  </a:moveTo>
                  <a:lnTo>
                    <a:pt x="2613" y="740"/>
                  </a:lnTo>
                  <a:lnTo>
                    <a:pt x="2587" y="740"/>
                  </a:lnTo>
                  <a:lnTo>
                    <a:pt x="2608" y="723"/>
                  </a:lnTo>
                  <a:lnTo>
                    <a:pt x="2587" y="711"/>
                  </a:lnTo>
                  <a:lnTo>
                    <a:pt x="2521" y="740"/>
                  </a:lnTo>
                  <a:lnTo>
                    <a:pt x="2542" y="700"/>
                  </a:lnTo>
                  <a:lnTo>
                    <a:pt x="2483" y="700"/>
                  </a:lnTo>
                  <a:lnTo>
                    <a:pt x="2483" y="678"/>
                  </a:lnTo>
                  <a:lnTo>
                    <a:pt x="2490" y="655"/>
                  </a:lnTo>
                  <a:lnTo>
                    <a:pt x="2596" y="645"/>
                  </a:lnTo>
                  <a:lnTo>
                    <a:pt x="2663" y="662"/>
                  </a:lnTo>
                  <a:lnTo>
                    <a:pt x="2693" y="695"/>
                  </a:lnTo>
                  <a:lnTo>
                    <a:pt x="2684" y="716"/>
                  </a:lnTo>
                  <a:lnTo>
                    <a:pt x="2700" y="723"/>
                  </a:lnTo>
                  <a:lnTo>
                    <a:pt x="2705" y="700"/>
                  </a:lnTo>
                  <a:lnTo>
                    <a:pt x="2759" y="695"/>
                  </a:lnTo>
                  <a:lnTo>
                    <a:pt x="2807" y="716"/>
                  </a:lnTo>
                  <a:lnTo>
                    <a:pt x="2793" y="740"/>
                  </a:lnTo>
                  <a:lnTo>
                    <a:pt x="2856" y="733"/>
                  </a:lnTo>
                  <a:lnTo>
                    <a:pt x="2882" y="756"/>
                  </a:lnTo>
                  <a:lnTo>
                    <a:pt x="2878" y="766"/>
                  </a:lnTo>
                  <a:lnTo>
                    <a:pt x="2911" y="773"/>
                  </a:lnTo>
                  <a:lnTo>
                    <a:pt x="2882" y="794"/>
                  </a:lnTo>
                  <a:lnTo>
                    <a:pt x="2894" y="806"/>
                  </a:lnTo>
                  <a:lnTo>
                    <a:pt x="2894" y="822"/>
                  </a:lnTo>
                  <a:lnTo>
                    <a:pt x="2911" y="822"/>
                  </a:lnTo>
                  <a:lnTo>
                    <a:pt x="2948" y="851"/>
                  </a:lnTo>
                  <a:lnTo>
                    <a:pt x="2937" y="867"/>
                  </a:lnTo>
                  <a:lnTo>
                    <a:pt x="2948" y="884"/>
                  </a:lnTo>
                  <a:lnTo>
                    <a:pt x="2882" y="900"/>
                  </a:lnTo>
                  <a:lnTo>
                    <a:pt x="2830" y="884"/>
                  </a:lnTo>
                  <a:lnTo>
                    <a:pt x="2807" y="834"/>
                  </a:lnTo>
                  <a:lnTo>
                    <a:pt x="2731" y="822"/>
                  </a:lnTo>
                  <a:lnTo>
                    <a:pt x="2693" y="827"/>
                  </a:lnTo>
                  <a:lnTo>
                    <a:pt x="2679" y="822"/>
                  </a:lnTo>
                  <a:lnTo>
                    <a:pt x="2693" y="806"/>
                  </a:lnTo>
                  <a:lnTo>
                    <a:pt x="2679" y="806"/>
                  </a:lnTo>
                  <a:lnTo>
                    <a:pt x="2596" y="827"/>
                  </a:lnTo>
                  <a:lnTo>
                    <a:pt x="2570" y="822"/>
                  </a:lnTo>
                  <a:lnTo>
                    <a:pt x="2521" y="789"/>
                  </a:lnTo>
                  <a:lnTo>
                    <a:pt x="2542" y="773"/>
                  </a:lnTo>
                  <a:lnTo>
                    <a:pt x="2630" y="789"/>
                  </a:lnTo>
                  <a:lnTo>
                    <a:pt x="2641" y="766"/>
                  </a:lnTo>
                  <a:lnTo>
                    <a:pt x="2592" y="766"/>
                  </a:lnTo>
                  <a:lnTo>
                    <a:pt x="2646" y="749"/>
                  </a:lnTo>
                  <a:lnTo>
                    <a:pt x="2608" y="749"/>
                  </a:lnTo>
                  <a:lnTo>
                    <a:pt x="2608" y="749"/>
                  </a:lnTo>
                  <a:lnTo>
                    <a:pt x="2608" y="749"/>
                  </a:lnTo>
                  <a:close/>
                  <a:moveTo>
                    <a:pt x="3865" y="695"/>
                  </a:moveTo>
                  <a:lnTo>
                    <a:pt x="3919" y="700"/>
                  </a:lnTo>
                  <a:lnTo>
                    <a:pt x="3827" y="723"/>
                  </a:lnTo>
                  <a:lnTo>
                    <a:pt x="3865" y="695"/>
                  </a:lnTo>
                  <a:lnTo>
                    <a:pt x="3865" y="695"/>
                  </a:lnTo>
                  <a:lnTo>
                    <a:pt x="3865" y="695"/>
                  </a:lnTo>
                  <a:close/>
                  <a:moveTo>
                    <a:pt x="3100" y="900"/>
                  </a:moveTo>
                  <a:lnTo>
                    <a:pt x="3078" y="889"/>
                  </a:lnTo>
                  <a:lnTo>
                    <a:pt x="3078" y="884"/>
                  </a:lnTo>
                  <a:lnTo>
                    <a:pt x="3083" y="877"/>
                  </a:lnTo>
                  <a:lnTo>
                    <a:pt x="3029" y="860"/>
                  </a:lnTo>
                  <a:lnTo>
                    <a:pt x="3100" y="844"/>
                  </a:lnTo>
                  <a:lnTo>
                    <a:pt x="3019" y="822"/>
                  </a:lnTo>
                  <a:lnTo>
                    <a:pt x="3019" y="806"/>
                  </a:lnTo>
                  <a:lnTo>
                    <a:pt x="2986" y="789"/>
                  </a:lnTo>
                  <a:lnTo>
                    <a:pt x="3019" y="778"/>
                  </a:lnTo>
                  <a:lnTo>
                    <a:pt x="2991" y="766"/>
                  </a:lnTo>
                  <a:lnTo>
                    <a:pt x="2991" y="740"/>
                  </a:lnTo>
                  <a:lnTo>
                    <a:pt x="3029" y="733"/>
                  </a:lnTo>
                  <a:lnTo>
                    <a:pt x="3078" y="749"/>
                  </a:lnTo>
                  <a:lnTo>
                    <a:pt x="3147" y="766"/>
                  </a:lnTo>
                  <a:lnTo>
                    <a:pt x="3147" y="778"/>
                  </a:lnTo>
                  <a:lnTo>
                    <a:pt x="3192" y="778"/>
                  </a:lnTo>
                  <a:lnTo>
                    <a:pt x="3239" y="806"/>
                  </a:lnTo>
                  <a:lnTo>
                    <a:pt x="3201" y="827"/>
                  </a:lnTo>
                  <a:lnTo>
                    <a:pt x="3234" y="844"/>
                  </a:lnTo>
                  <a:lnTo>
                    <a:pt x="3218" y="867"/>
                  </a:lnTo>
                  <a:lnTo>
                    <a:pt x="3116" y="884"/>
                  </a:lnTo>
                  <a:lnTo>
                    <a:pt x="3109" y="884"/>
                  </a:lnTo>
                  <a:lnTo>
                    <a:pt x="3126" y="889"/>
                  </a:lnTo>
                  <a:lnTo>
                    <a:pt x="3100" y="900"/>
                  </a:lnTo>
                  <a:lnTo>
                    <a:pt x="3100" y="900"/>
                  </a:lnTo>
                  <a:lnTo>
                    <a:pt x="3100" y="900"/>
                  </a:lnTo>
                  <a:close/>
                  <a:moveTo>
                    <a:pt x="4675" y="756"/>
                  </a:moveTo>
                  <a:lnTo>
                    <a:pt x="4649" y="749"/>
                  </a:lnTo>
                  <a:lnTo>
                    <a:pt x="4692" y="749"/>
                  </a:lnTo>
                  <a:lnTo>
                    <a:pt x="4675" y="756"/>
                  </a:lnTo>
                  <a:lnTo>
                    <a:pt x="4675" y="756"/>
                  </a:lnTo>
                  <a:lnTo>
                    <a:pt x="4675" y="756"/>
                  </a:lnTo>
                  <a:close/>
                  <a:moveTo>
                    <a:pt x="2067" y="822"/>
                  </a:moveTo>
                  <a:lnTo>
                    <a:pt x="2030" y="806"/>
                  </a:lnTo>
                  <a:lnTo>
                    <a:pt x="1949" y="822"/>
                  </a:lnTo>
                  <a:lnTo>
                    <a:pt x="1944" y="811"/>
                  </a:lnTo>
                  <a:lnTo>
                    <a:pt x="1961" y="794"/>
                  </a:lnTo>
                  <a:lnTo>
                    <a:pt x="2143" y="740"/>
                  </a:lnTo>
                  <a:lnTo>
                    <a:pt x="2230" y="789"/>
                  </a:lnTo>
                  <a:lnTo>
                    <a:pt x="2214" y="822"/>
                  </a:lnTo>
                  <a:lnTo>
                    <a:pt x="2143" y="822"/>
                  </a:lnTo>
                  <a:lnTo>
                    <a:pt x="2100" y="806"/>
                  </a:lnTo>
                  <a:lnTo>
                    <a:pt x="2067" y="822"/>
                  </a:lnTo>
                  <a:lnTo>
                    <a:pt x="2067" y="822"/>
                  </a:lnTo>
                  <a:lnTo>
                    <a:pt x="2067" y="822"/>
                  </a:lnTo>
                  <a:close/>
                  <a:moveTo>
                    <a:pt x="3721" y="794"/>
                  </a:moveTo>
                  <a:lnTo>
                    <a:pt x="3704" y="827"/>
                  </a:lnTo>
                  <a:lnTo>
                    <a:pt x="3688" y="822"/>
                  </a:lnTo>
                  <a:lnTo>
                    <a:pt x="3704" y="794"/>
                  </a:lnTo>
                  <a:lnTo>
                    <a:pt x="3721" y="794"/>
                  </a:lnTo>
                  <a:lnTo>
                    <a:pt x="3721" y="794"/>
                  </a:lnTo>
                  <a:lnTo>
                    <a:pt x="3721" y="794"/>
                  </a:lnTo>
                  <a:close/>
                  <a:moveTo>
                    <a:pt x="3260" y="822"/>
                  </a:moveTo>
                  <a:lnTo>
                    <a:pt x="3277" y="834"/>
                  </a:lnTo>
                  <a:lnTo>
                    <a:pt x="3244" y="822"/>
                  </a:lnTo>
                  <a:lnTo>
                    <a:pt x="3260" y="822"/>
                  </a:lnTo>
                  <a:lnTo>
                    <a:pt x="3260" y="822"/>
                  </a:lnTo>
                  <a:lnTo>
                    <a:pt x="3260" y="822"/>
                  </a:lnTo>
                  <a:close/>
                  <a:moveTo>
                    <a:pt x="2679" y="822"/>
                  </a:moveTo>
                  <a:lnTo>
                    <a:pt x="2684" y="827"/>
                  </a:lnTo>
                  <a:lnTo>
                    <a:pt x="2663" y="844"/>
                  </a:lnTo>
                  <a:lnTo>
                    <a:pt x="2646" y="834"/>
                  </a:lnTo>
                  <a:lnTo>
                    <a:pt x="2679" y="822"/>
                  </a:lnTo>
                  <a:lnTo>
                    <a:pt x="2679" y="822"/>
                  </a:lnTo>
                  <a:lnTo>
                    <a:pt x="2679" y="822"/>
                  </a:lnTo>
                  <a:close/>
                  <a:moveTo>
                    <a:pt x="2759" y="827"/>
                  </a:moveTo>
                  <a:lnTo>
                    <a:pt x="2759" y="834"/>
                  </a:lnTo>
                  <a:lnTo>
                    <a:pt x="2748" y="834"/>
                  </a:lnTo>
                  <a:lnTo>
                    <a:pt x="2759" y="827"/>
                  </a:lnTo>
                  <a:lnTo>
                    <a:pt x="2759" y="827"/>
                  </a:lnTo>
                  <a:lnTo>
                    <a:pt x="2759" y="827"/>
                  </a:lnTo>
                  <a:close/>
                  <a:moveTo>
                    <a:pt x="2030" y="971"/>
                  </a:moveTo>
                  <a:lnTo>
                    <a:pt x="1949" y="938"/>
                  </a:lnTo>
                  <a:lnTo>
                    <a:pt x="1949" y="905"/>
                  </a:lnTo>
                  <a:lnTo>
                    <a:pt x="1944" y="889"/>
                  </a:lnTo>
                  <a:lnTo>
                    <a:pt x="1949" y="877"/>
                  </a:lnTo>
                  <a:lnTo>
                    <a:pt x="2084" y="851"/>
                  </a:lnTo>
                  <a:lnTo>
                    <a:pt x="2209" y="851"/>
                  </a:lnTo>
                  <a:lnTo>
                    <a:pt x="2193" y="867"/>
                  </a:lnTo>
                  <a:lnTo>
                    <a:pt x="2112" y="889"/>
                  </a:lnTo>
                  <a:lnTo>
                    <a:pt x="2129" y="900"/>
                  </a:lnTo>
                  <a:lnTo>
                    <a:pt x="2167" y="900"/>
                  </a:lnTo>
                  <a:lnTo>
                    <a:pt x="2176" y="922"/>
                  </a:lnTo>
                  <a:lnTo>
                    <a:pt x="2159" y="938"/>
                  </a:lnTo>
                  <a:lnTo>
                    <a:pt x="2030" y="971"/>
                  </a:lnTo>
                  <a:lnTo>
                    <a:pt x="2030" y="971"/>
                  </a:lnTo>
                  <a:lnTo>
                    <a:pt x="2030" y="971"/>
                  </a:lnTo>
                  <a:close/>
                  <a:moveTo>
                    <a:pt x="1878" y="905"/>
                  </a:moveTo>
                  <a:lnTo>
                    <a:pt x="1815" y="867"/>
                  </a:lnTo>
                  <a:lnTo>
                    <a:pt x="1874" y="851"/>
                  </a:lnTo>
                  <a:lnTo>
                    <a:pt x="1923" y="889"/>
                  </a:lnTo>
                  <a:lnTo>
                    <a:pt x="1878" y="905"/>
                  </a:lnTo>
                  <a:lnTo>
                    <a:pt x="1878" y="905"/>
                  </a:lnTo>
                  <a:lnTo>
                    <a:pt x="1878" y="905"/>
                  </a:lnTo>
                  <a:close/>
                  <a:moveTo>
                    <a:pt x="2759" y="884"/>
                  </a:moveTo>
                  <a:lnTo>
                    <a:pt x="2807" y="905"/>
                  </a:lnTo>
                  <a:lnTo>
                    <a:pt x="2731" y="917"/>
                  </a:lnTo>
                  <a:lnTo>
                    <a:pt x="2705" y="905"/>
                  </a:lnTo>
                  <a:lnTo>
                    <a:pt x="2700" y="889"/>
                  </a:lnTo>
                  <a:lnTo>
                    <a:pt x="2759" y="884"/>
                  </a:lnTo>
                  <a:lnTo>
                    <a:pt x="2759" y="884"/>
                  </a:lnTo>
                  <a:lnTo>
                    <a:pt x="2759" y="884"/>
                  </a:lnTo>
                  <a:close/>
                  <a:moveTo>
                    <a:pt x="4444" y="884"/>
                  </a:moveTo>
                  <a:lnTo>
                    <a:pt x="4448" y="889"/>
                  </a:lnTo>
                  <a:lnTo>
                    <a:pt x="4422" y="889"/>
                  </a:lnTo>
                  <a:lnTo>
                    <a:pt x="4444" y="884"/>
                  </a:lnTo>
                  <a:lnTo>
                    <a:pt x="4444" y="884"/>
                  </a:lnTo>
                  <a:lnTo>
                    <a:pt x="4444" y="884"/>
                  </a:lnTo>
                  <a:close/>
                  <a:moveTo>
                    <a:pt x="3352" y="905"/>
                  </a:moveTo>
                  <a:lnTo>
                    <a:pt x="3364" y="917"/>
                  </a:lnTo>
                  <a:lnTo>
                    <a:pt x="3343" y="922"/>
                  </a:lnTo>
                  <a:lnTo>
                    <a:pt x="3326" y="943"/>
                  </a:lnTo>
                  <a:lnTo>
                    <a:pt x="3163" y="943"/>
                  </a:lnTo>
                  <a:lnTo>
                    <a:pt x="3133" y="922"/>
                  </a:lnTo>
                  <a:lnTo>
                    <a:pt x="3137" y="917"/>
                  </a:lnTo>
                  <a:lnTo>
                    <a:pt x="3192" y="889"/>
                  </a:lnTo>
                  <a:lnTo>
                    <a:pt x="3201" y="905"/>
                  </a:lnTo>
                  <a:lnTo>
                    <a:pt x="3326" y="900"/>
                  </a:lnTo>
                  <a:lnTo>
                    <a:pt x="3352" y="905"/>
                  </a:lnTo>
                  <a:lnTo>
                    <a:pt x="3352" y="905"/>
                  </a:lnTo>
                  <a:lnTo>
                    <a:pt x="3352" y="905"/>
                  </a:lnTo>
                  <a:close/>
                  <a:moveTo>
                    <a:pt x="2483" y="900"/>
                  </a:moveTo>
                  <a:lnTo>
                    <a:pt x="2521" y="933"/>
                  </a:lnTo>
                  <a:lnTo>
                    <a:pt x="2533" y="943"/>
                  </a:lnTo>
                  <a:lnTo>
                    <a:pt x="2521" y="955"/>
                  </a:lnTo>
                  <a:lnTo>
                    <a:pt x="2542" y="955"/>
                  </a:lnTo>
                  <a:lnTo>
                    <a:pt x="2570" y="988"/>
                  </a:lnTo>
                  <a:lnTo>
                    <a:pt x="2542" y="1000"/>
                  </a:lnTo>
                  <a:lnTo>
                    <a:pt x="2504" y="988"/>
                  </a:lnTo>
                  <a:lnTo>
                    <a:pt x="2483" y="971"/>
                  </a:lnTo>
                  <a:lnTo>
                    <a:pt x="2469" y="922"/>
                  </a:lnTo>
                  <a:lnTo>
                    <a:pt x="2452" y="905"/>
                  </a:lnTo>
                  <a:lnTo>
                    <a:pt x="2483" y="900"/>
                  </a:lnTo>
                  <a:lnTo>
                    <a:pt x="2483" y="900"/>
                  </a:lnTo>
                  <a:lnTo>
                    <a:pt x="2483" y="900"/>
                  </a:lnTo>
                  <a:close/>
                  <a:moveTo>
                    <a:pt x="3546" y="988"/>
                  </a:moveTo>
                  <a:lnTo>
                    <a:pt x="3494" y="962"/>
                  </a:lnTo>
                  <a:lnTo>
                    <a:pt x="3494" y="933"/>
                  </a:lnTo>
                  <a:lnTo>
                    <a:pt x="3515" y="917"/>
                  </a:lnTo>
                  <a:lnTo>
                    <a:pt x="3563" y="922"/>
                  </a:lnTo>
                  <a:lnTo>
                    <a:pt x="3596" y="943"/>
                  </a:lnTo>
                  <a:lnTo>
                    <a:pt x="3600" y="962"/>
                  </a:lnTo>
                  <a:lnTo>
                    <a:pt x="3546" y="988"/>
                  </a:lnTo>
                  <a:lnTo>
                    <a:pt x="3546" y="988"/>
                  </a:lnTo>
                  <a:lnTo>
                    <a:pt x="3546" y="988"/>
                  </a:lnTo>
                  <a:close/>
                  <a:moveTo>
                    <a:pt x="3910" y="933"/>
                  </a:moveTo>
                  <a:lnTo>
                    <a:pt x="3941" y="938"/>
                  </a:lnTo>
                  <a:lnTo>
                    <a:pt x="3919" y="943"/>
                  </a:lnTo>
                  <a:lnTo>
                    <a:pt x="3886" y="933"/>
                  </a:lnTo>
                  <a:lnTo>
                    <a:pt x="3910" y="933"/>
                  </a:lnTo>
                  <a:lnTo>
                    <a:pt x="3910" y="933"/>
                  </a:lnTo>
                  <a:lnTo>
                    <a:pt x="3910" y="933"/>
                  </a:lnTo>
                  <a:close/>
                  <a:moveTo>
                    <a:pt x="1734" y="1082"/>
                  </a:moveTo>
                  <a:lnTo>
                    <a:pt x="1680" y="1087"/>
                  </a:lnTo>
                  <a:lnTo>
                    <a:pt x="1692" y="1111"/>
                  </a:lnTo>
                  <a:lnTo>
                    <a:pt x="1654" y="1127"/>
                  </a:lnTo>
                  <a:lnTo>
                    <a:pt x="1609" y="1106"/>
                  </a:lnTo>
                  <a:lnTo>
                    <a:pt x="1621" y="1066"/>
                  </a:lnTo>
                  <a:lnTo>
                    <a:pt x="1637" y="1049"/>
                  </a:lnTo>
                  <a:lnTo>
                    <a:pt x="1588" y="1049"/>
                  </a:lnTo>
                  <a:lnTo>
                    <a:pt x="1583" y="1054"/>
                  </a:lnTo>
                  <a:lnTo>
                    <a:pt x="1588" y="1082"/>
                  </a:lnTo>
                  <a:lnTo>
                    <a:pt x="1545" y="1087"/>
                  </a:lnTo>
                  <a:lnTo>
                    <a:pt x="1571" y="1111"/>
                  </a:lnTo>
                  <a:lnTo>
                    <a:pt x="1550" y="1127"/>
                  </a:lnTo>
                  <a:lnTo>
                    <a:pt x="1545" y="1144"/>
                  </a:lnTo>
                  <a:lnTo>
                    <a:pt x="1529" y="1155"/>
                  </a:lnTo>
                  <a:lnTo>
                    <a:pt x="1503" y="1122"/>
                  </a:lnTo>
                  <a:lnTo>
                    <a:pt x="1496" y="1122"/>
                  </a:lnTo>
                  <a:lnTo>
                    <a:pt x="1503" y="1144"/>
                  </a:lnTo>
                  <a:lnTo>
                    <a:pt x="1491" y="1155"/>
                  </a:lnTo>
                  <a:lnTo>
                    <a:pt x="1512" y="1160"/>
                  </a:lnTo>
                  <a:lnTo>
                    <a:pt x="1512" y="1165"/>
                  </a:lnTo>
                  <a:lnTo>
                    <a:pt x="1448" y="1193"/>
                  </a:lnTo>
                  <a:lnTo>
                    <a:pt x="1441" y="1193"/>
                  </a:lnTo>
                  <a:lnTo>
                    <a:pt x="1441" y="1165"/>
                  </a:lnTo>
                  <a:lnTo>
                    <a:pt x="1427" y="1165"/>
                  </a:lnTo>
                  <a:lnTo>
                    <a:pt x="1420" y="1144"/>
                  </a:lnTo>
                  <a:lnTo>
                    <a:pt x="1411" y="1139"/>
                  </a:lnTo>
                  <a:lnTo>
                    <a:pt x="1404" y="1144"/>
                  </a:lnTo>
                  <a:lnTo>
                    <a:pt x="1411" y="1165"/>
                  </a:lnTo>
                  <a:lnTo>
                    <a:pt x="1404" y="1177"/>
                  </a:lnTo>
                  <a:lnTo>
                    <a:pt x="1328" y="1160"/>
                  </a:lnTo>
                  <a:lnTo>
                    <a:pt x="1297" y="1177"/>
                  </a:lnTo>
                  <a:lnTo>
                    <a:pt x="1281" y="1165"/>
                  </a:lnTo>
                  <a:lnTo>
                    <a:pt x="1302" y="1155"/>
                  </a:lnTo>
                  <a:lnTo>
                    <a:pt x="1281" y="1155"/>
                  </a:lnTo>
                  <a:lnTo>
                    <a:pt x="1297" y="1144"/>
                  </a:lnTo>
                  <a:lnTo>
                    <a:pt x="1285" y="1139"/>
                  </a:lnTo>
                  <a:lnTo>
                    <a:pt x="1259" y="1155"/>
                  </a:lnTo>
                  <a:lnTo>
                    <a:pt x="1285" y="1111"/>
                  </a:lnTo>
                  <a:lnTo>
                    <a:pt x="1366" y="1106"/>
                  </a:lnTo>
                  <a:lnTo>
                    <a:pt x="1389" y="1070"/>
                  </a:lnTo>
                  <a:lnTo>
                    <a:pt x="1441" y="1049"/>
                  </a:lnTo>
                  <a:lnTo>
                    <a:pt x="1465" y="1016"/>
                  </a:lnTo>
                  <a:lnTo>
                    <a:pt x="1517" y="988"/>
                  </a:lnTo>
                  <a:lnTo>
                    <a:pt x="1533" y="971"/>
                  </a:lnTo>
                  <a:lnTo>
                    <a:pt x="1621" y="955"/>
                  </a:lnTo>
                  <a:lnTo>
                    <a:pt x="1680" y="971"/>
                  </a:lnTo>
                  <a:lnTo>
                    <a:pt x="1675" y="962"/>
                  </a:lnTo>
                  <a:lnTo>
                    <a:pt x="1696" y="971"/>
                  </a:lnTo>
                  <a:lnTo>
                    <a:pt x="1713" y="955"/>
                  </a:lnTo>
                  <a:lnTo>
                    <a:pt x="1675" y="943"/>
                  </a:lnTo>
                  <a:lnTo>
                    <a:pt x="1718" y="933"/>
                  </a:lnTo>
                  <a:lnTo>
                    <a:pt x="1798" y="971"/>
                  </a:lnTo>
                  <a:lnTo>
                    <a:pt x="1734" y="988"/>
                  </a:lnTo>
                  <a:lnTo>
                    <a:pt x="1734" y="1000"/>
                  </a:lnTo>
                  <a:lnTo>
                    <a:pt x="1734" y="1011"/>
                  </a:lnTo>
                  <a:lnTo>
                    <a:pt x="1772" y="1028"/>
                  </a:lnTo>
                  <a:lnTo>
                    <a:pt x="1730" y="1028"/>
                  </a:lnTo>
                  <a:lnTo>
                    <a:pt x="1751" y="1049"/>
                  </a:lnTo>
                  <a:lnTo>
                    <a:pt x="1760" y="1066"/>
                  </a:lnTo>
                  <a:lnTo>
                    <a:pt x="1734" y="1082"/>
                  </a:lnTo>
                  <a:lnTo>
                    <a:pt x="1734" y="1082"/>
                  </a:lnTo>
                  <a:lnTo>
                    <a:pt x="1734" y="1082"/>
                  </a:lnTo>
                  <a:close/>
                  <a:moveTo>
                    <a:pt x="3504" y="978"/>
                  </a:moveTo>
                  <a:lnTo>
                    <a:pt x="3525" y="988"/>
                  </a:lnTo>
                  <a:lnTo>
                    <a:pt x="3508" y="995"/>
                  </a:lnTo>
                  <a:lnTo>
                    <a:pt x="3487" y="988"/>
                  </a:lnTo>
                  <a:lnTo>
                    <a:pt x="3504" y="978"/>
                  </a:lnTo>
                  <a:lnTo>
                    <a:pt x="3504" y="978"/>
                  </a:lnTo>
                  <a:lnTo>
                    <a:pt x="3504" y="978"/>
                  </a:lnTo>
                  <a:close/>
                  <a:moveTo>
                    <a:pt x="3201" y="978"/>
                  </a:moveTo>
                  <a:lnTo>
                    <a:pt x="3208" y="988"/>
                  </a:lnTo>
                  <a:lnTo>
                    <a:pt x="3185" y="978"/>
                  </a:lnTo>
                  <a:lnTo>
                    <a:pt x="3201" y="978"/>
                  </a:lnTo>
                  <a:lnTo>
                    <a:pt x="3201" y="978"/>
                  </a:lnTo>
                  <a:lnTo>
                    <a:pt x="3201" y="978"/>
                  </a:lnTo>
                  <a:close/>
                  <a:moveTo>
                    <a:pt x="2592" y="995"/>
                  </a:moveTo>
                  <a:lnTo>
                    <a:pt x="2596" y="1000"/>
                  </a:lnTo>
                  <a:lnTo>
                    <a:pt x="2570" y="1000"/>
                  </a:lnTo>
                  <a:lnTo>
                    <a:pt x="2592" y="995"/>
                  </a:lnTo>
                  <a:lnTo>
                    <a:pt x="2592" y="995"/>
                  </a:lnTo>
                  <a:lnTo>
                    <a:pt x="2592" y="995"/>
                  </a:lnTo>
                  <a:close/>
                  <a:moveTo>
                    <a:pt x="1911" y="1000"/>
                  </a:moveTo>
                  <a:lnTo>
                    <a:pt x="1895" y="995"/>
                  </a:lnTo>
                  <a:lnTo>
                    <a:pt x="1923" y="995"/>
                  </a:lnTo>
                  <a:lnTo>
                    <a:pt x="1911" y="1000"/>
                  </a:lnTo>
                  <a:lnTo>
                    <a:pt x="1911" y="1000"/>
                  </a:lnTo>
                  <a:lnTo>
                    <a:pt x="1911" y="1000"/>
                  </a:lnTo>
                  <a:close/>
                  <a:moveTo>
                    <a:pt x="3818" y="1267"/>
                  </a:moveTo>
                  <a:lnTo>
                    <a:pt x="3881" y="1255"/>
                  </a:lnTo>
                  <a:lnTo>
                    <a:pt x="3848" y="1238"/>
                  </a:lnTo>
                  <a:lnTo>
                    <a:pt x="3903" y="1233"/>
                  </a:lnTo>
                  <a:lnTo>
                    <a:pt x="3924" y="1215"/>
                  </a:lnTo>
                  <a:lnTo>
                    <a:pt x="3962" y="1222"/>
                  </a:lnTo>
                  <a:lnTo>
                    <a:pt x="3945" y="1215"/>
                  </a:lnTo>
                  <a:lnTo>
                    <a:pt x="4000" y="1193"/>
                  </a:lnTo>
                  <a:lnTo>
                    <a:pt x="4054" y="1210"/>
                  </a:lnTo>
                  <a:lnTo>
                    <a:pt x="4120" y="1193"/>
                  </a:lnTo>
                  <a:lnTo>
                    <a:pt x="4172" y="1193"/>
                  </a:lnTo>
                  <a:lnTo>
                    <a:pt x="4196" y="1198"/>
                  </a:lnTo>
                  <a:lnTo>
                    <a:pt x="4189" y="1215"/>
                  </a:lnTo>
                  <a:lnTo>
                    <a:pt x="4243" y="1215"/>
                  </a:lnTo>
                  <a:lnTo>
                    <a:pt x="4281" y="1233"/>
                  </a:lnTo>
                  <a:lnTo>
                    <a:pt x="4248" y="1250"/>
                  </a:lnTo>
                  <a:lnTo>
                    <a:pt x="4314" y="1250"/>
                  </a:lnTo>
                  <a:lnTo>
                    <a:pt x="4302" y="1250"/>
                  </a:lnTo>
                  <a:lnTo>
                    <a:pt x="4314" y="1267"/>
                  </a:lnTo>
                  <a:lnTo>
                    <a:pt x="4302" y="1271"/>
                  </a:lnTo>
                  <a:lnTo>
                    <a:pt x="4318" y="1271"/>
                  </a:lnTo>
                  <a:lnTo>
                    <a:pt x="4314" y="1288"/>
                  </a:lnTo>
                  <a:lnTo>
                    <a:pt x="4248" y="1304"/>
                  </a:lnTo>
                  <a:lnTo>
                    <a:pt x="4264" y="1309"/>
                  </a:lnTo>
                  <a:lnTo>
                    <a:pt x="4259" y="1321"/>
                  </a:lnTo>
                  <a:lnTo>
                    <a:pt x="4302" y="1309"/>
                  </a:lnTo>
                  <a:lnTo>
                    <a:pt x="4323" y="1326"/>
                  </a:lnTo>
                  <a:lnTo>
                    <a:pt x="4281" y="1342"/>
                  </a:lnTo>
                  <a:lnTo>
                    <a:pt x="4259" y="1321"/>
                  </a:lnTo>
                  <a:lnTo>
                    <a:pt x="4248" y="1326"/>
                  </a:lnTo>
                  <a:lnTo>
                    <a:pt x="4271" y="1333"/>
                  </a:lnTo>
                  <a:lnTo>
                    <a:pt x="4264" y="1378"/>
                  </a:lnTo>
                  <a:lnTo>
                    <a:pt x="4196" y="1378"/>
                  </a:lnTo>
                  <a:lnTo>
                    <a:pt x="4151" y="1387"/>
                  </a:lnTo>
                  <a:lnTo>
                    <a:pt x="4070" y="1378"/>
                  </a:lnTo>
                  <a:lnTo>
                    <a:pt x="4054" y="1359"/>
                  </a:lnTo>
                  <a:lnTo>
                    <a:pt x="4066" y="1342"/>
                  </a:lnTo>
                  <a:lnTo>
                    <a:pt x="4066" y="1333"/>
                  </a:lnTo>
                  <a:lnTo>
                    <a:pt x="4033" y="1326"/>
                  </a:lnTo>
                  <a:lnTo>
                    <a:pt x="4033" y="1333"/>
                  </a:lnTo>
                  <a:lnTo>
                    <a:pt x="4049" y="1342"/>
                  </a:lnTo>
                  <a:lnTo>
                    <a:pt x="4033" y="1378"/>
                  </a:lnTo>
                  <a:lnTo>
                    <a:pt x="3978" y="1382"/>
                  </a:lnTo>
                  <a:lnTo>
                    <a:pt x="3936" y="1382"/>
                  </a:lnTo>
                  <a:lnTo>
                    <a:pt x="3924" y="1359"/>
                  </a:lnTo>
                  <a:lnTo>
                    <a:pt x="3924" y="1366"/>
                  </a:lnTo>
                  <a:lnTo>
                    <a:pt x="3924" y="1382"/>
                  </a:lnTo>
                  <a:lnTo>
                    <a:pt x="3910" y="1382"/>
                  </a:lnTo>
                  <a:lnTo>
                    <a:pt x="3903" y="1382"/>
                  </a:lnTo>
                  <a:lnTo>
                    <a:pt x="3886" y="1359"/>
                  </a:lnTo>
                  <a:lnTo>
                    <a:pt x="3893" y="1378"/>
                  </a:lnTo>
                  <a:lnTo>
                    <a:pt x="3886" y="1382"/>
                  </a:lnTo>
                  <a:lnTo>
                    <a:pt x="3848" y="1387"/>
                  </a:lnTo>
                  <a:lnTo>
                    <a:pt x="3848" y="1378"/>
                  </a:lnTo>
                  <a:lnTo>
                    <a:pt x="3839" y="1366"/>
                  </a:lnTo>
                  <a:lnTo>
                    <a:pt x="3827" y="1387"/>
                  </a:lnTo>
                  <a:lnTo>
                    <a:pt x="3801" y="1366"/>
                  </a:lnTo>
                  <a:lnTo>
                    <a:pt x="3811" y="1387"/>
                  </a:lnTo>
                  <a:lnTo>
                    <a:pt x="3676" y="1382"/>
                  </a:lnTo>
                  <a:lnTo>
                    <a:pt x="3676" y="1366"/>
                  </a:lnTo>
                  <a:lnTo>
                    <a:pt x="3693" y="1342"/>
                  </a:lnTo>
                  <a:lnTo>
                    <a:pt x="3676" y="1326"/>
                  </a:lnTo>
                  <a:lnTo>
                    <a:pt x="3655" y="1359"/>
                  </a:lnTo>
                  <a:lnTo>
                    <a:pt x="3655" y="1342"/>
                  </a:lnTo>
                  <a:lnTo>
                    <a:pt x="3638" y="1333"/>
                  </a:lnTo>
                  <a:lnTo>
                    <a:pt x="3650" y="1342"/>
                  </a:lnTo>
                  <a:lnTo>
                    <a:pt x="3638" y="1349"/>
                  </a:lnTo>
                  <a:lnTo>
                    <a:pt x="3622" y="1349"/>
                  </a:lnTo>
                  <a:lnTo>
                    <a:pt x="3638" y="1359"/>
                  </a:lnTo>
                  <a:lnTo>
                    <a:pt x="3638" y="1366"/>
                  </a:lnTo>
                  <a:lnTo>
                    <a:pt x="3612" y="1378"/>
                  </a:lnTo>
                  <a:lnTo>
                    <a:pt x="3579" y="1382"/>
                  </a:lnTo>
                  <a:lnTo>
                    <a:pt x="3532" y="1366"/>
                  </a:lnTo>
                  <a:lnTo>
                    <a:pt x="3525" y="1349"/>
                  </a:lnTo>
                  <a:lnTo>
                    <a:pt x="3504" y="1359"/>
                  </a:lnTo>
                  <a:lnTo>
                    <a:pt x="3525" y="1326"/>
                  </a:lnTo>
                  <a:lnTo>
                    <a:pt x="3494" y="1349"/>
                  </a:lnTo>
                  <a:lnTo>
                    <a:pt x="3504" y="1366"/>
                  </a:lnTo>
                  <a:lnTo>
                    <a:pt x="3470" y="1366"/>
                  </a:lnTo>
                  <a:lnTo>
                    <a:pt x="3433" y="1342"/>
                  </a:lnTo>
                  <a:lnTo>
                    <a:pt x="3440" y="1326"/>
                  </a:lnTo>
                  <a:lnTo>
                    <a:pt x="3423" y="1304"/>
                  </a:lnTo>
                  <a:lnTo>
                    <a:pt x="3440" y="1292"/>
                  </a:lnTo>
                  <a:lnTo>
                    <a:pt x="3433" y="1288"/>
                  </a:lnTo>
                  <a:lnTo>
                    <a:pt x="3402" y="1276"/>
                  </a:lnTo>
                  <a:lnTo>
                    <a:pt x="3407" y="1250"/>
                  </a:lnTo>
                  <a:lnTo>
                    <a:pt x="3440" y="1222"/>
                  </a:lnTo>
                  <a:lnTo>
                    <a:pt x="3423" y="1210"/>
                  </a:lnTo>
                  <a:lnTo>
                    <a:pt x="3433" y="1181"/>
                  </a:lnTo>
                  <a:lnTo>
                    <a:pt x="3395" y="1165"/>
                  </a:lnTo>
                  <a:lnTo>
                    <a:pt x="3395" y="1155"/>
                  </a:lnTo>
                  <a:lnTo>
                    <a:pt x="3364" y="1111"/>
                  </a:lnTo>
                  <a:lnTo>
                    <a:pt x="3310" y="1127"/>
                  </a:lnTo>
                  <a:lnTo>
                    <a:pt x="3201" y="1127"/>
                  </a:lnTo>
                  <a:lnTo>
                    <a:pt x="3201" y="1122"/>
                  </a:lnTo>
                  <a:lnTo>
                    <a:pt x="3239" y="1122"/>
                  </a:lnTo>
                  <a:lnTo>
                    <a:pt x="3170" y="1106"/>
                  </a:lnTo>
                  <a:lnTo>
                    <a:pt x="3147" y="1087"/>
                  </a:lnTo>
                  <a:lnTo>
                    <a:pt x="3185" y="1070"/>
                  </a:lnTo>
                  <a:lnTo>
                    <a:pt x="3154" y="1082"/>
                  </a:lnTo>
                  <a:lnTo>
                    <a:pt x="3095" y="1054"/>
                  </a:lnTo>
                  <a:lnTo>
                    <a:pt x="3100" y="1044"/>
                  </a:lnTo>
                  <a:lnTo>
                    <a:pt x="3133" y="1054"/>
                  </a:lnTo>
                  <a:lnTo>
                    <a:pt x="3100" y="1033"/>
                  </a:lnTo>
                  <a:lnTo>
                    <a:pt x="3095" y="1028"/>
                  </a:lnTo>
                  <a:lnTo>
                    <a:pt x="3109" y="1028"/>
                  </a:lnTo>
                  <a:lnTo>
                    <a:pt x="3100" y="1016"/>
                  </a:lnTo>
                  <a:lnTo>
                    <a:pt x="3180" y="1011"/>
                  </a:lnTo>
                  <a:lnTo>
                    <a:pt x="3277" y="1033"/>
                  </a:lnTo>
                  <a:lnTo>
                    <a:pt x="3315" y="1028"/>
                  </a:lnTo>
                  <a:lnTo>
                    <a:pt x="3352" y="1054"/>
                  </a:lnTo>
                  <a:lnTo>
                    <a:pt x="3348" y="1087"/>
                  </a:lnTo>
                  <a:lnTo>
                    <a:pt x="3326" y="1099"/>
                  </a:lnTo>
                  <a:lnTo>
                    <a:pt x="3331" y="1111"/>
                  </a:lnTo>
                  <a:lnTo>
                    <a:pt x="3364" y="1070"/>
                  </a:lnTo>
                  <a:lnTo>
                    <a:pt x="3508" y="1070"/>
                  </a:lnTo>
                  <a:lnTo>
                    <a:pt x="3546" y="1099"/>
                  </a:lnTo>
                  <a:lnTo>
                    <a:pt x="3470" y="1087"/>
                  </a:lnTo>
                  <a:lnTo>
                    <a:pt x="3633" y="1127"/>
                  </a:lnTo>
                  <a:lnTo>
                    <a:pt x="3546" y="1144"/>
                  </a:lnTo>
                  <a:lnTo>
                    <a:pt x="3570" y="1144"/>
                  </a:lnTo>
                  <a:lnTo>
                    <a:pt x="3461" y="1127"/>
                  </a:lnTo>
                  <a:lnTo>
                    <a:pt x="3532" y="1155"/>
                  </a:lnTo>
                  <a:lnTo>
                    <a:pt x="3515" y="1160"/>
                  </a:lnTo>
                  <a:lnTo>
                    <a:pt x="3563" y="1160"/>
                  </a:lnTo>
                  <a:lnTo>
                    <a:pt x="3494" y="1160"/>
                  </a:lnTo>
                  <a:lnTo>
                    <a:pt x="3508" y="1177"/>
                  </a:lnTo>
                  <a:lnTo>
                    <a:pt x="3504" y="1177"/>
                  </a:lnTo>
                  <a:lnTo>
                    <a:pt x="3504" y="1193"/>
                  </a:lnTo>
                  <a:lnTo>
                    <a:pt x="3525" y="1165"/>
                  </a:lnTo>
                  <a:lnTo>
                    <a:pt x="3546" y="1165"/>
                  </a:lnTo>
                  <a:lnTo>
                    <a:pt x="3541" y="1181"/>
                  </a:lnTo>
                  <a:lnTo>
                    <a:pt x="3579" y="1165"/>
                  </a:lnTo>
                  <a:lnTo>
                    <a:pt x="3600" y="1181"/>
                  </a:lnTo>
                  <a:lnTo>
                    <a:pt x="3596" y="1198"/>
                  </a:lnTo>
                  <a:lnTo>
                    <a:pt x="3612" y="1181"/>
                  </a:lnTo>
                  <a:lnTo>
                    <a:pt x="3633" y="1198"/>
                  </a:lnTo>
                  <a:lnTo>
                    <a:pt x="3633" y="1222"/>
                  </a:lnTo>
                  <a:lnTo>
                    <a:pt x="3596" y="1233"/>
                  </a:lnTo>
                  <a:lnTo>
                    <a:pt x="3612" y="1233"/>
                  </a:lnTo>
                  <a:lnTo>
                    <a:pt x="3600" y="1233"/>
                  </a:lnTo>
                  <a:lnTo>
                    <a:pt x="3633" y="1222"/>
                  </a:lnTo>
                  <a:lnTo>
                    <a:pt x="3650" y="1250"/>
                  </a:lnTo>
                  <a:lnTo>
                    <a:pt x="3667" y="1250"/>
                  </a:lnTo>
                  <a:lnTo>
                    <a:pt x="3655" y="1222"/>
                  </a:lnTo>
                  <a:lnTo>
                    <a:pt x="3667" y="1215"/>
                  </a:lnTo>
                  <a:lnTo>
                    <a:pt x="3704" y="1233"/>
                  </a:lnTo>
                  <a:lnTo>
                    <a:pt x="3704" y="1238"/>
                  </a:lnTo>
                  <a:lnTo>
                    <a:pt x="3742" y="1233"/>
                  </a:lnTo>
                  <a:lnTo>
                    <a:pt x="3759" y="1238"/>
                  </a:lnTo>
                  <a:lnTo>
                    <a:pt x="3747" y="1250"/>
                  </a:lnTo>
                  <a:lnTo>
                    <a:pt x="3759" y="1238"/>
                  </a:lnTo>
                  <a:lnTo>
                    <a:pt x="3759" y="1233"/>
                  </a:lnTo>
                  <a:lnTo>
                    <a:pt x="3763" y="1222"/>
                  </a:lnTo>
                  <a:lnTo>
                    <a:pt x="3773" y="1222"/>
                  </a:lnTo>
                  <a:lnTo>
                    <a:pt x="3834" y="1250"/>
                  </a:lnTo>
                  <a:lnTo>
                    <a:pt x="3818" y="1267"/>
                  </a:lnTo>
                  <a:lnTo>
                    <a:pt x="3818" y="1267"/>
                  </a:lnTo>
                  <a:lnTo>
                    <a:pt x="3818" y="1267"/>
                  </a:lnTo>
                  <a:close/>
                  <a:moveTo>
                    <a:pt x="3071" y="1011"/>
                  </a:moveTo>
                  <a:lnTo>
                    <a:pt x="3078" y="1016"/>
                  </a:lnTo>
                  <a:lnTo>
                    <a:pt x="3057" y="1016"/>
                  </a:lnTo>
                  <a:lnTo>
                    <a:pt x="3071" y="1011"/>
                  </a:lnTo>
                  <a:lnTo>
                    <a:pt x="3071" y="1011"/>
                  </a:lnTo>
                  <a:lnTo>
                    <a:pt x="3071" y="1011"/>
                  </a:lnTo>
                  <a:close/>
                  <a:moveTo>
                    <a:pt x="2230" y="1028"/>
                  </a:moveTo>
                  <a:lnTo>
                    <a:pt x="2235" y="1033"/>
                  </a:lnTo>
                  <a:lnTo>
                    <a:pt x="2219" y="1028"/>
                  </a:lnTo>
                  <a:lnTo>
                    <a:pt x="2230" y="1028"/>
                  </a:lnTo>
                  <a:lnTo>
                    <a:pt x="2230" y="1028"/>
                  </a:lnTo>
                  <a:lnTo>
                    <a:pt x="2230" y="1028"/>
                  </a:lnTo>
                  <a:close/>
                  <a:moveTo>
                    <a:pt x="1890" y="1066"/>
                  </a:moveTo>
                  <a:lnTo>
                    <a:pt x="1836" y="1049"/>
                  </a:lnTo>
                  <a:lnTo>
                    <a:pt x="1852" y="1033"/>
                  </a:lnTo>
                  <a:lnTo>
                    <a:pt x="1907" y="1033"/>
                  </a:lnTo>
                  <a:lnTo>
                    <a:pt x="1933" y="1049"/>
                  </a:lnTo>
                  <a:lnTo>
                    <a:pt x="1890" y="1066"/>
                  </a:lnTo>
                  <a:lnTo>
                    <a:pt x="1890" y="1066"/>
                  </a:lnTo>
                  <a:lnTo>
                    <a:pt x="1890" y="1066"/>
                  </a:lnTo>
                  <a:close/>
                  <a:moveTo>
                    <a:pt x="3078" y="1044"/>
                  </a:moveTo>
                  <a:lnTo>
                    <a:pt x="3083" y="1044"/>
                  </a:lnTo>
                  <a:lnTo>
                    <a:pt x="3071" y="1044"/>
                  </a:lnTo>
                  <a:lnTo>
                    <a:pt x="3078" y="1044"/>
                  </a:lnTo>
                  <a:lnTo>
                    <a:pt x="3078" y="1044"/>
                  </a:lnTo>
                  <a:lnTo>
                    <a:pt x="3078" y="1044"/>
                  </a:lnTo>
                  <a:close/>
                  <a:moveTo>
                    <a:pt x="2058" y="1309"/>
                  </a:moveTo>
                  <a:lnTo>
                    <a:pt x="2112" y="1276"/>
                  </a:lnTo>
                  <a:lnTo>
                    <a:pt x="2004" y="1292"/>
                  </a:lnTo>
                  <a:lnTo>
                    <a:pt x="2015" y="1276"/>
                  </a:lnTo>
                  <a:lnTo>
                    <a:pt x="1987" y="1288"/>
                  </a:lnTo>
                  <a:lnTo>
                    <a:pt x="1987" y="1271"/>
                  </a:lnTo>
                  <a:lnTo>
                    <a:pt x="1982" y="1292"/>
                  </a:lnTo>
                  <a:lnTo>
                    <a:pt x="1978" y="1292"/>
                  </a:lnTo>
                  <a:lnTo>
                    <a:pt x="1895" y="1304"/>
                  </a:lnTo>
                  <a:lnTo>
                    <a:pt x="1895" y="1292"/>
                  </a:lnTo>
                  <a:lnTo>
                    <a:pt x="1907" y="1267"/>
                  </a:lnTo>
                  <a:lnTo>
                    <a:pt x="1944" y="1255"/>
                  </a:lnTo>
                  <a:lnTo>
                    <a:pt x="1895" y="1255"/>
                  </a:lnTo>
                  <a:lnTo>
                    <a:pt x="1890" y="1250"/>
                  </a:lnTo>
                  <a:lnTo>
                    <a:pt x="1890" y="1267"/>
                  </a:lnTo>
                  <a:lnTo>
                    <a:pt x="1878" y="1276"/>
                  </a:lnTo>
                  <a:lnTo>
                    <a:pt x="1852" y="1271"/>
                  </a:lnTo>
                  <a:lnTo>
                    <a:pt x="1874" y="1288"/>
                  </a:lnTo>
                  <a:lnTo>
                    <a:pt x="1869" y="1304"/>
                  </a:lnTo>
                  <a:lnTo>
                    <a:pt x="1819" y="1321"/>
                  </a:lnTo>
                  <a:lnTo>
                    <a:pt x="1815" y="1309"/>
                  </a:lnTo>
                  <a:lnTo>
                    <a:pt x="1815" y="1292"/>
                  </a:lnTo>
                  <a:lnTo>
                    <a:pt x="1803" y="1288"/>
                  </a:lnTo>
                  <a:lnTo>
                    <a:pt x="1798" y="1292"/>
                  </a:lnTo>
                  <a:lnTo>
                    <a:pt x="1782" y="1292"/>
                  </a:lnTo>
                  <a:lnTo>
                    <a:pt x="1789" y="1309"/>
                  </a:lnTo>
                  <a:lnTo>
                    <a:pt x="1772" y="1321"/>
                  </a:lnTo>
                  <a:lnTo>
                    <a:pt x="1744" y="1304"/>
                  </a:lnTo>
                  <a:lnTo>
                    <a:pt x="1734" y="1292"/>
                  </a:lnTo>
                  <a:lnTo>
                    <a:pt x="1734" y="1276"/>
                  </a:lnTo>
                  <a:lnTo>
                    <a:pt x="1706" y="1292"/>
                  </a:lnTo>
                  <a:lnTo>
                    <a:pt x="1637" y="1276"/>
                  </a:lnTo>
                  <a:lnTo>
                    <a:pt x="1663" y="1238"/>
                  </a:lnTo>
                  <a:lnTo>
                    <a:pt x="1751" y="1238"/>
                  </a:lnTo>
                  <a:lnTo>
                    <a:pt x="1826" y="1210"/>
                  </a:lnTo>
                  <a:lnTo>
                    <a:pt x="1730" y="1233"/>
                  </a:lnTo>
                  <a:lnTo>
                    <a:pt x="1663" y="1222"/>
                  </a:lnTo>
                  <a:lnTo>
                    <a:pt x="1696" y="1198"/>
                  </a:lnTo>
                  <a:lnTo>
                    <a:pt x="1836" y="1181"/>
                  </a:lnTo>
                  <a:lnTo>
                    <a:pt x="1706" y="1177"/>
                  </a:lnTo>
                  <a:lnTo>
                    <a:pt x="1718" y="1165"/>
                  </a:lnTo>
                  <a:lnTo>
                    <a:pt x="1706" y="1160"/>
                  </a:lnTo>
                  <a:lnTo>
                    <a:pt x="1713" y="1155"/>
                  </a:lnTo>
                  <a:lnTo>
                    <a:pt x="1734" y="1139"/>
                  </a:lnTo>
                  <a:lnTo>
                    <a:pt x="1852" y="1144"/>
                  </a:lnTo>
                  <a:lnTo>
                    <a:pt x="1760" y="1122"/>
                  </a:lnTo>
                  <a:lnTo>
                    <a:pt x="1789" y="1099"/>
                  </a:lnTo>
                  <a:lnTo>
                    <a:pt x="1826" y="1087"/>
                  </a:lnTo>
                  <a:lnTo>
                    <a:pt x="1878" y="1099"/>
                  </a:lnTo>
                  <a:lnTo>
                    <a:pt x="1878" y="1122"/>
                  </a:lnTo>
                  <a:lnTo>
                    <a:pt x="1895" y="1139"/>
                  </a:lnTo>
                  <a:lnTo>
                    <a:pt x="1966" y="1127"/>
                  </a:lnTo>
                  <a:lnTo>
                    <a:pt x="2004" y="1139"/>
                  </a:lnTo>
                  <a:lnTo>
                    <a:pt x="1999" y="1155"/>
                  </a:lnTo>
                  <a:lnTo>
                    <a:pt x="2004" y="1160"/>
                  </a:lnTo>
                  <a:lnTo>
                    <a:pt x="2053" y="1177"/>
                  </a:lnTo>
                  <a:lnTo>
                    <a:pt x="2020" y="1193"/>
                  </a:lnTo>
                  <a:lnTo>
                    <a:pt x="2074" y="1193"/>
                  </a:lnTo>
                  <a:lnTo>
                    <a:pt x="2084" y="1210"/>
                  </a:lnTo>
                  <a:lnTo>
                    <a:pt x="2074" y="1222"/>
                  </a:lnTo>
                  <a:lnTo>
                    <a:pt x="2091" y="1238"/>
                  </a:lnTo>
                  <a:lnTo>
                    <a:pt x="2143" y="1233"/>
                  </a:lnTo>
                  <a:lnTo>
                    <a:pt x="2252" y="1238"/>
                  </a:lnTo>
                  <a:lnTo>
                    <a:pt x="2263" y="1215"/>
                  </a:lnTo>
                  <a:lnTo>
                    <a:pt x="2167" y="1181"/>
                  </a:lnTo>
                  <a:lnTo>
                    <a:pt x="2197" y="1177"/>
                  </a:lnTo>
                  <a:lnTo>
                    <a:pt x="2219" y="1155"/>
                  </a:lnTo>
                  <a:lnTo>
                    <a:pt x="2155" y="1122"/>
                  </a:lnTo>
                  <a:lnTo>
                    <a:pt x="2143" y="1106"/>
                  </a:lnTo>
                  <a:lnTo>
                    <a:pt x="2197" y="1087"/>
                  </a:lnTo>
                  <a:lnTo>
                    <a:pt x="2181" y="1087"/>
                  </a:lnTo>
                  <a:lnTo>
                    <a:pt x="2219" y="1049"/>
                  </a:lnTo>
                  <a:lnTo>
                    <a:pt x="2263" y="1044"/>
                  </a:lnTo>
                  <a:lnTo>
                    <a:pt x="2285" y="1054"/>
                  </a:lnTo>
                  <a:lnTo>
                    <a:pt x="2268" y="1070"/>
                  </a:lnTo>
                  <a:lnTo>
                    <a:pt x="2273" y="1106"/>
                  </a:lnTo>
                  <a:lnTo>
                    <a:pt x="2306" y="1122"/>
                  </a:lnTo>
                  <a:lnTo>
                    <a:pt x="2285" y="1144"/>
                  </a:lnTo>
                  <a:lnTo>
                    <a:pt x="2289" y="1160"/>
                  </a:lnTo>
                  <a:lnTo>
                    <a:pt x="2327" y="1160"/>
                  </a:lnTo>
                  <a:lnTo>
                    <a:pt x="2344" y="1165"/>
                  </a:lnTo>
                  <a:lnTo>
                    <a:pt x="2318" y="1198"/>
                  </a:lnTo>
                  <a:lnTo>
                    <a:pt x="2339" y="1181"/>
                  </a:lnTo>
                  <a:lnTo>
                    <a:pt x="2377" y="1181"/>
                  </a:lnTo>
                  <a:lnTo>
                    <a:pt x="2393" y="1210"/>
                  </a:lnTo>
                  <a:lnTo>
                    <a:pt x="2415" y="1198"/>
                  </a:lnTo>
                  <a:lnTo>
                    <a:pt x="2393" y="1193"/>
                  </a:lnTo>
                  <a:lnTo>
                    <a:pt x="2393" y="1165"/>
                  </a:lnTo>
                  <a:lnTo>
                    <a:pt x="2431" y="1160"/>
                  </a:lnTo>
                  <a:lnTo>
                    <a:pt x="2483" y="1177"/>
                  </a:lnTo>
                  <a:lnTo>
                    <a:pt x="2490" y="1193"/>
                  </a:lnTo>
                  <a:lnTo>
                    <a:pt x="2500" y="1215"/>
                  </a:lnTo>
                  <a:lnTo>
                    <a:pt x="2478" y="1238"/>
                  </a:lnTo>
                  <a:lnTo>
                    <a:pt x="2483" y="1250"/>
                  </a:lnTo>
                  <a:lnTo>
                    <a:pt x="2478" y="1267"/>
                  </a:lnTo>
                  <a:lnTo>
                    <a:pt x="2462" y="1276"/>
                  </a:lnTo>
                  <a:lnTo>
                    <a:pt x="2462" y="1292"/>
                  </a:lnTo>
                  <a:lnTo>
                    <a:pt x="2452" y="1292"/>
                  </a:lnTo>
                  <a:lnTo>
                    <a:pt x="2452" y="1304"/>
                  </a:lnTo>
                  <a:lnTo>
                    <a:pt x="2393" y="1326"/>
                  </a:lnTo>
                  <a:lnTo>
                    <a:pt x="2339" y="1321"/>
                  </a:lnTo>
                  <a:lnTo>
                    <a:pt x="2327" y="1292"/>
                  </a:lnTo>
                  <a:lnTo>
                    <a:pt x="2322" y="1321"/>
                  </a:lnTo>
                  <a:lnTo>
                    <a:pt x="2289" y="1326"/>
                  </a:lnTo>
                  <a:lnTo>
                    <a:pt x="2263" y="1309"/>
                  </a:lnTo>
                  <a:lnTo>
                    <a:pt x="2285" y="1321"/>
                  </a:lnTo>
                  <a:lnTo>
                    <a:pt x="2263" y="1304"/>
                  </a:lnTo>
                  <a:lnTo>
                    <a:pt x="2209" y="1333"/>
                  </a:lnTo>
                  <a:lnTo>
                    <a:pt x="2155" y="1333"/>
                  </a:lnTo>
                  <a:lnTo>
                    <a:pt x="2122" y="1359"/>
                  </a:lnTo>
                  <a:lnTo>
                    <a:pt x="2058" y="1382"/>
                  </a:lnTo>
                  <a:lnTo>
                    <a:pt x="1982" y="1399"/>
                  </a:lnTo>
                  <a:lnTo>
                    <a:pt x="1911" y="1387"/>
                  </a:lnTo>
                  <a:lnTo>
                    <a:pt x="1869" y="1359"/>
                  </a:lnTo>
                  <a:lnTo>
                    <a:pt x="1978" y="1321"/>
                  </a:lnTo>
                  <a:lnTo>
                    <a:pt x="2058" y="1309"/>
                  </a:lnTo>
                  <a:lnTo>
                    <a:pt x="2058" y="1309"/>
                  </a:lnTo>
                  <a:lnTo>
                    <a:pt x="2058" y="1309"/>
                  </a:lnTo>
                  <a:close/>
                  <a:moveTo>
                    <a:pt x="3579" y="1099"/>
                  </a:moveTo>
                  <a:lnTo>
                    <a:pt x="3532" y="1054"/>
                  </a:lnTo>
                  <a:lnTo>
                    <a:pt x="3579" y="1044"/>
                  </a:lnTo>
                  <a:lnTo>
                    <a:pt x="3600" y="1054"/>
                  </a:lnTo>
                  <a:lnTo>
                    <a:pt x="3584" y="1070"/>
                  </a:lnTo>
                  <a:lnTo>
                    <a:pt x="3600" y="1087"/>
                  </a:lnTo>
                  <a:lnTo>
                    <a:pt x="3579" y="1099"/>
                  </a:lnTo>
                  <a:lnTo>
                    <a:pt x="3579" y="1099"/>
                  </a:lnTo>
                  <a:lnTo>
                    <a:pt x="3579" y="1099"/>
                  </a:lnTo>
                  <a:close/>
                  <a:moveTo>
                    <a:pt x="2856" y="1054"/>
                  </a:moveTo>
                  <a:lnTo>
                    <a:pt x="2785" y="1082"/>
                  </a:lnTo>
                  <a:lnTo>
                    <a:pt x="2759" y="1082"/>
                  </a:lnTo>
                  <a:lnTo>
                    <a:pt x="2823" y="1054"/>
                  </a:lnTo>
                  <a:lnTo>
                    <a:pt x="2856" y="1054"/>
                  </a:lnTo>
                  <a:lnTo>
                    <a:pt x="2856" y="1054"/>
                  </a:lnTo>
                  <a:lnTo>
                    <a:pt x="2856" y="1054"/>
                  </a:lnTo>
                  <a:close/>
                  <a:moveTo>
                    <a:pt x="1404" y="1054"/>
                  </a:moveTo>
                  <a:lnTo>
                    <a:pt x="1411" y="1054"/>
                  </a:lnTo>
                  <a:lnTo>
                    <a:pt x="1389" y="1054"/>
                  </a:lnTo>
                  <a:lnTo>
                    <a:pt x="1404" y="1054"/>
                  </a:lnTo>
                  <a:lnTo>
                    <a:pt x="1404" y="1054"/>
                  </a:lnTo>
                  <a:lnTo>
                    <a:pt x="1404" y="1054"/>
                  </a:lnTo>
                  <a:close/>
                  <a:moveTo>
                    <a:pt x="2911" y="1054"/>
                  </a:moveTo>
                  <a:lnTo>
                    <a:pt x="2915" y="1066"/>
                  </a:lnTo>
                  <a:lnTo>
                    <a:pt x="2868" y="1054"/>
                  </a:lnTo>
                  <a:lnTo>
                    <a:pt x="2911" y="1054"/>
                  </a:lnTo>
                  <a:lnTo>
                    <a:pt x="2911" y="1054"/>
                  </a:lnTo>
                  <a:lnTo>
                    <a:pt x="2911" y="1054"/>
                  </a:lnTo>
                  <a:close/>
                  <a:moveTo>
                    <a:pt x="2899" y="1155"/>
                  </a:moveTo>
                  <a:lnTo>
                    <a:pt x="2915" y="1144"/>
                  </a:lnTo>
                  <a:lnTo>
                    <a:pt x="2844" y="1139"/>
                  </a:lnTo>
                  <a:lnTo>
                    <a:pt x="2840" y="1127"/>
                  </a:lnTo>
                  <a:lnTo>
                    <a:pt x="2882" y="1122"/>
                  </a:lnTo>
                  <a:lnTo>
                    <a:pt x="2830" y="1111"/>
                  </a:lnTo>
                  <a:lnTo>
                    <a:pt x="2807" y="1087"/>
                  </a:lnTo>
                  <a:lnTo>
                    <a:pt x="2856" y="1070"/>
                  </a:lnTo>
                  <a:lnTo>
                    <a:pt x="2899" y="1070"/>
                  </a:lnTo>
                  <a:lnTo>
                    <a:pt x="2937" y="1106"/>
                  </a:lnTo>
                  <a:lnTo>
                    <a:pt x="2937" y="1099"/>
                  </a:lnTo>
                  <a:lnTo>
                    <a:pt x="2953" y="1106"/>
                  </a:lnTo>
                  <a:lnTo>
                    <a:pt x="2948" y="1087"/>
                  </a:lnTo>
                  <a:lnTo>
                    <a:pt x="2948" y="1070"/>
                  </a:lnTo>
                  <a:lnTo>
                    <a:pt x="2986" y="1070"/>
                  </a:lnTo>
                  <a:lnTo>
                    <a:pt x="2953" y="1066"/>
                  </a:lnTo>
                  <a:lnTo>
                    <a:pt x="2970" y="1066"/>
                  </a:lnTo>
                  <a:lnTo>
                    <a:pt x="3029" y="1087"/>
                  </a:lnTo>
                  <a:lnTo>
                    <a:pt x="3041" y="1106"/>
                  </a:lnTo>
                  <a:lnTo>
                    <a:pt x="3029" y="1111"/>
                  </a:lnTo>
                  <a:lnTo>
                    <a:pt x="3041" y="1127"/>
                  </a:lnTo>
                  <a:lnTo>
                    <a:pt x="3057" y="1144"/>
                  </a:lnTo>
                  <a:lnTo>
                    <a:pt x="3041" y="1165"/>
                  </a:lnTo>
                  <a:lnTo>
                    <a:pt x="3045" y="1193"/>
                  </a:lnTo>
                  <a:lnTo>
                    <a:pt x="3024" y="1210"/>
                  </a:lnTo>
                  <a:lnTo>
                    <a:pt x="3062" y="1215"/>
                  </a:lnTo>
                  <a:lnTo>
                    <a:pt x="3057" y="1238"/>
                  </a:lnTo>
                  <a:lnTo>
                    <a:pt x="3071" y="1255"/>
                  </a:lnTo>
                  <a:lnTo>
                    <a:pt x="3041" y="1233"/>
                  </a:lnTo>
                  <a:lnTo>
                    <a:pt x="3029" y="1233"/>
                  </a:lnTo>
                  <a:lnTo>
                    <a:pt x="3029" y="1250"/>
                  </a:lnTo>
                  <a:lnTo>
                    <a:pt x="3019" y="1238"/>
                  </a:lnTo>
                  <a:lnTo>
                    <a:pt x="3029" y="1250"/>
                  </a:lnTo>
                  <a:lnTo>
                    <a:pt x="3019" y="1255"/>
                  </a:lnTo>
                  <a:lnTo>
                    <a:pt x="3024" y="1255"/>
                  </a:lnTo>
                  <a:lnTo>
                    <a:pt x="3007" y="1255"/>
                  </a:lnTo>
                  <a:lnTo>
                    <a:pt x="3007" y="1271"/>
                  </a:lnTo>
                  <a:lnTo>
                    <a:pt x="3045" y="1288"/>
                  </a:lnTo>
                  <a:lnTo>
                    <a:pt x="3024" y="1292"/>
                  </a:lnTo>
                  <a:lnTo>
                    <a:pt x="3019" y="1276"/>
                  </a:lnTo>
                  <a:lnTo>
                    <a:pt x="3007" y="1288"/>
                  </a:lnTo>
                  <a:lnTo>
                    <a:pt x="3019" y="1292"/>
                  </a:lnTo>
                  <a:lnTo>
                    <a:pt x="3019" y="1309"/>
                  </a:lnTo>
                  <a:lnTo>
                    <a:pt x="2915" y="1309"/>
                  </a:lnTo>
                  <a:lnTo>
                    <a:pt x="2920" y="1292"/>
                  </a:lnTo>
                  <a:lnTo>
                    <a:pt x="2911" y="1309"/>
                  </a:lnTo>
                  <a:lnTo>
                    <a:pt x="2915" y="1309"/>
                  </a:lnTo>
                  <a:lnTo>
                    <a:pt x="2868" y="1309"/>
                  </a:lnTo>
                  <a:lnTo>
                    <a:pt x="2844" y="1309"/>
                  </a:lnTo>
                  <a:lnTo>
                    <a:pt x="2844" y="1288"/>
                  </a:lnTo>
                  <a:lnTo>
                    <a:pt x="2840" y="1288"/>
                  </a:lnTo>
                  <a:lnTo>
                    <a:pt x="2878" y="1276"/>
                  </a:lnTo>
                  <a:lnTo>
                    <a:pt x="2823" y="1267"/>
                  </a:lnTo>
                  <a:lnTo>
                    <a:pt x="2844" y="1255"/>
                  </a:lnTo>
                  <a:lnTo>
                    <a:pt x="2830" y="1250"/>
                  </a:lnTo>
                  <a:lnTo>
                    <a:pt x="2878" y="1250"/>
                  </a:lnTo>
                  <a:lnTo>
                    <a:pt x="2856" y="1238"/>
                  </a:lnTo>
                  <a:lnTo>
                    <a:pt x="2899" y="1222"/>
                  </a:lnTo>
                  <a:lnTo>
                    <a:pt x="2882" y="1222"/>
                  </a:lnTo>
                  <a:lnTo>
                    <a:pt x="2894" y="1215"/>
                  </a:lnTo>
                  <a:lnTo>
                    <a:pt x="2953" y="1210"/>
                  </a:lnTo>
                  <a:lnTo>
                    <a:pt x="2700" y="1238"/>
                  </a:lnTo>
                  <a:lnTo>
                    <a:pt x="2679" y="1222"/>
                  </a:lnTo>
                  <a:lnTo>
                    <a:pt x="2700" y="1210"/>
                  </a:lnTo>
                  <a:lnTo>
                    <a:pt x="2738" y="1210"/>
                  </a:lnTo>
                  <a:lnTo>
                    <a:pt x="2731" y="1198"/>
                  </a:lnTo>
                  <a:lnTo>
                    <a:pt x="2705" y="1198"/>
                  </a:lnTo>
                  <a:lnTo>
                    <a:pt x="2722" y="1181"/>
                  </a:lnTo>
                  <a:lnTo>
                    <a:pt x="2793" y="1198"/>
                  </a:lnTo>
                  <a:lnTo>
                    <a:pt x="2785" y="1198"/>
                  </a:lnTo>
                  <a:lnTo>
                    <a:pt x="2785" y="1193"/>
                  </a:lnTo>
                  <a:lnTo>
                    <a:pt x="2769" y="1177"/>
                  </a:lnTo>
                  <a:lnTo>
                    <a:pt x="2785" y="1160"/>
                  </a:lnTo>
                  <a:lnTo>
                    <a:pt x="2759" y="1165"/>
                  </a:lnTo>
                  <a:lnTo>
                    <a:pt x="2748" y="1155"/>
                  </a:lnTo>
                  <a:lnTo>
                    <a:pt x="2776" y="1127"/>
                  </a:lnTo>
                  <a:lnTo>
                    <a:pt x="2722" y="1127"/>
                  </a:lnTo>
                  <a:lnTo>
                    <a:pt x="2731" y="1127"/>
                  </a:lnTo>
                  <a:lnTo>
                    <a:pt x="2731" y="1106"/>
                  </a:lnTo>
                  <a:lnTo>
                    <a:pt x="2748" y="1099"/>
                  </a:lnTo>
                  <a:lnTo>
                    <a:pt x="2785" y="1106"/>
                  </a:lnTo>
                  <a:lnTo>
                    <a:pt x="2878" y="1181"/>
                  </a:lnTo>
                  <a:lnTo>
                    <a:pt x="2915" y="1165"/>
                  </a:lnTo>
                  <a:lnTo>
                    <a:pt x="2882" y="1177"/>
                  </a:lnTo>
                  <a:lnTo>
                    <a:pt x="2861" y="1144"/>
                  </a:lnTo>
                  <a:lnTo>
                    <a:pt x="2899" y="1155"/>
                  </a:lnTo>
                  <a:lnTo>
                    <a:pt x="2899" y="1155"/>
                  </a:lnTo>
                  <a:lnTo>
                    <a:pt x="2899" y="1155"/>
                  </a:lnTo>
                  <a:close/>
                  <a:moveTo>
                    <a:pt x="2587" y="1066"/>
                  </a:moveTo>
                  <a:lnTo>
                    <a:pt x="2596" y="1070"/>
                  </a:lnTo>
                  <a:lnTo>
                    <a:pt x="2592" y="1082"/>
                  </a:lnTo>
                  <a:lnTo>
                    <a:pt x="2608" y="1070"/>
                  </a:lnTo>
                  <a:lnTo>
                    <a:pt x="2667" y="1106"/>
                  </a:lnTo>
                  <a:lnTo>
                    <a:pt x="2630" y="1122"/>
                  </a:lnTo>
                  <a:lnTo>
                    <a:pt x="2570" y="1122"/>
                  </a:lnTo>
                  <a:lnTo>
                    <a:pt x="2575" y="1111"/>
                  </a:lnTo>
                  <a:lnTo>
                    <a:pt x="2570" y="1099"/>
                  </a:lnTo>
                  <a:lnTo>
                    <a:pt x="2542" y="1082"/>
                  </a:lnTo>
                  <a:lnTo>
                    <a:pt x="2587" y="1066"/>
                  </a:lnTo>
                  <a:lnTo>
                    <a:pt x="2587" y="1066"/>
                  </a:lnTo>
                  <a:lnTo>
                    <a:pt x="2587" y="1066"/>
                  </a:lnTo>
                  <a:close/>
                  <a:moveTo>
                    <a:pt x="3990" y="1087"/>
                  </a:moveTo>
                  <a:lnTo>
                    <a:pt x="4000" y="1099"/>
                  </a:lnTo>
                  <a:lnTo>
                    <a:pt x="3990" y="1099"/>
                  </a:lnTo>
                  <a:lnTo>
                    <a:pt x="3990" y="1087"/>
                  </a:lnTo>
                  <a:lnTo>
                    <a:pt x="3990" y="1087"/>
                  </a:lnTo>
                  <a:lnTo>
                    <a:pt x="3990" y="1087"/>
                  </a:lnTo>
                  <a:close/>
                  <a:moveTo>
                    <a:pt x="3612" y="1099"/>
                  </a:moveTo>
                  <a:lnTo>
                    <a:pt x="3617" y="1099"/>
                  </a:lnTo>
                  <a:lnTo>
                    <a:pt x="3600" y="1099"/>
                  </a:lnTo>
                  <a:lnTo>
                    <a:pt x="3612" y="1099"/>
                  </a:lnTo>
                  <a:lnTo>
                    <a:pt x="3612" y="1099"/>
                  </a:lnTo>
                  <a:lnTo>
                    <a:pt x="3612" y="1099"/>
                  </a:lnTo>
                  <a:close/>
                  <a:moveTo>
                    <a:pt x="2693" y="1122"/>
                  </a:moveTo>
                  <a:lnTo>
                    <a:pt x="2700" y="1139"/>
                  </a:lnTo>
                  <a:lnTo>
                    <a:pt x="2693" y="1144"/>
                  </a:lnTo>
                  <a:lnTo>
                    <a:pt x="2646" y="1160"/>
                  </a:lnTo>
                  <a:lnTo>
                    <a:pt x="2596" y="1160"/>
                  </a:lnTo>
                  <a:lnTo>
                    <a:pt x="2608" y="1160"/>
                  </a:lnTo>
                  <a:lnTo>
                    <a:pt x="2559" y="1144"/>
                  </a:lnTo>
                  <a:lnTo>
                    <a:pt x="2575" y="1139"/>
                  </a:lnTo>
                  <a:lnTo>
                    <a:pt x="2693" y="1122"/>
                  </a:lnTo>
                  <a:lnTo>
                    <a:pt x="2693" y="1122"/>
                  </a:lnTo>
                  <a:lnTo>
                    <a:pt x="2693" y="1122"/>
                  </a:lnTo>
                  <a:close/>
                  <a:moveTo>
                    <a:pt x="3239" y="1144"/>
                  </a:moveTo>
                  <a:lnTo>
                    <a:pt x="3234" y="1160"/>
                  </a:lnTo>
                  <a:lnTo>
                    <a:pt x="3218" y="1155"/>
                  </a:lnTo>
                  <a:lnTo>
                    <a:pt x="3239" y="1144"/>
                  </a:lnTo>
                  <a:lnTo>
                    <a:pt x="3239" y="1144"/>
                  </a:lnTo>
                  <a:lnTo>
                    <a:pt x="3239" y="1144"/>
                  </a:lnTo>
                  <a:close/>
                  <a:moveTo>
                    <a:pt x="4356" y="1155"/>
                  </a:moveTo>
                  <a:lnTo>
                    <a:pt x="4368" y="1155"/>
                  </a:lnTo>
                  <a:lnTo>
                    <a:pt x="4335" y="1177"/>
                  </a:lnTo>
                  <a:lnTo>
                    <a:pt x="4356" y="1193"/>
                  </a:lnTo>
                  <a:lnTo>
                    <a:pt x="4323" y="1181"/>
                  </a:lnTo>
                  <a:lnTo>
                    <a:pt x="4318" y="1193"/>
                  </a:lnTo>
                  <a:lnTo>
                    <a:pt x="4297" y="1181"/>
                  </a:lnTo>
                  <a:lnTo>
                    <a:pt x="4356" y="1155"/>
                  </a:lnTo>
                  <a:lnTo>
                    <a:pt x="4356" y="1155"/>
                  </a:lnTo>
                  <a:lnTo>
                    <a:pt x="4356" y="1155"/>
                  </a:lnTo>
                  <a:close/>
                  <a:moveTo>
                    <a:pt x="1642" y="1155"/>
                  </a:moveTo>
                  <a:lnTo>
                    <a:pt x="1654" y="1155"/>
                  </a:lnTo>
                  <a:lnTo>
                    <a:pt x="1588" y="1233"/>
                  </a:lnTo>
                  <a:lnTo>
                    <a:pt x="1571" y="1238"/>
                  </a:lnTo>
                  <a:lnTo>
                    <a:pt x="1512" y="1222"/>
                  </a:lnTo>
                  <a:lnTo>
                    <a:pt x="1571" y="1177"/>
                  </a:lnTo>
                  <a:lnTo>
                    <a:pt x="1642" y="1155"/>
                  </a:lnTo>
                  <a:lnTo>
                    <a:pt x="1642" y="1155"/>
                  </a:lnTo>
                  <a:lnTo>
                    <a:pt x="1642" y="1155"/>
                  </a:lnTo>
                  <a:close/>
                  <a:moveTo>
                    <a:pt x="2717" y="1155"/>
                  </a:moveTo>
                  <a:lnTo>
                    <a:pt x="2705" y="1165"/>
                  </a:lnTo>
                  <a:lnTo>
                    <a:pt x="2646" y="1177"/>
                  </a:lnTo>
                  <a:lnTo>
                    <a:pt x="2596" y="1177"/>
                  </a:lnTo>
                  <a:lnTo>
                    <a:pt x="2717" y="1155"/>
                  </a:lnTo>
                  <a:lnTo>
                    <a:pt x="2717" y="1155"/>
                  </a:lnTo>
                  <a:lnTo>
                    <a:pt x="2717" y="1155"/>
                  </a:lnTo>
                  <a:close/>
                  <a:moveTo>
                    <a:pt x="1276" y="1160"/>
                  </a:moveTo>
                  <a:lnTo>
                    <a:pt x="1285" y="1160"/>
                  </a:lnTo>
                  <a:lnTo>
                    <a:pt x="1276" y="1165"/>
                  </a:lnTo>
                  <a:lnTo>
                    <a:pt x="1276" y="1160"/>
                  </a:lnTo>
                  <a:lnTo>
                    <a:pt x="1276" y="1160"/>
                  </a:lnTo>
                  <a:lnTo>
                    <a:pt x="1276" y="1160"/>
                  </a:lnTo>
                  <a:close/>
                  <a:moveTo>
                    <a:pt x="2738" y="1177"/>
                  </a:moveTo>
                  <a:lnTo>
                    <a:pt x="2693" y="1198"/>
                  </a:lnTo>
                  <a:lnTo>
                    <a:pt x="2641" y="1198"/>
                  </a:lnTo>
                  <a:lnTo>
                    <a:pt x="2684" y="1177"/>
                  </a:lnTo>
                  <a:lnTo>
                    <a:pt x="2738" y="1177"/>
                  </a:lnTo>
                  <a:lnTo>
                    <a:pt x="2738" y="1177"/>
                  </a:lnTo>
                  <a:lnTo>
                    <a:pt x="2738" y="1177"/>
                  </a:lnTo>
                  <a:close/>
                  <a:moveTo>
                    <a:pt x="3260" y="1165"/>
                  </a:moveTo>
                  <a:lnTo>
                    <a:pt x="3277" y="1198"/>
                  </a:lnTo>
                  <a:lnTo>
                    <a:pt x="3244" y="1198"/>
                  </a:lnTo>
                  <a:lnTo>
                    <a:pt x="3234" y="1177"/>
                  </a:lnTo>
                  <a:lnTo>
                    <a:pt x="3260" y="1165"/>
                  </a:lnTo>
                  <a:lnTo>
                    <a:pt x="3260" y="1165"/>
                  </a:lnTo>
                  <a:lnTo>
                    <a:pt x="3260" y="1165"/>
                  </a:lnTo>
                  <a:close/>
                  <a:moveTo>
                    <a:pt x="3170" y="1181"/>
                  </a:moveTo>
                  <a:lnTo>
                    <a:pt x="3163" y="1177"/>
                  </a:lnTo>
                  <a:lnTo>
                    <a:pt x="3180" y="1165"/>
                  </a:lnTo>
                  <a:lnTo>
                    <a:pt x="3170" y="1181"/>
                  </a:lnTo>
                  <a:lnTo>
                    <a:pt x="3170" y="1181"/>
                  </a:lnTo>
                  <a:lnTo>
                    <a:pt x="3170" y="1181"/>
                  </a:lnTo>
                  <a:close/>
                  <a:moveTo>
                    <a:pt x="1411" y="1177"/>
                  </a:moveTo>
                  <a:lnTo>
                    <a:pt x="1404" y="1210"/>
                  </a:lnTo>
                  <a:lnTo>
                    <a:pt x="1382" y="1198"/>
                  </a:lnTo>
                  <a:lnTo>
                    <a:pt x="1404" y="1193"/>
                  </a:lnTo>
                  <a:lnTo>
                    <a:pt x="1404" y="1177"/>
                  </a:lnTo>
                  <a:lnTo>
                    <a:pt x="1411" y="1177"/>
                  </a:lnTo>
                  <a:lnTo>
                    <a:pt x="1411" y="1177"/>
                  </a:lnTo>
                  <a:lnTo>
                    <a:pt x="1411" y="1177"/>
                  </a:lnTo>
                  <a:close/>
                  <a:moveTo>
                    <a:pt x="1285" y="1177"/>
                  </a:moveTo>
                  <a:lnTo>
                    <a:pt x="1314" y="1181"/>
                  </a:lnTo>
                  <a:lnTo>
                    <a:pt x="1285" y="1177"/>
                  </a:lnTo>
                  <a:lnTo>
                    <a:pt x="1285" y="1177"/>
                  </a:lnTo>
                  <a:lnTo>
                    <a:pt x="1285" y="1177"/>
                  </a:lnTo>
                  <a:close/>
                  <a:moveTo>
                    <a:pt x="3154" y="1222"/>
                  </a:moveTo>
                  <a:lnTo>
                    <a:pt x="3163" y="1233"/>
                  </a:lnTo>
                  <a:lnTo>
                    <a:pt x="3137" y="1250"/>
                  </a:lnTo>
                  <a:lnTo>
                    <a:pt x="3126" y="1233"/>
                  </a:lnTo>
                  <a:lnTo>
                    <a:pt x="3116" y="1238"/>
                  </a:lnTo>
                  <a:lnTo>
                    <a:pt x="3126" y="1250"/>
                  </a:lnTo>
                  <a:lnTo>
                    <a:pt x="3100" y="1267"/>
                  </a:lnTo>
                  <a:lnTo>
                    <a:pt x="3083" y="1238"/>
                  </a:lnTo>
                  <a:lnTo>
                    <a:pt x="3133" y="1215"/>
                  </a:lnTo>
                  <a:lnTo>
                    <a:pt x="3154" y="1222"/>
                  </a:lnTo>
                  <a:lnTo>
                    <a:pt x="3154" y="1222"/>
                  </a:lnTo>
                  <a:lnTo>
                    <a:pt x="3154" y="1222"/>
                  </a:lnTo>
                  <a:close/>
                  <a:moveTo>
                    <a:pt x="3154" y="1326"/>
                  </a:moveTo>
                  <a:lnTo>
                    <a:pt x="3147" y="1321"/>
                  </a:lnTo>
                  <a:lnTo>
                    <a:pt x="3154" y="1309"/>
                  </a:lnTo>
                  <a:lnTo>
                    <a:pt x="3133" y="1326"/>
                  </a:lnTo>
                  <a:lnTo>
                    <a:pt x="3133" y="1309"/>
                  </a:lnTo>
                  <a:lnTo>
                    <a:pt x="3116" y="1309"/>
                  </a:lnTo>
                  <a:lnTo>
                    <a:pt x="3116" y="1304"/>
                  </a:lnTo>
                  <a:lnTo>
                    <a:pt x="3126" y="1288"/>
                  </a:lnTo>
                  <a:lnTo>
                    <a:pt x="3163" y="1271"/>
                  </a:lnTo>
                  <a:lnTo>
                    <a:pt x="3154" y="1267"/>
                  </a:lnTo>
                  <a:lnTo>
                    <a:pt x="3170" y="1255"/>
                  </a:lnTo>
                  <a:lnTo>
                    <a:pt x="3147" y="1255"/>
                  </a:lnTo>
                  <a:lnTo>
                    <a:pt x="3180" y="1255"/>
                  </a:lnTo>
                  <a:lnTo>
                    <a:pt x="3170" y="1250"/>
                  </a:lnTo>
                  <a:lnTo>
                    <a:pt x="3234" y="1215"/>
                  </a:lnTo>
                  <a:lnTo>
                    <a:pt x="3272" y="1222"/>
                  </a:lnTo>
                  <a:lnTo>
                    <a:pt x="3331" y="1271"/>
                  </a:lnTo>
                  <a:lnTo>
                    <a:pt x="3343" y="1326"/>
                  </a:lnTo>
                  <a:lnTo>
                    <a:pt x="3326" y="1359"/>
                  </a:lnTo>
                  <a:lnTo>
                    <a:pt x="3256" y="1366"/>
                  </a:lnTo>
                  <a:lnTo>
                    <a:pt x="3154" y="1326"/>
                  </a:lnTo>
                  <a:lnTo>
                    <a:pt x="3154" y="1326"/>
                  </a:lnTo>
                  <a:lnTo>
                    <a:pt x="3154" y="1326"/>
                  </a:lnTo>
                  <a:close/>
                  <a:moveTo>
                    <a:pt x="2844" y="1233"/>
                  </a:moveTo>
                  <a:lnTo>
                    <a:pt x="2856" y="1222"/>
                  </a:lnTo>
                  <a:lnTo>
                    <a:pt x="2802" y="1233"/>
                  </a:lnTo>
                  <a:lnTo>
                    <a:pt x="2861" y="1222"/>
                  </a:lnTo>
                  <a:lnTo>
                    <a:pt x="2844" y="1233"/>
                  </a:lnTo>
                  <a:lnTo>
                    <a:pt x="2844" y="1233"/>
                  </a:lnTo>
                  <a:lnTo>
                    <a:pt x="2844" y="1233"/>
                  </a:lnTo>
                  <a:close/>
                  <a:moveTo>
                    <a:pt x="2587" y="1250"/>
                  </a:moveTo>
                  <a:lnTo>
                    <a:pt x="2608" y="1267"/>
                  </a:lnTo>
                  <a:lnTo>
                    <a:pt x="2625" y="1288"/>
                  </a:lnTo>
                  <a:lnTo>
                    <a:pt x="2575" y="1309"/>
                  </a:lnTo>
                  <a:lnTo>
                    <a:pt x="2537" y="1292"/>
                  </a:lnTo>
                  <a:lnTo>
                    <a:pt x="2542" y="1267"/>
                  </a:lnTo>
                  <a:lnTo>
                    <a:pt x="2587" y="1250"/>
                  </a:lnTo>
                  <a:lnTo>
                    <a:pt x="2587" y="1250"/>
                  </a:lnTo>
                  <a:lnTo>
                    <a:pt x="2587" y="1250"/>
                  </a:lnTo>
                  <a:close/>
                  <a:moveTo>
                    <a:pt x="3071" y="1267"/>
                  </a:moveTo>
                  <a:lnTo>
                    <a:pt x="3078" y="1276"/>
                  </a:lnTo>
                  <a:lnTo>
                    <a:pt x="3071" y="1267"/>
                  </a:lnTo>
                  <a:lnTo>
                    <a:pt x="3071" y="1267"/>
                  </a:lnTo>
                  <a:lnTo>
                    <a:pt x="3071" y="1267"/>
                  </a:lnTo>
                  <a:close/>
                  <a:moveTo>
                    <a:pt x="3185" y="1366"/>
                  </a:moveTo>
                  <a:lnTo>
                    <a:pt x="3208" y="1382"/>
                  </a:lnTo>
                  <a:lnTo>
                    <a:pt x="3163" y="1378"/>
                  </a:lnTo>
                  <a:lnTo>
                    <a:pt x="3185" y="1366"/>
                  </a:lnTo>
                  <a:lnTo>
                    <a:pt x="3185" y="1366"/>
                  </a:lnTo>
                  <a:lnTo>
                    <a:pt x="3185" y="1366"/>
                  </a:lnTo>
                  <a:close/>
                  <a:moveTo>
                    <a:pt x="3062" y="1366"/>
                  </a:moveTo>
                  <a:lnTo>
                    <a:pt x="3071" y="1378"/>
                  </a:lnTo>
                  <a:lnTo>
                    <a:pt x="3045" y="1387"/>
                  </a:lnTo>
                  <a:lnTo>
                    <a:pt x="3029" y="1382"/>
                  </a:lnTo>
                  <a:lnTo>
                    <a:pt x="3062" y="1366"/>
                  </a:lnTo>
                  <a:lnTo>
                    <a:pt x="3062" y="1366"/>
                  </a:lnTo>
                  <a:lnTo>
                    <a:pt x="3062" y="1366"/>
                  </a:lnTo>
                  <a:close/>
                  <a:moveTo>
                    <a:pt x="1205" y="1493"/>
                  </a:moveTo>
                  <a:lnTo>
                    <a:pt x="1210" y="1486"/>
                  </a:lnTo>
                  <a:lnTo>
                    <a:pt x="1205" y="1477"/>
                  </a:lnTo>
                  <a:lnTo>
                    <a:pt x="1177" y="1470"/>
                  </a:lnTo>
                  <a:lnTo>
                    <a:pt x="1167" y="1437"/>
                  </a:lnTo>
                  <a:lnTo>
                    <a:pt x="1139" y="1404"/>
                  </a:lnTo>
                  <a:lnTo>
                    <a:pt x="1366" y="1378"/>
                  </a:lnTo>
                  <a:lnTo>
                    <a:pt x="1503" y="1420"/>
                  </a:lnTo>
                  <a:lnTo>
                    <a:pt x="1491" y="1444"/>
                  </a:lnTo>
                  <a:lnTo>
                    <a:pt x="1491" y="1453"/>
                  </a:lnTo>
                  <a:lnTo>
                    <a:pt x="1512" y="1420"/>
                  </a:lnTo>
                  <a:lnTo>
                    <a:pt x="1533" y="1420"/>
                  </a:lnTo>
                  <a:lnTo>
                    <a:pt x="1545" y="1437"/>
                  </a:lnTo>
                  <a:lnTo>
                    <a:pt x="1533" y="1453"/>
                  </a:lnTo>
                  <a:lnTo>
                    <a:pt x="1545" y="1453"/>
                  </a:lnTo>
                  <a:lnTo>
                    <a:pt x="1555" y="1437"/>
                  </a:lnTo>
                  <a:lnTo>
                    <a:pt x="1550" y="1432"/>
                  </a:lnTo>
                  <a:lnTo>
                    <a:pt x="1567" y="1420"/>
                  </a:lnTo>
                  <a:lnTo>
                    <a:pt x="1654" y="1420"/>
                  </a:lnTo>
                  <a:lnTo>
                    <a:pt x="1782" y="1498"/>
                  </a:lnTo>
                  <a:lnTo>
                    <a:pt x="1803" y="1526"/>
                  </a:lnTo>
                  <a:lnTo>
                    <a:pt x="1533" y="1642"/>
                  </a:lnTo>
                  <a:lnTo>
                    <a:pt x="1517" y="1682"/>
                  </a:lnTo>
                  <a:lnTo>
                    <a:pt x="1491" y="1699"/>
                  </a:lnTo>
                  <a:lnTo>
                    <a:pt x="1458" y="1692"/>
                  </a:lnTo>
                  <a:lnTo>
                    <a:pt x="1465" y="1708"/>
                  </a:lnTo>
                  <a:lnTo>
                    <a:pt x="1441" y="1737"/>
                  </a:lnTo>
                  <a:lnTo>
                    <a:pt x="1448" y="1770"/>
                  </a:lnTo>
                  <a:lnTo>
                    <a:pt x="1437" y="1793"/>
                  </a:lnTo>
                  <a:lnTo>
                    <a:pt x="1373" y="1810"/>
                  </a:lnTo>
                  <a:lnTo>
                    <a:pt x="1352" y="1803"/>
                  </a:lnTo>
                  <a:lnTo>
                    <a:pt x="1281" y="1848"/>
                  </a:lnTo>
                  <a:lnTo>
                    <a:pt x="1243" y="1843"/>
                  </a:lnTo>
                  <a:lnTo>
                    <a:pt x="1193" y="1770"/>
                  </a:lnTo>
                  <a:lnTo>
                    <a:pt x="1101" y="1737"/>
                  </a:lnTo>
                  <a:lnTo>
                    <a:pt x="1125" y="1732"/>
                  </a:lnTo>
                  <a:lnTo>
                    <a:pt x="1059" y="1732"/>
                  </a:lnTo>
                  <a:lnTo>
                    <a:pt x="1070" y="1732"/>
                  </a:lnTo>
                  <a:lnTo>
                    <a:pt x="1070" y="1708"/>
                  </a:lnTo>
                  <a:lnTo>
                    <a:pt x="1096" y="1675"/>
                  </a:lnTo>
                  <a:lnTo>
                    <a:pt x="1118" y="1654"/>
                  </a:lnTo>
                  <a:lnTo>
                    <a:pt x="1125" y="1637"/>
                  </a:lnTo>
                  <a:lnTo>
                    <a:pt x="1118" y="1621"/>
                  </a:lnTo>
                  <a:lnTo>
                    <a:pt x="1156" y="1604"/>
                  </a:lnTo>
                  <a:lnTo>
                    <a:pt x="1134" y="1581"/>
                  </a:lnTo>
                  <a:lnTo>
                    <a:pt x="1167" y="1531"/>
                  </a:lnTo>
                  <a:lnTo>
                    <a:pt x="1189" y="1515"/>
                  </a:lnTo>
                  <a:lnTo>
                    <a:pt x="1189" y="1498"/>
                  </a:lnTo>
                  <a:lnTo>
                    <a:pt x="1205" y="1493"/>
                  </a:lnTo>
                  <a:lnTo>
                    <a:pt x="1205" y="1493"/>
                  </a:lnTo>
                  <a:lnTo>
                    <a:pt x="1205" y="1493"/>
                  </a:lnTo>
                  <a:close/>
                  <a:moveTo>
                    <a:pt x="2974" y="1404"/>
                  </a:moveTo>
                  <a:lnTo>
                    <a:pt x="2953" y="1415"/>
                  </a:lnTo>
                  <a:lnTo>
                    <a:pt x="2974" y="1404"/>
                  </a:lnTo>
                  <a:lnTo>
                    <a:pt x="2974" y="1404"/>
                  </a:lnTo>
                  <a:lnTo>
                    <a:pt x="2974" y="1404"/>
                  </a:lnTo>
                  <a:close/>
                  <a:moveTo>
                    <a:pt x="3494" y="1548"/>
                  </a:moveTo>
                  <a:lnTo>
                    <a:pt x="3449" y="1609"/>
                  </a:lnTo>
                  <a:lnTo>
                    <a:pt x="3423" y="1637"/>
                  </a:lnTo>
                  <a:lnTo>
                    <a:pt x="3343" y="1621"/>
                  </a:lnTo>
                  <a:lnTo>
                    <a:pt x="3277" y="1626"/>
                  </a:lnTo>
                  <a:lnTo>
                    <a:pt x="3277" y="1637"/>
                  </a:lnTo>
                  <a:lnTo>
                    <a:pt x="3310" y="1637"/>
                  </a:lnTo>
                  <a:lnTo>
                    <a:pt x="3310" y="1642"/>
                  </a:lnTo>
                  <a:lnTo>
                    <a:pt x="3326" y="1654"/>
                  </a:lnTo>
                  <a:lnTo>
                    <a:pt x="3331" y="1666"/>
                  </a:lnTo>
                  <a:lnTo>
                    <a:pt x="3289" y="1725"/>
                  </a:lnTo>
                  <a:lnTo>
                    <a:pt x="3293" y="1732"/>
                  </a:lnTo>
                  <a:lnTo>
                    <a:pt x="3218" y="1732"/>
                  </a:lnTo>
                  <a:lnTo>
                    <a:pt x="3218" y="1715"/>
                  </a:lnTo>
                  <a:lnTo>
                    <a:pt x="3244" y="1708"/>
                  </a:lnTo>
                  <a:lnTo>
                    <a:pt x="3218" y="1708"/>
                  </a:lnTo>
                  <a:lnTo>
                    <a:pt x="3218" y="1666"/>
                  </a:lnTo>
                  <a:lnTo>
                    <a:pt x="3201" y="1642"/>
                  </a:lnTo>
                  <a:lnTo>
                    <a:pt x="3185" y="1637"/>
                  </a:lnTo>
                  <a:lnTo>
                    <a:pt x="3180" y="1581"/>
                  </a:lnTo>
                  <a:lnTo>
                    <a:pt x="3185" y="1571"/>
                  </a:lnTo>
                  <a:lnTo>
                    <a:pt x="3180" y="1515"/>
                  </a:lnTo>
                  <a:lnTo>
                    <a:pt x="3185" y="1510"/>
                  </a:lnTo>
                  <a:lnTo>
                    <a:pt x="3180" y="1493"/>
                  </a:lnTo>
                  <a:lnTo>
                    <a:pt x="3192" y="1486"/>
                  </a:lnTo>
                  <a:lnTo>
                    <a:pt x="3256" y="1498"/>
                  </a:lnTo>
                  <a:lnTo>
                    <a:pt x="3222" y="1486"/>
                  </a:lnTo>
                  <a:lnTo>
                    <a:pt x="3234" y="1477"/>
                  </a:lnTo>
                  <a:lnTo>
                    <a:pt x="3218" y="1477"/>
                  </a:lnTo>
                  <a:lnTo>
                    <a:pt x="3201" y="1460"/>
                  </a:lnTo>
                  <a:lnTo>
                    <a:pt x="3272" y="1437"/>
                  </a:lnTo>
                  <a:lnTo>
                    <a:pt x="3348" y="1432"/>
                  </a:lnTo>
                  <a:lnTo>
                    <a:pt x="3395" y="1437"/>
                  </a:lnTo>
                  <a:lnTo>
                    <a:pt x="3418" y="1453"/>
                  </a:lnTo>
                  <a:lnTo>
                    <a:pt x="3418" y="1460"/>
                  </a:lnTo>
                  <a:lnTo>
                    <a:pt x="3470" y="1453"/>
                  </a:lnTo>
                  <a:lnTo>
                    <a:pt x="3563" y="1470"/>
                  </a:lnTo>
                  <a:lnTo>
                    <a:pt x="3494" y="1548"/>
                  </a:lnTo>
                  <a:lnTo>
                    <a:pt x="3494" y="1548"/>
                  </a:lnTo>
                  <a:lnTo>
                    <a:pt x="3494" y="1548"/>
                  </a:lnTo>
                  <a:close/>
                  <a:moveTo>
                    <a:pt x="3041" y="1437"/>
                  </a:moveTo>
                  <a:lnTo>
                    <a:pt x="3029" y="1453"/>
                  </a:lnTo>
                  <a:lnTo>
                    <a:pt x="2991" y="1477"/>
                  </a:lnTo>
                  <a:lnTo>
                    <a:pt x="2948" y="1486"/>
                  </a:lnTo>
                  <a:lnTo>
                    <a:pt x="2915" y="1470"/>
                  </a:lnTo>
                  <a:lnTo>
                    <a:pt x="3041" y="1437"/>
                  </a:lnTo>
                  <a:lnTo>
                    <a:pt x="3041" y="1437"/>
                  </a:lnTo>
                  <a:lnTo>
                    <a:pt x="3041" y="1437"/>
                  </a:lnTo>
                  <a:close/>
                  <a:moveTo>
                    <a:pt x="3579" y="1453"/>
                  </a:moveTo>
                  <a:lnTo>
                    <a:pt x="3558" y="1453"/>
                  </a:lnTo>
                  <a:lnTo>
                    <a:pt x="3584" y="1444"/>
                  </a:lnTo>
                  <a:lnTo>
                    <a:pt x="3579" y="1453"/>
                  </a:lnTo>
                  <a:lnTo>
                    <a:pt x="3579" y="1453"/>
                  </a:lnTo>
                  <a:lnTo>
                    <a:pt x="3579" y="1453"/>
                  </a:lnTo>
                  <a:close/>
                  <a:moveTo>
                    <a:pt x="2807" y="1708"/>
                  </a:moveTo>
                  <a:lnTo>
                    <a:pt x="2793" y="1682"/>
                  </a:lnTo>
                  <a:lnTo>
                    <a:pt x="2755" y="1692"/>
                  </a:lnTo>
                  <a:lnTo>
                    <a:pt x="2738" y="1666"/>
                  </a:lnTo>
                  <a:lnTo>
                    <a:pt x="2693" y="1637"/>
                  </a:lnTo>
                  <a:lnTo>
                    <a:pt x="2684" y="1621"/>
                  </a:lnTo>
                  <a:lnTo>
                    <a:pt x="2700" y="1588"/>
                  </a:lnTo>
                  <a:lnTo>
                    <a:pt x="2722" y="1581"/>
                  </a:lnTo>
                  <a:lnTo>
                    <a:pt x="2769" y="1609"/>
                  </a:lnTo>
                  <a:lnTo>
                    <a:pt x="2785" y="1637"/>
                  </a:lnTo>
                  <a:lnTo>
                    <a:pt x="2844" y="1626"/>
                  </a:lnTo>
                  <a:lnTo>
                    <a:pt x="2856" y="1621"/>
                  </a:lnTo>
                  <a:lnTo>
                    <a:pt x="2840" y="1597"/>
                  </a:lnTo>
                  <a:lnTo>
                    <a:pt x="2844" y="1588"/>
                  </a:lnTo>
                  <a:lnTo>
                    <a:pt x="2856" y="1588"/>
                  </a:lnTo>
                  <a:lnTo>
                    <a:pt x="2844" y="1604"/>
                  </a:lnTo>
                  <a:lnTo>
                    <a:pt x="2856" y="1609"/>
                  </a:lnTo>
                  <a:lnTo>
                    <a:pt x="2878" y="1604"/>
                  </a:lnTo>
                  <a:lnTo>
                    <a:pt x="2861" y="1571"/>
                  </a:lnTo>
                  <a:lnTo>
                    <a:pt x="2844" y="1581"/>
                  </a:lnTo>
                  <a:lnTo>
                    <a:pt x="2840" y="1571"/>
                  </a:lnTo>
                  <a:lnTo>
                    <a:pt x="2844" y="1555"/>
                  </a:lnTo>
                  <a:lnTo>
                    <a:pt x="2878" y="1564"/>
                  </a:lnTo>
                  <a:lnTo>
                    <a:pt x="2894" y="1564"/>
                  </a:lnTo>
                  <a:lnTo>
                    <a:pt x="2844" y="1543"/>
                  </a:lnTo>
                  <a:lnTo>
                    <a:pt x="2840" y="1555"/>
                  </a:lnTo>
                  <a:lnTo>
                    <a:pt x="2814" y="1555"/>
                  </a:lnTo>
                  <a:lnTo>
                    <a:pt x="2759" y="1526"/>
                  </a:lnTo>
                  <a:lnTo>
                    <a:pt x="2814" y="1510"/>
                  </a:lnTo>
                  <a:lnTo>
                    <a:pt x="2844" y="1531"/>
                  </a:lnTo>
                  <a:lnTo>
                    <a:pt x="2830" y="1526"/>
                  </a:lnTo>
                  <a:lnTo>
                    <a:pt x="2840" y="1510"/>
                  </a:lnTo>
                  <a:lnTo>
                    <a:pt x="2802" y="1493"/>
                  </a:lnTo>
                  <a:lnTo>
                    <a:pt x="2807" y="1486"/>
                  </a:lnTo>
                  <a:lnTo>
                    <a:pt x="2840" y="1477"/>
                  </a:lnTo>
                  <a:lnTo>
                    <a:pt x="2868" y="1486"/>
                  </a:lnTo>
                  <a:lnTo>
                    <a:pt x="2882" y="1470"/>
                  </a:lnTo>
                  <a:lnTo>
                    <a:pt x="2856" y="1477"/>
                  </a:lnTo>
                  <a:lnTo>
                    <a:pt x="2878" y="1460"/>
                  </a:lnTo>
                  <a:lnTo>
                    <a:pt x="2932" y="1493"/>
                  </a:lnTo>
                  <a:lnTo>
                    <a:pt x="3003" y="1486"/>
                  </a:lnTo>
                  <a:lnTo>
                    <a:pt x="3029" y="1470"/>
                  </a:lnTo>
                  <a:lnTo>
                    <a:pt x="3071" y="1477"/>
                  </a:lnTo>
                  <a:lnTo>
                    <a:pt x="3095" y="1498"/>
                  </a:lnTo>
                  <a:lnTo>
                    <a:pt x="3071" y="1515"/>
                  </a:lnTo>
                  <a:lnTo>
                    <a:pt x="3041" y="1515"/>
                  </a:lnTo>
                  <a:lnTo>
                    <a:pt x="3041" y="1531"/>
                  </a:lnTo>
                  <a:lnTo>
                    <a:pt x="3071" y="1526"/>
                  </a:lnTo>
                  <a:lnTo>
                    <a:pt x="3078" y="1543"/>
                  </a:lnTo>
                  <a:lnTo>
                    <a:pt x="3029" y="1555"/>
                  </a:lnTo>
                  <a:lnTo>
                    <a:pt x="2986" y="1588"/>
                  </a:lnTo>
                  <a:lnTo>
                    <a:pt x="2986" y="1609"/>
                  </a:lnTo>
                  <a:lnTo>
                    <a:pt x="3019" y="1588"/>
                  </a:lnTo>
                  <a:lnTo>
                    <a:pt x="3062" y="1597"/>
                  </a:lnTo>
                  <a:lnTo>
                    <a:pt x="3071" y="1604"/>
                  </a:lnTo>
                  <a:lnTo>
                    <a:pt x="3071" y="1609"/>
                  </a:lnTo>
                  <a:lnTo>
                    <a:pt x="3083" y="1626"/>
                  </a:lnTo>
                  <a:lnTo>
                    <a:pt x="3071" y="1642"/>
                  </a:lnTo>
                  <a:lnTo>
                    <a:pt x="3116" y="1626"/>
                  </a:lnTo>
                  <a:lnTo>
                    <a:pt x="3137" y="1675"/>
                  </a:lnTo>
                  <a:lnTo>
                    <a:pt x="3095" y="1682"/>
                  </a:lnTo>
                  <a:lnTo>
                    <a:pt x="3116" y="1692"/>
                  </a:lnTo>
                  <a:lnTo>
                    <a:pt x="3126" y="1715"/>
                  </a:lnTo>
                  <a:lnTo>
                    <a:pt x="3095" y="1725"/>
                  </a:lnTo>
                  <a:lnTo>
                    <a:pt x="3126" y="1725"/>
                  </a:lnTo>
                  <a:lnTo>
                    <a:pt x="3126" y="1737"/>
                  </a:lnTo>
                  <a:lnTo>
                    <a:pt x="3100" y="1737"/>
                  </a:lnTo>
                  <a:lnTo>
                    <a:pt x="3126" y="1737"/>
                  </a:lnTo>
                  <a:lnTo>
                    <a:pt x="3116" y="1753"/>
                  </a:lnTo>
                  <a:lnTo>
                    <a:pt x="3100" y="1753"/>
                  </a:lnTo>
                  <a:lnTo>
                    <a:pt x="3057" y="1781"/>
                  </a:lnTo>
                  <a:lnTo>
                    <a:pt x="3007" y="1781"/>
                  </a:lnTo>
                  <a:lnTo>
                    <a:pt x="2991" y="1765"/>
                  </a:lnTo>
                  <a:lnTo>
                    <a:pt x="3003" y="1748"/>
                  </a:lnTo>
                  <a:lnTo>
                    <a:pt x="3003" y="1737"/>
                  </a:lnTo>
                  <a:lnTo>
                    <a:pt x="2986" y="1770"/>
                  </a:lnTo>
                  <a:lnTo>
                    <a:pt x="3019" y="1793"/>
                  </a:lnTo>
                  <a:lnTo>
                    <a:pt x="2970" y="1826"/>
                  </a:lnTo>
                  <a:lnTo>
                    <a:pt x="2948" y="1810"/>
                  </a:lnTo>
                  <a:lnTo>
                    <a:pt x="2932" y="1819"/>
                  </a:lnTo>
                  <a:lnTo>
                    <a:pt x="2899" y="1765"/>
                  </a:lnTo>
                  <a:lnTo>
                    <a:pt x="2868" y="1748"/>
                  </a:lnTo>
                  <a:lnTo>
                    <a:pt x="2830" y="1708"/>
                  </a:lnTo>
                  <a:lnTo>
                    <a:pt x="2807" y="1708"/>
                  </a:lnTo>
                  <a:lnTo>
                    <a:pt x="2807" y="1708"/>
                  </a:lnTo>
                  <a:lnTo>
                    <a:pt x="2807" y="1708"/>
                  </a:lnTo>
                  <a:close/>
                  <a:moveTo>
                    <a:pt x="4096" y="2008"/>
                  </a:moveTo>
                  <a:lnTo>
                    <a:pt x="4066" y="1992"/>
                  </a:lnTo>
                  <a:lnTo>
                    <a:pt x="4016" y="2003"/>
                  </a:lnTo>
                  <a:lnTo>
                    <a:pt x="3903" y="1975"/>
                  </a:lnTo>
                  <a:lnTo>
                    <a:pt x="3865" y="1987"/>
                  </a:lnTo>
                  <a:lnTo>
                    <a:pt x="3910" y="1992"/>
                  </a:lnTo>
                  <a:lnTo>
                    <a:pt x="3872" y="1992"/>
                  </a:lnTo>
                  <a:lnTo>
                    <a:pt x="3818" y="1959"/>
                  </a:lnTo>
                  <a:lnTo>
                    <a:pt x="3818" y="1947"/>
                  </a:lnTo>
                  <a:lnTo>
                    <a:pt x="3839" y="1930"/>
                  </a:lnTo>
                  <a:lnTo>
                    <a:pt x="3834" y="1921"/>
                  </a:lnTo>
                  <a:lnTo>
                    <a:pt x="3811" y="1954"/>
                  </a:lnTo>
                  <a:lnTo>
                    <a:pt x="3796" y="1954"/>
                  </a:lnTo>
                  <a:lnTo>
                    <a:pt x="3785" y="1930"/>
                  </a:lnTo>
                  <a:lnTo>
                    <a:pt x="3773" y="1947"/>
                  </a:lnTo>
                  <a:lnTo>
                    <a:pt x="3785" y="1947"/>
                  </a:lnTo>
                  <a:lnTo>
                    <a:pt x="3785" y="1954"/>
                  </a:lnTo>
                  <a:lnTo>
                    <a:pt x="3742" y="1954"/>
                  </a:lnTo>
                  <a:lnTo>
                    <a:pt x="3747" y="1954"/>
                  </a:lnTo>
                  <a:lnTo>
                    <a:pt x="3730" y="1959"/>
                  </a:lnTo>
                  <a:lnTo>
                    <a:pt x="3704" y="1954"/>
                  </a:lnTo>
                  <a:lnTo>
                    <a:pt x="3726" y="1954"/>
                  </a:lnTo>
                  <a:lnTo>
                    <a:pt x="3709" y="1947"/>
                  </a:lnTo>
                  <a:lnTo>
                    <a:pt x="3667" y="1930"/>
                  </a:lnTo>
                  <a:lnTo>
                    <a:pt x="3617" y="1876"/>
                  </a:lnTo>
                  <a:lnTo>
                    <a:pt x="3633" y="1864"/>
                  </a:lnTo>
                  <a:lnTo>
                    <a:pt x="3612" y="1848"/>
                  </a:lnTo>
                  <a:lnTo>
                    <a:pt x="3721" y="1876"/>
                  </a:lnTo>
                  <a:lnTo>
                    <a:pt x="3785" y="1864"/>
                  </a:lnTo>
                  <a:lnTo>
                    <a:pt x="3742" y="1843"/>
                  </a:lnTo>
                  <a:lnTo>
                    <a:pt x="3726" y="1843"/>
                  </a:lnTo>
                  <a:lnTo>
                    <a:pt x="3726" y="1826"/>
                  </a:lnTo>
                  <a:lnTo>
                    <a:pt x="3676" y="1836"/>
                  </a:lnTo>
                  <a:lnTo>
                    <a:pt x="3584" y="1819"/>
                  </a:lnTo>
                  <a:lnTo>
                    <a:pt x="3579" y="1786"/>
                  </a:lnTo>
                  <a:lnTo>
                    <a:pt x="3596" y="1765"/>
                  </a:lnTo>
                  <a:lnTo>
                    <a:pt x="3570" y="1737"/>
                  </a:lnTo>
                  <a:lnTo>
                    <a:pt x="3579" y="1725"/>
                  </a:lnTo>
                  <a:lnTo>
                    <a:pt x="3612" y="1708"/>
                  </a:lnTo>
                  <a:lnTo>
                    <a:pt x="3584" y="1708"/>
                  </a:lnTo>
                  <a:lnTo>
                    <a:pt x="3579" y="1682"/>
                  </a:lnTo>
                  <a:lnTo>
                    <a:pt x="3596" y="1642"/>
                  </a:lnTo>
                  <a:lnTo>
                    <a:pt x="3617" y="1637"/>
                  </a:lnTo>
                  <a:lnTo>
                    <a:pt x="3612" y="1637"/>
                  </a:lnTo>
                  <a:lnTo>
                    <a:pt x="3612" y="1621"/>
                  </a:lnTo>
                  <a:lnTo>
                    <a:pt x="3622" y="1626"/>
                  </a:lnTo>
                  <a:lnTo>
                    <a:pt x="3622" y="1597"/>
                  </a:lnTo>
                  <a:lnTo>
                    <a:pt x="3633" y="1571"/>
                  </a:lnTo>
                  <a:lnTo>
                    <a:pt x="3671" y="1531"/>
                  </a:lnTo>
                  <a:lnTo>
                    <a:pt x="3747" y="1493"/>
                  </a:lnTo>
                  <a:lnTo>
                    <a:pt x="3839" y="1477"/>
                  </a:lnTo>
                  <a:lnTo>
                    <a:pt x="3941" y="1493"/>
                  </a:lnTo>
                  <a:lnTo>
                    <a:pt x="3865" y="1548"/>
                  </a:lnTo>
                  <a:lnTo>
                    <a:pt x="3811" y="1609"/>
                  </a:lnTo>
                  <a:lnTo>
                    <a:pt x="3801" y="1637"/>
                  </a:lnTo>
                  <a:lnTo>
                    <a:pt x="3839" y="1675"/>
                  </a:lnTo>
                  <a:lnTo>
                    <a:pt x="3827" y="1692"/>
                  </a:lnTo>
                  <a:lnTo>
                    <a:pt x="3827" y="1732"/>
                  </a:lnTo>
                  <a:lnTo>
                    <a:pt x="3893" y="1793"/>
                  </a:lnTo>
                  <a:lnTo>
                    <a:pt x="3936" y="1810"/>
                  </a:lnTo>
                  <a:lnTo>
                    <a:pt x="3941" y="1826"/>
                  </a:lnTo>
                  <a:lnTo>
                    <a:pt x="3865" y="1843"/>
                  </a:lnTo>
                  <a:lnTo>
                    <a:pt x="3801" y="1864"/>
                  </a:lnTo>
                  <a:lnTo>
                    <a:pt x="3936" y="1836"/>
                  </a:lnTo>
                  <a:lnTo>
                    <a:pt x="3941" y="1843"/>
                  </a:lnTo>
                  <a:lnTo>
                    <a:pt x="3936" y="1848"/>
                  </a:lnTo>
                  <a:lnTo>
                    <a:pt x="3919" y="1848"/>
                  </a:lnTo>
                  <a:lnTo>
                    <a:pt x="3936" y="1848"/>
                  </a:lnTo>
                  <a:lnTo>
                    <a:pt x="3936" y="1876"/>
                  </a:lnTo>
                  <a:lnTo>
                    <a:pt x="3941" y="1876"/>
                  </a:lnTo>
                  <a:lnTo>
                    <a:pt x="3941" y="1810"/>
                  </a:lnTo>
                  <a:lnTo>
                    <a:pt x="3962" y="1803"/>
                  </a:lnTo>
                  <a:lnTo>
                    <a:pt x="3945" y="1786"/>
                  </a:lnTo>
                  <a:lnTo>
                    <a:pt x="3957" y="1770"/>
                  </a:lnTo>
                  <a:lnTo>
                    <a:pt x="3910" y="1770"/>
                  </a:lnTo>
                  <a:lnTo>
                    <a:pt x="3886" y="1765"/>
                  </a:lnTo>
                  <a:lnTo>
                    <a:pt x="3893" y="1753"/>
                  </a:lnTo>
                  <a:lnTo>
                    <a:pt x="3886" y="1737"/>
                  </a:lnTo>
                  <a:lnTo>
                    <a:pt x="3855" y="1732"/>
                  </a:lnTo>
                  <a:lnTo>
                    <a:pt x="3893" y="1725"/>
                  </a:lnTo>
                  <a:lnTo>
                    <a:pt x="3893" y="1715"/>
                  </a:lnTo>
                  <a:lnTo>
                    <a:pt x="3893" y="1692"/>
                  </a:lnTo>
                  <a:lnTo>
                    <a:pt x="3936" y="1699"/>
                  </a:lnTo>
                  <a:lnTo>
                    <a:pt x="3990" y="1737"/>
                  </a:lnTo>
                  <a:lnTo>
                    <a:pt x="3990" y="1732"/>
                  </a:lnTo>
                  <a:lnTo>
                    <a:pt x="3936" y="1692"/>
                  </a:lnTo>
                  <a:lnTo>
                    <a:pt x="3962" y="1675"/>
                  </a:lnTo>
                  <a:lnTo>
                    <a:pt x="3936" y="1682"/>
                  </a:lnTo>
                  <a:lnTo>
                    <a:pt x="3941" y="1666"/>
                  </a:lnTo>
                  <a:lnTo>
                    <a:pt x="3919" y="1682"/>
                  </a:lnTo>
                  <a:lnTo>
                    <a:pt x="3886" y="1666"/>
                  </a:lnTo>
                  <a:lnTo>
                    <a:pt x="3886" y="1659"/>
                  </a:lnTo>
                  <a:lnTo>
                    <a:pt x="3893" y="1654"/>
                  </a:lnTo>
                  <a:lnTo>
                    <a:pt x="3881" y="1642"/>
                  </a:lnTo>
                  <a:lnTo>
                    <a:pt x="3881" y="1609"/>
                  </a:lnTo>
                  <a:lnTo>
                    <a:pt x="3910" y="1597"/>
                  </a:lnTo>
                  <a:lnTo>
                    <a:pt x="4000" y="1626"/>
                  </a:lnTo>
                  <a:lnTo>
                    <a:pt x="3886" y="1588"/>
                  </a:lnTo>
                  <a:lnTo>
                    <a:pt x="3903" y="1571"/>
                  </a:lnTo>
                  <a:lnTo>
                    <a:pt x="3919" y="1588"/>
                  </a:lnTo>
                  <a:lnTo>
                    <a:pt x="3910" y="1581"/>
                  </a:lnTo>
                  <a:lnTo>
                    <a:pt x="3919" y="1571"/>
                  </a:lnTo>
                  <a:lnTo>
                    <a:pt x="4028" y="1597"/>
                  </a:lnTo>
                  <a:lnTo>
                    <a:pt x="3919" y="1564"/>
                  </a:lnTo>
                  <a:lnTo>
                    <a:pt x="3941" y="1543"/>
                  </a:lnTo>
                  <a:lnTo>
                    <a:pt x="3974" y="1564"/>
                  </a:lnTo>
                  <a:lnTo>
                    <a:pt x="3945" y="1543"/>
                  </a:lnTo>
                  <a:lnTo>
                    <a:pt x="3990" y="1526"/>
                  </a:lnTo>
                  <a:lnTo>
                    <a:pt x="4016" y="1531"/>
                  </a:lnTo>
                  <a:lnTo>
                    <a:pt x="4028" y="1548"/>
                  </a:lnTo>
                  <a:lnTo>
                    <a:pt x="4028" y="1531"/>
                  </a:lnTo>
                  <a:lnTo>
                    <a:pt x="3995" y="1526"/>
                  </a:lnTo>
                  <a:lnTo>
                    <a:pt x="4082" y="1493"/>
                  </a:lnTo>
                  <a:lnTo>
                    <a:pt x="4172" y="1493"/>
                  </a:lnTo>
                  <a:lnTo>
                    <a:pt x="4196" y="1526"/>
                  </a:lnTo>
                  <a:lnTo>
                    <a:pt x="4196" y="1555"/>
                  </a:lnTo>
                  <a:lnTo>
                    <a:pt x="4243" y="1581"/>
                  </a:lnTo>
                  <a:lnTo>
                    <a:pt x="4233" y="1604"/>
                  </a:lnTo>
                  <a:lnTo>
                    <a:pt x="4259" y="1626"/>
                  </a:lnTo>
                  <a:lnTo>
                    <a:pt x="4179" y="1699"/>
                  </a:lnTo>
                  <a:lnTo>
                    <a:pt x="4243" y="1659"/>
                  </a:lnTo>
                  <a:lnTo>
                    <a:pt x="4243" y="1675"/>
                  </a:lnTo>
                  <a:lnTo>
                    <a:pt x="4210" y="1708"/>
                  </a:lnTo>
                  <a:lnTo>
                    <a:pt x="4243" y="1725"/>
                  </a:lnTo>
                  <a:lnTo>
                    <a:pt x="4205" y="1725"/>
                  </a:lnTo>
                  <a:lnTo>
                    <a:pt x="4226" y="1725"/>
                  </a:lnTo>
                  <a:lnTo>
                    <a:pt x="4210" y="1748"/>
                  </a:lnTo>
                  <a:lnTo>
                    <a:pt x="4248" y="1725"/>
                  </a:lnTo>
                  <a:lnTo>
                    <a:pt x="4243" y="1708"/>
                  </a:lnTo>
                  <a:lnTo>
                    <a:pt x="4264" y="1699"/>
                  </a:lnTo>
                  <a:lnTo>
                    <a:pt x="4259" y="1692"/>
                  </a:lnTo>
                  <a:lnTo>
                    <a:pt x="4302" y="1715"/>
                  </a:lnTo>
                  <a:lnTo>
                    <a:pt x="4264" y="1682"/>
                  </a:lnTo>
                  <a:lnTo>
                    <a:pt x="4297" y="1659"/>
                  </a:lnTo>
                  <a:lnTo>
                    <a:pt x="4302" y="1682"/>
                  </a:lnTo>
                  <a:lnTo>
                    <a:pt x="4297" y="1699"/>
                  </a:lnTo>
                  <a:lnTo>
                    <a:pt x="4323" y="1675"/>
                  </a:lnTo>
                  <a:lnTo>
                    <a:pt x="4352" y="1692"/>
                  </a:lnTo>
                  <a:lnTo>
                    <a:pt x="4352" y="1708"/>
                  </a:lnTo>
                  <a:lnTo>
                    <a:pt x="4335" y="1732"/>
                  </a:lnTo>
                  <a:lnTo>
                    <a:pt x="4378" y="1748"/>
                  </a:lnTo>
                  <a:lnTo>
                    <a:pt x="4356" y="1732"/>
                  </a:lnTo>
                  <a:lnTo>
                    <a:pt x="4356" y="1708"/>
                  </a:lnTo>
                  <a:lnTo>
                    <a:pt x="4389" y="1715"/>
                  </a:lnTo>
                  <a:lnTo>
                    <a:pt x="4406" y="1753"/>
                  </a:lnTo>
                  <a:lnTo>
                    <a:pt x="4427" y="1765"/>
                  </a:lnTo>
                  <a:lnTo>
                    <a:pt x="4394" y="1737"/>
                  </a:lnTo>
                  <a:lnTo>
                    <a:pt x="4411" y="1732"/>
                  </a:lnTo>
                  <a:lnTo>
                    <a:pt x="4432" y="1753"/>
                  </a:lnTo>
                  <a:lnTo>
                    <a:pt x="4411" y="1732"/>
                  </a:lnTo>
                  <a:lnTo>
                    <a:pt x="4394" y="1732"/>
                  </a:lnTo>
                  <a:lnTo>
                    <a:pt x="4389" y="1715"/>
                  </a:lnTo>
                  <a:lnTo>
                    <a:pt x="4356" y="1699"/>
                  </a:lnTo>
                  <a:lnTo>
                    <a:pt x="4373" y="1682"/>
                  </a:lnTo>
                  <a:lnTo>
                    <a:pt x="4389" y="1708"/>
                  </a:lnTo>
                  <a:lnTo>
                    <a:pt x="4389" y="1682"/>
                  </a:lnTo>
                  <a:lnTo>
                    <a:pt x="4486" y="1715"/>
                  </a:lnTo>
                  <a:lnTo>
                    <a:pt x="4378" y="1666"/>
                  </a:lnTo>
                  <a:lnTo>
                    <a:pt x="4389" y="1654"/>
                  </a:lnTo>
                  <a:lnTo>
                    <a:pt x="4444" y="1626"/>
                  </a:lnTo>
                  <a:lnTo>
                    <a:pt x="4503" y="1626"/>
                  </a:lnTo>
                  <a:lnTo>
                    <a:pt x="4512" y="1642"/>
                  </a:lnTo>
                  <a:lnTo>
                    <a:pt x="4550" y="1654"/>
                  </a:lnTo>
                  <a:lnTo>
                    <a:pt x="4550" y="1666"/>
                  </a:lnTo>
                  <a:lnTo>
                    <a:pt x="4567" y="1654"/>
                  </a:lnTo>
                  <a:lnTo>
                    <a:pt x="4611" y="1659"/>
                  </a:lnTo>
                  <a:lnTo>
                    <a:pt x="4637" y="1699"/>
                  </a:lnTo>
                  <a:lnTo>
                    <a:pt x="4611" y="1715"/>
                  </a:lnTo>
                  <a:lnTo>
                    <a:pt x="4557" y="1715"/>
                  </a:lnTo>
                  <a:lnTo>
                    <a:pt x="4536" y="1748"/>
                  </a:lnTo>
                  <a:lnTo>
                    <a:pt x="4574" y="1715"/>
                  </a:lnTo>
                  <a:lnTo>
                    <a:pt x="4611" y="1725"/>
                  </a:lnTo>
                  <a:lnTo>
                    <a:pt x="4588" y="1732"/>
                  </a:lnTo>
                  <a:lnTo>
                    <a:pt x="4574" y="1765"/>
                  </a:lnTo>
                  <a:lnTo>
                    <a:pt x="4550" y="1770"/>
                  </a:lnTo>
                  <a:lnTo>
                    <a:pt x="4574" y="1765"/>
                  </a:lnTo>
                  <a:lnTo>
                    <a:pt x="4588" y="1732"/>
                  </a:lnTo>
                  <a:lnTo>
                    <a:pt x="4626" y="1715"/>
                  </a:lnTo>
                  <a:lnTo>
                    <a:pt x="4680" y="1725"/>
                  </a:lnTo>
                  <a:lnTo>
                    <a:pt x="4692" y="1732"/>
                  </a:lnTo>
                  <a:lnTo>
                    <a:pt x="4680" y="1753"/>
                  </a:lnTo>
                  <a:lnTo>
                    <a:pt x="4604" y="1770"/>
                  </a:lnTo>
                  <a:lnTo>
                    <a:pt x="4637" y="1781"/>
                  </a:lnTo>
                  <a:lnTo>
                    <a:pt x="4595" y="1793"/>
                  </a:lnTo>
                  <a:lnTo>
                    <a:pt x="4659" y="1781"/>
                  </a:lnTo>
                  <a:lnTo>
                    <a:pt x="4621" y="1803"/>
                  </a:lnTo>
                  <a:lnTo>
                    <a:pt x="4642" y="1793"/>
                  </a:lnTo>
                  <a:lnTo>
                    <a:pt x="4649" y="1810"/>
                  </a:lnTo>
                  <a:lnTo>
                    <a:pt x="4621" y="1843"/>
                  </a:lnTo>
                  <a:lnTo>
                    <a:pt x="4649" y="1810"/>
                  </a:lnTo>
                  <a:lnTo>
                    <a:pt x="4649" y="1793"/>
                  </a:lnTo>
                  <a:lnTo>
                    <a:pt x="4659" y="1781"/>
                  </a:lnTo>
                  <a:lnTo>
                    <a:pt x="4692" y="1765"/>
                  </a:lnTo>
                  <a:lnTo>
                    <a:pt x="4680" y="1781"/>
                  </a:lnTo>
                  <a:lnTo>
                    <a:pt x="4692" y="1793"/>
                  </a:lnTo>
                  <a:lnTo>
                    <a:pt x="4696" y="1765"/>
                  </a:lnTo>
                  <a:lnTo>
                    <a:pt x="4718" y="1765"/>
                  </a:lnTo>
                  <a:lnTo>
                    <a:pt x="4729" y="1765"/>
                  </a:lnTo>
                  <a:lnTo>
                    <a:pt x="4696" y="1793"/>
                  </a:lnTo>
                  <a:lnTo>
                    <a:pt x="4675" y="1810"/>
                  </a:lnTo>
                  <a:lnTo>
                    <a:pt x="4696" y="1803"/>
                  </a:lnTo>
                  <a:lnTo>
                    <a:pt x="4692" y="1826"/>
                  </a:lnTo>
                  <a:lnTo>
                    <a:pt x="4680" y="1836"/>
                  </a:lnTo>
                  <a:lnTo>
                    <a:pt x="4696" y="1826"/>
                  </a:lnTo>
                  <a:lnTo>
                    <a:pt x="4713" y="1793"/>
                  </a:lnTo>
                  <a:lnTo>
                    <a:pt x="4729" y="1786"/>
                  </a:lnTo>
                  <a:lnTo>
                    <a:pt x="4729" y="1819"/>
                  </a:lnTo>
                  <a:lnTo>
                    <a:pt x="4734" y="1803"/>
                  </a:lnTo>
                  <a:lnTo>
                    <a:pt x="4746" y="1810"/>
                  </a:lnTo>
                  <a:lnTo>
                    <a:pt x="4729" y="1826"/>
                  </a:lnTo>
                  <a:lnTo>
                    <a:pt x="4718" y="1848"/>
                  </a:lnTo>
                  <a:lnTo>
                    <a:pt x="4701" y="1859"/>
                  </a:lnTo>
                  <a:lnTo>
                    <a:pt x="4718" y="1848"/>
                  </a:lnTo>
                  <a:lnTo>
                    <a:pt x="4729" y="1836"/>
                  </a:lnTo>
                  <a:lnTo>
                    <a:pt x="4734" y="1819"/>
                  </a:lnTo>
                  <a:lnTo>
                    <a:pt x="4767" y="1826"/>
                  </a:lnTo>
                  <a:lnTo>
                    <a:pt x="4751" y="1836"/>
                  </a:lnTo>
                  <a:lnTo>
                    <a:pt x="4751" y="1848"/>
                  </a:lnTo>
                  <a:lnTo>
                    <a:pt x="4734" y="1859"/>
                  </a:lnTo>
                  <a:lnTo>
                    <a:pt x="4746" y="1864"/>
                  </a:lnTo>
                  <a:lnTo>
                    <a:pt x="4755" y="1836"/>
                  </a:lnTo>
                  <a:lnTo>
                    <a:pt x="4767" y="1826"/>
                  </a:lnTo>
                  <a:lnTo>
                    <a:pt x="4767" y="1810"/>
                  </a:lnTo>
                  <a:lnTo>
                    <a:pt x="4789" y="1810"/>
                  </a:lnTo>
                  <a:lnTo>
                    <a:pt x="4805" y="1781"/>
                  </a:lnTo>
                  <a:lnTo>
                    <a:pt x="4864" y="1793"/>
                  </a:lnTo>
                  <a:lnTo>
                    <a:pt x="4897" y="1826"/>
                  </a:lnTo>
                  <a:lnTo>
                    <a:pt x="4874" y="1859"/>
                  </a:lnTo>
                  <a:lnTo>
                    <a:pt x="4843" y="1848"/>
                  </a:lnTo>
                  <a:lnTo>
                    <a:pt x="4810" y="1881"/>
                  </a:lnTo>
                  <a:lnTo>
                    <a:pt x="4789" y="1881"/>
                  </a:lnTo>
                  <a:lnTo>
                    <a:pt x="4826" y="1881"/>
                  </a:lnTo>
                  <a:lnTo>
                    <a:pt x="4810" y="1904"/>
                  </a:lnTo>
                  <a:lnTo>
                    <a:pt x="4798" y="1914"/>
                  </a:lnTo>
                  <a:lnTo>
                    <a:pt x="4826" y="1892"/>
                  </a:lnTo>
                  <a:lnTo>
                    <a:pt x="4881" y="1881"/>
                  </a:lnTo>
                  <a:lnTo>
                    <a:pt x="4897" y="1859"/>
                  </a:lnTo>
                  <a:lnTo>
                    <a:pt x="4918" y="1848"/>
                  </a:lnTo>
                  <a:lnTo>
                    <a:pt x="4935" y="1859"/>
                  </a:lnTo>
                  <a:lnTo>
                    <a:pt x="4944" y="1876"/>
                  </a:lnTo>
                  <a:lnTo>
                    <a:pt x="4928" y="1897"/>
                  </a:lnTo>
                  <a:lnTo>
                    <a:pt x="4897" y="1914"/>
                  </a:lnTo>
                  <a:lnTo>
                    <a:pt x="4864" y="1914"/>
                  </a:lnTo>
                  <a:lnTo>
                    <a:pt x="4852" y="1937"/>
                  </a:lnTo>
                  <a:lnTo>
                    <a:pt x="4859" y="1937"/>
                  </a:lnTo>
                  <a:lnTo>
                    <a:pt x="4859" y="1947"/>
                  </a:lnTo>
                  <a:lnTo>
                    <a:pt x="4852" y="1954"/>
                  </a:lnTo>
                  <a:lnTo>
                    <a:pt x="4859" y="1954"/>
                  </a:lnTo>
                  <a:lnTo>
                    <a:pt x="4874" y="1921"/>
                  </a:lnTo>
                  <a:lnTo>
                    <a:pt x="4897" y="1921"/>
                  </a:lnTo>
                  <a:lnTo>
                    <a:pt x="4890" y="1954"/>
                  </a:lnTo>
                  <a:lnTo>
                    <a:pt x="4890" y="1959"/>
                  </a:lnTo>
                  <a:lnTo>
                    <a:pt x="4874" y="1992"/>
                  </a:lnTo>
                  <a:lnTo>
                    <a:pt x="4897" y="1959"/>
                  </a:lnTo>
                  <a:lnTo>
                    <a:pt x="4911" y="1914"/>
                  </a:lnTo>
                  <a:lnTo>
                    <a:pt x="4987" y="1881"/>
                  </a:lnTo>
                  <a:lnTo>
                    <a:pt x="4999" y="1881"/>
                  </a:lnTo>
                  <a:lnTo>
                    <a:pt x="4973" y="1904"/>
                  </a:lnTo>
                  <a:lnTo>
                    <a:pt x="4944" y="1914"/>
                  </a:lnTo>
                  <a:lnTo>
                    <a:pt x="4949" y="1921"/>
                  </a:lnTo>
                  <a:lnTo>
                    <a:pt x="4944" y="1930"/>
                  </a:lnTo>
                  <a:lnTo>
                    <a:pt x="4961" y="1930"/>
                  </a:lnTo>
                  <a:lnTo>
                    <a:pt x="4961" y="1914"/>
                  </a:lnTo>
                  <a:lnTo>
                    <a:pt x="4973" y="1914"/>
                  </a:lnTo>
                  <a:lnTo>
                    <a:pt x="5020" y="1892"/>
                  </a:lnTo>
                  <a:lnTo>
                    <a:pt x="5096" y="1921"/>
                  </a:lnTo>
                  <a:lnTo>
                    <a:pt x="5096" y="1930"/>
                  </a:lnTo>
                  <a:lnTo>
                    <a:pt x="5091" y="1947"/>
                  </a:lnTo>
                  <a:lnTo>
                    <a:pt x="5074" y="1930"/>
                  </a:lnTo>
                  <a:lnTo>
                    <a:pt x="5074" y="1954"/>
                  </a:lnTo>
                  <a:lnTo>
                    <a:pt x="5004" y="1970"/>
                  </a:lnTo>
                  <a:lnTo>
                    <a:pt x="4966" y="1992"/>
                  </a:lnTo>
                  <a:lnTo>
                    <a:pt x="4987" y="1992"/>
                  </a:lnTo>
                  <a:lnTo>
                    <a:pt x="4944" y="2013"/>
                  </a:lnTo>
                  <a:lnTo>
                    <a:pt x="4999" y="1992"/>
                  </a:lnTo>
                  <a:lnTo>
                    <a:pt x="4999" y="1987"/>
                  </a:lnTo>
                  <a:lnTo>
                    <a:pt x="5004" y="1975"/>
                  </a:lnTo>
                  <a:lnTo>
                    <a:pt x="5058" y="1970"/>
                  </a:lnTo>
                  <a:lnTo>
                    <a:pt x="5074" y="1975"/>
                  </a:lnTo>
                  <a:lnTo>
                    <a:pt x="5020" y="2013"/>
                  </a:lnTo>
                  <a:lnTo>
                    <a:pt x="4987" y="2013"/>
                  </a:lnTo>
                  <a:lnTo>
                    <a:pt x="4982" y="2041"/>
                  </a:lnTo>
                  <a:lnTo>
                    <a:pt x="4999" y="2013"/>
                  </a:lnTo>
                  <a:lnTo>
                    <a:pt x="5020" y="2025"/>
                  </a:lnTo>
                  <a:lnTo>
                    <a:pt x="5041" y="2003"/>
                  </a:lnTo>
                  <a:lnTo>
                    <a:pt x="5107" y="1975"/>
                  </a:lnTo>
                  <a:lnTo>
                    <a:pt x="5096" y="1970"/>
                  </a:lnTo>
                  <a:lnTo>
                    <a:pt x="5107" y="1954"/>
                  </a:lnTo>
                  <a:lnTo>
                    <a:pt x="5138" y="1959"/>
                  </a:lnTo>
                  <a:lnTo>
                    <a:pt x="5176" y="2003"/>
                  </a:lnTo>
                  <a:lnTo>
                    <a:pt x="5183" y="2025"/>
                  </a:lnTo>
                  <a:lnTo>
                    <a:pt x="5124" y="2025"/>
                  </a:lnTo>
                  <a:lnTo>
                    <a:pt x="5096" y="2041"/>
                  </a:lnTo>
                  <a:lnTo>
                    <a:pt x="4973" y="2058"/>
                  </a:lnTo>
                  <a:lnTo>
                    <a:pt x="5025" y="2058"/>
                  </a:lnTo>
                  <a:lnTo>
                    <a:pt x="5074" y="2048"/>
                  </a:lnTo>
                  <a:lnTo>
                    <a:pt x="5124" y="2065"/>
                  </a:lnTo>
                  <a:lnTo>
                    <a:pt x="5176" y="2065"/>
                  </a:lnTo>
                  <a:lnTo>
                    <a:pt x="5204" y="2081"/>
                  </a:lnTo>
                  <a:lnTo>
                    <a:pt x="5214" y="2098"/>
                  </a:lnTo>
                  <a:lnTo>
                    <a:pt x="5204" y="2103"/>
                  </a:lnTo>
                  <a:lnTo>
                    <a:pt x="5053" y="2070"/>
                  </a:lnTo>
                  <a:lnTo>
                    <a:pt x="5025" y="2086"/>
                  </a:lnTo>
                  <a:lnTo>
                    <a:pt x="5053" y="2081"/>
                  </a:lnTo>
                  <a:lnTo>
                    <a:pt x="5112" y="2098"/>
                  </a:lnTo>
                  <a:lnTo>
                    <a:pt x="5053" y="2098"/>
                  </a:lnTo>
                  <a:lnTo>
                    <a:pt x="5079" y="2098"/>
                  </a:lnTo>
                  <a:lnTo>
                    <a:pt x="5053" y="2115"/>
                  </a:lnTo>
                  <a:lnTo>
                    <a:pt x="5053" y="2124"/>
                  </a:lnTo>
                  <a:lnTo>
                    <a:pt x="5058" y="2115"/>
                  </a:lnTo>
                  <a:lnTo>
                    <a:pt x="5107" y="2103"/>
                  </a:lnTo>
                  <a:lnTo>
                    <a:pt x="5138" y="2119"/>
                  </a:lnTo>
                  <a:lnTo>
                    <a:pt x="5079" y="2124"/>
                  </a:lnTo>
                  <a:lnTo>
                    <a:pt x="5112" y="2124"/>
                  </a:lnTo>
                  <a:lnTo>
                    <a:pt x="5124" y="2136"/>
                  </a:lnTo>
                  <a:lnTo>
                    <a:pt x="5079" y="2136"/>
                  </a:lnTo>
                  <a:lnTo>
                    <a:pt x="5138" y="2152"/>
                  </a:lnTo>
                  <a:lnTo>
                    <a:pt x="5020" y="2136"/>
                  </a:lnTo>
                  <a:lnTo>
                    <a:pt x="5112" y="2157"/>
                  </a:lnTo>
                  <a:lnTo>
                    <a:pt x="5058" y="2169"/>
                  </a:lnTo>
                  <a:lnTo>
                    <a:pt x="5091" y="2169"/>
                  </a:lnTo>
                  <a:lnTo>
                    <a:pt x="5070" y="2176"/>
                  </a:lnTo>
                  <a:lnTo>
                    <a:pt x="5150" y="2176"/>
                  </a:lnTo>
                  <a:lnTo>
                    <a:pt x="5145" y="2181"/>
                  </a:lnTo>
                  <a:lnTo>
                    <a:pt x="5145" y="2197"/>
                  </a:lnTo>
                  <a:lnTo>
                    <a:pt x="5162" y="2181"/>
                  </a:lnTo>
                  <a:lnTo>
                    <a:pt x="5176" y="2192"/>
                  </a:lnTo>
                  <a:lnTo>
                    <a:pt x="5167" y="2192"/>
                  </a:lnTo>
                  <a:lnTo>
                    <a:pt x="5183" y="2192"/>
                  </a:lnTo>
                  <a:lnTo>
                    <a:pt x="5183" y="2181"/>
                  </a:lnTo>
                  <a:lnTo>
                    <a:pt x="5214" y="2192"/>
                  </a:lnTo>
                  <a:lnTo>
                    <a:pt x="5192" y="2197"/>
                  </a:lnTo>
                  <a:lnTo>
                    <a:pt x="5138" y="2209"/>
                  </a:lnTo>
                  <a:lnTo>
                    <a:pt x="5129" y="2214"/>
                  </a:lnTo>
                  <a:lnTo>
                    <a:pt x="5145" y="2209"/>
                  </a:lnTo>
                  <a:lnTo>
                    <a:pt x="5150" y="2214"/>
                  </a:lnTo>
                  <a:lnTo>
                    <a:pt x="5145" y="2214"/>
                  </a:lnTo>
                  <a:lnTo>
                    <a:pt x="5150" y="2214"/>
                  </a:lnTo>
                  <a:lnTo>
                    <a:pt x="5176" y="2197"/>
                  </a:lnTo>
                  <a:lnTo>
                    <a:pt x="5192" y="2209"/>
                  </a:lnTo>
                  <a:lnTo>
                    <a:pt x="5176" y="2209"/>
                  </a:lnTo>
                  <a:lnTo>
                    <a:pt x="5162" y="2230"/>
                  </a:lnTo>
                  <a:lnTo>
                    <a:pt x="5145" y="2226"/>
                  </a:lnTo>
                  <a:lnTo>
                    <a:pt x="5162" y="2230"/>
                  </a:lnTo>
                  <a:lnTo>
                    <a:pt x="5167" y="2214"/>
                  </a:lnTo>
                  <a:lnTo>
                    <a:pt x="5192" y="2209"/>
                  </a:lnTo>
                  <a:lnTo>
                    <a:pt x="5204" y="2214"/>
                  </a:lnTo>
                  <a:lnTo>
                    <a:pt x="5192" y="2247"/>
                  </a:lnTo>
                  <a:lnTo>
                    <a:pt x="5214" y="2230"/>
                  </a:lnTo>
                  <a:lnTo>
                    <a:pt x="5214" y="2247"/>
                  </a:lnTo>
                  <a:lnTo>
                    <a:pt x="5221" y="2230"/>
                  </a:lnTo>
                  <a:lnTo>
                    <a:pt x="5237" y="2230"/>
                  </a:lnTo>
                  <a:lnTo>
                    <a:pt x="5230" y="2235"/>
                  </a:lnTo>
                  <a:lnTo>
                    <a:pt x="5247" y="2247"/>
                  </a:lnTo>
                  <a:lnTo>
                    <a:pt x="5230" y="2263"/>
                  </a:lnTo>
                  <a:lnTo>
                    <a:pt x="5204" y="2263"/>
                  </a:lnTo>
                  <a:lnTo>
                    <a:pt x="5237" y="2268"/>
                  </a:lnTo>
                  <a:lnTo>
                    <a:pt x="5237" y="2252"/>
                  </a:lnTo>
                  <a:lnTo>
                    <a:pt x="5268" y="2235"/>
                  </a:lnTo>
                  <a:lnTo>
                    <a:pt x="5268" y="2226"/>
                  </a:lnTo>
                  <a:lnTo>
                    <a:pt x="5268" y="2235"/>
                  </a:lnTo>
                  <a:lnTo>
                    <a:pt x="5259" y="2252"/>
                  </a:lnTo>
                  <a:lnTo>
                    <a:pt x="5259" y="2263"/>
                  </a:lnTo>
                  <a:lnTo>
                    <a:pt x="5259" y="2292"/>
                  </a:lnTo>
                  <a:lnTo>
                    <a:pt x="5259" y="2268"/>
                  </a:lnTo>
                  <a:lnTo>
                    <a:pt x="5275" y="2252"/>
                  </a:lnTo>
                  <a:lnTo>
                    <a:pt x="5275" y="2247"/>
                  </a:lnTo>
                  <a:lnTo>
                    <a:pt x="5301" y="2247"/>
                  </a:lnTo>
                  <a:lnTo>
                    <a:pt x="5285" y="2268"/>
                  </a:lnTo>
                  <a:lnTo>
                    <a:pt x="5306" y="2292"/>
                  </a:lnTo>
                  <a:lnTo>
                    <a:pt x="5306" y="2285"/>
                  </a:lnTo>
                  <a:lnTo>
                    <a:pt x="5289" y="2268"/>
                  </a:lnTo>
                  <a:lnTo>
                    <a:pt x="5301" y="2252"/>
                  </a:lnTo>
                  <a:lnTo>
                    <a:pt x="5327" y="2235"/>
                  </a:lnTo>
                  <a:lnTo>
                    <a:pt x="5355" y="2247"/>
                  </a:lnTo>
                  <a:lnTo>
                    <a:pt x="5327" y="2263"/>
                  </a:lnTo>
                  <a:lnTo>
                    <a:pt x="5327" y="2268"/>
                  </a:lnTo>
                  <a:lnTo>
                    <a:pt x="5313" y="2285"/>
                  </a:lnTo>
                  <a:lnTo>
                    <a:pt x="5339" y="2268"/>
                  </a:lnTo>
                  <a:lnTo>
                    <a:pt x="5344" y="2268"/>
                  </a:lnTo>
                  <a:lnTo>
                    <a:pt x="5344" y="2285"/>
                  </a:lnTo>
                  <a:lnTo>
                    <a:pt x="5344" y="2268"/>
                  </a:lnTo>
                  <a:lnTo>
                    <a:pt x="5365" y="2268"/>
                  </a:lnTo>
                  <a:lnTo>
                    <a:pt x="5377" y="2280"/>
                  </a:lnTo>
                  <a:lnTo>
                    <a:pt x="5355" y="2285"/>
                  </a:lnTo>
                  <a:lnTo>
                    <a:pt x="5377" y="2280"/>
                  </a:lnTo>
                  <a:lnTo>
                    <a:pt x="5398" y="2303"/>
                  </a:lnTo>
                  <a:lnTo>
                    <a:pt x="5365" y="2308"/>
                  </a:lnTo>
                  <a:lnTo>
                    <a:pt x="5398" y="2308"/>
                  </a:lnTo>
                  <a:lnTo>
                    <a:pt x="5410" y="2337"/>
                  </a:lnTo>
                  <a:lnTo>
                    <a:pt x="5344" y="2325"/>
                  </a:lnTo>
                  <a:lnTo>
                    <a:pt x="5381" y="2337"/>
                  </a:lnTo>
                  <a:lnTo>
                    <a:pt x="5344" y="2341"/>
                  </a:lnTo>
                  <a:lnTo>
                    <a:pt x="5398" y="2337"/>
                  </a:lnTo>
                  <a:lnTo>
                    <a:pt x="5360" y="2346"/>
                  </a:lnTo>
                  <a:lnTo>
                    <a:pt x="5355" y="2363"/>
                  </a:lnTo>
                  <a:lnTo>
                    <a:pt x="5365" y="2346"/>
                  </a:lnTo>
                  <a:lnTo>
                    <a:pt x="5436" y="2341"/>
                  </a:lnTo>
                  <a:lnTo>
                    <a:pt x="5415" y="2374"/>
                  </a:lnTo>
                  <a:lnTo>
                    <a:pt x="5448" y="2346"/>
                  </a:lnTo>
                  <a:lnTo>
                    <a:pt x="5448" y="2337"/>
                  </a:lnTo>
                  <a:lnTo>
                    <a:pt x="5462" y="2325"/>
                  </a:lnTo>
                  <a:lnTo>
                    <a:pt x="5474" y="2341"/>
                  </a:lnTo>
                  <a:lnTo>
                    <a:pt x="5452" y="2358"/>
                  </a:lnTo>
                  <a:lnTo>
                    <a:pt x="5452" y="2374"/>
                  </a:lnTo>
                  <a:lnTo>
                    <a:pt x="5415" y="2391"/>
                  </a:lnTo>
                  <a:lnTo>
                    <a:pt x="5436" y="2391"/>
                  </a:lnTo>
                  <a:lnTo>
                    <a:pt x="5436" y="2379"/>
                  </a:lnTo>
                  <a:lnTo>
                    <a:pt x="5436" y="2403"/>
                  </a:lnTo>
                  <a:lnTo>
                    <a:pt x="5452" y="2379"/>
                  </a:lnTo>
                  <a:lnTo>
                    <a:pt x="5485" y="2374"/>
                  </a:lnTo>
                  <a:lnTo>
                    <a:pt x="5474" y="2412"/>
                  </a:lnTo>
                  <a:lnTo>
                    <a:pt x="5490" y="2396"/>
                  </a:lnTo>
                  <a:lnTo>
                    <a:pt x="5490" y="2374"/>
                  </a:lnTo>
                  <a:lnTo>
                    <a:pt x="5500" y="2374"/>
                  </a:lnTo>
                  <a:lnTo>
                    <a:pt x="5523" y="2403"/>
                  </a:lnTo>
                  <a:lnTo>
                    <a:pt x="5507" y="2379"/>
                  </a:lnTo>
                  <a:lnTo>
                    <a:pt x="5528" y="2363"/>
                  </a:lnTo>
                  <a:lnTo>
                    <a:pt x="5537" y="2363"/>
                  </a:lnTo>
                  <a:lnTo>
                    <a:pt x="5528" y="2379"/>
                  </a:lnTo>
                  <a:lnTo>
                    <a:pt x="5561" y="2374"/>
                  </a:lnTo>
                  <a:lnTo>
                    <a:pt x="5592" y="2412"/>
                  </a:lnTo>
                  <a:lnTo>
                    <a:pt x="5575" y="2419"/>
                  </a:lnTo>
                  <a:lnTo>
                    <a:pt x="5544" y="2403"/>
                  </a:lnTo>
                  <a:lnTo>
                    <a:pt x="5528" y="2412"/>
                  </a:lnTo>
                  <a:lnTo>
                    <a:pt x="5554" y="2412"/>
                  </a:lnTo>
                  <a:lnTo>
                    <a:pt x="5570" y="2429"/>
                  </a:lnTo>
                  <a:lnTo>
                    <a:pt x="5544" y="2436"/>
                  </a:lnTo>
                  <a:lnTo>
                    <a:pt x="5575" y="2448"/>
                  </a:lnTo>
                  <a:lnTo>
                    <a:pt x="5544" y="2452"/>
                  </a:lnTo>
                  <a:lnTo>
                    <a:pt x="5507" y="2436"/>
                  </a:lnTo>
                  <a:lnTo>
                    <a:pt x="5490" y="2436"/>
                  </a:lnTo>
                  <a:lnTo>
                    <a:pt x="5516" y="2452"/>
                  </a:lnTo>
                  <a:lnTo>
                    <a:pt x="5490" y="2457"/>
                  </a:lnTo>
                  <a:lnTo>
                    <a:pt x="5474" y="2452"/>
                  </a:lnTo>
                  <a:lnTo>
                    <a:pt x="5490" y="2469"/>
                  </a:lnTo>
                  <a:lnTo>
                    <a:pt x="5528" y="2469"/>
                  </a:lnTo>
                  <a:lnTo>
                    <a:pt x="5544" y="2485"/>
                  </a:lnTo>
                  <a:lnTo>
                    <a:pt x="5485" y="2485"/>
                  </a:lnTo>
                  <a:lnTo>
                    <a:pt x="5474" y="2469"/>
                  </a:lnTo>
                  <a:lnTo>
                    <a:pt x="5469" y="2474"/>
                  </a:lnTo>
                  <a:lnTo>
                    <a:pt x="5516" y="2490"/>
                  </a:lnTo>
                  <a:lnTo>
                    <a:pt x="5516" y="2507"/>
                  </a:lnTo>
                  <a:lnTo>
                    <a:pt x="5500" y="2507"/>
                  </a:lnTo>
                  <a:lnTo>
                    <a:pt x="5474" y="2502"/>
                  </a:lnTo>
                  <a:lnTo>
                    <a:pt x="5500" y="2514"/>
                  </a:lnTo>
                  <a:lnTo>
                    <a:pt x="5485" y="2514"/>
                  </a:lnTo>
                  <a:lnTo>
                    <a:pt x="5500" y="2523"/>
                  </a:lnTo>
                  <a:lnTo>
                    <a:pt x="5490" y="2540"/>
                  </a:lnTo>
                  <a:lnTo>
                    <a:pt x="5485" y="2540"/>
                  </a:lnTo>
                  <a:lnTo>
                    <a:pt x="5474" y="2514"/>
                  </a:lnTo>
                  <a:lnTo>
                    <a:pt x="5474" y="2530"/>
                  </a:lnTo>
                  <a:lnTo>
                    <a:pt x="5474" y="2540"/>
                  </a:lnTo>
                  <a:lnTo>
                    <a:pt x="5452" y="2530"/>
                  </a:lnTo>
                  <a:lnTo>
                    <a:pt x="5436" y="2507"/>
                  </a:lnTo>
                  <a:lnTo>
                    <a:pt x="5448" y="2530"/>
                  </a:lnTo>
                  <a:lnTo>
                    <a:pt x="5419" y="2523"/>
                  </a:lnTo>
                  <a:lnTo>
                    <a:pt x="5448" y="2540"/>
                  </a:lnTo>
                  <a:lnTo>
                    <a:pt x="5431" y="2540"/>
                  </a:lnTo>
                  <a:lnTo>
                    <a:pt x="5452" y="2556"/>
                  </a:lnTo>
                  <a:lnTo>
                    <a:pt x="5419" y="2547"/>
                  </a:lnTo>
                  <a:lnTo>
                    <a:pt x="5448" y="2568"/>
                  </a:lnTo>
                  <a:lnTo>
                    <a:pt x="5436" y="2585"/>
                  </a:lnTo>
                  <a:lnTo>
                    <a:pt x="5448" y="2596"/>
                  </a:lnTo>
                  <a:lnTo>
                    <a:pt x="5431" y="2618"/>
                  </a:lnTo>
                  <a:lnTo>
                    <a:pt x="5415" y="2613"/>
                  </a:lnTo>
                  <a:lnTo>
                    <a:pt x="5419" y="2601"/>
                  </a:lnTo>
                  <a:lnTo>
                    <a:pt x="5410" y="2596"/>
                  </a:lnTo>
                  <a:lnTo>
                    <a:pt x="5393" y="2601"/>
                  </a:lnTo>
                  <a:lnTo>
                    <a:pt x="5381" y="2596"/>
                  </a:lnTo>
                  <a:lnTo>
                    <a:pt x="5393" y="2585"/>
                  </a:lnTo>
                  <a:lnTo>
                    <a:pt x="5377" y="2585"/>
                  </a:lnTo>
                  <a:lnTo>
                    <a:pt x="5377" y="2568"/>
                  </a:lnTo>
                  <a:lnTo>
                    <a:pt x="5381" y="2556"/>
                  </a:lnTo>
                  <a:lnTo>
                    <a:pt x="5365" y="2568"/>
                  </a:lnTo>
                  <a:lnTo>
                    <a:pt x="5360" y="2596"/>
                  </a:lnTo>
                  <a:lnTo>
                    <a:pt x="5339" y="2568"/>
                  </a:lnTo>
                  <a:lnTo>
                    <a:pt x="5355" y="2563"/>
                  </a:lnTo>
                  <a:lnTo>
                    <a:pt x="5339" y="2563"/>
                  </a:lnTo>
                  <a:lnTo>
                    <a:pt x="5365" y="2547"/>
                  </a:lnTo>
                  <a:lnTo>
                    <a:pt x="5327" y="2563"/>
                  </a:lnTo>
                  <a:lnTo>
                    <a:pt x="5322" y="2556"/>
                  </a:lnTo>
                  <a:lnTo>
                    <a:pt x="5355" y="2530"/>
                  </a:lnTo>
                  <a:lnTo>
                    <a:pt x="5327" y="2540"/>
                  </a:lnTo>
                  <a:lnTo>
                    <a:pt x="5306" y="2540"/>
                  </a:lnTo>
                  <a:lnTo>
                    <a:pt x="5344" y="2523"/>
                  </a:lnTo>
                  <a:lnTo>
                    <a:pt x="5322" y="2530"/>
                  </a:lnTo>
                  <a:lnTo>
                    <a:pt x="5289" y="2514"/>
                  </a:lnTo>
                  <a:lnTo>
                    <a:pt x="5306" y="2502"/>
                  </a:lnTo>
                  <a:lnTo>
                    <a:pt x="5355" y="2490"/>
                  </a:lnTo>
                  <a:lnTo>
                    <a:pt x="5344" y="2485"/>
                  </a:lnTo>
                  <a:lnTo>
                    <a:pt x="5355" y="2457"/>
                  </a:lnTo>
                  <a:lnTo>
                    <a:pt x="5377" y="2448"/>
                  </a:lnTo>
                  <a:lnTo>
                    <a:pt x="5355" y="2452"/>
                  </a:lnTo>
                  <a:lnTo>
                    <a:pt x="5339" y="2474"/>
                  </a:lnTo>
                  <a:lnTo>
                    <a:pt x="5268" y="2490"/>
                  </a:lnTo>
                  <a:lnTo>
                    <a:pt x="5259" y="2485"/>
                  </a:lnTo>
                  <a:lnTo>
                    <a:pt x="5285" y="2469"/>
                  </a:lnTo>
                  <a:lnTo>
                    <a:pt x="5301" y="2448"/>
                  </a:lnTo>
                  <a:lnTo>
                    <a:pt x="5285" y="2469"/>
                  </a:lnTo>
                  <a:lnTo>
                    <a:pt x="5252" y="2474"/>
                  </a:lnTo>
                  <a:lnTo>
                    <a:pt x="5247" y="2457"/>
                  </a:lnTo>
                  <a:lnTo>
                    <a:pt x="5221" y="2457"/>
                  </a:lnTo>
                  <a:lnTo>
                    <a:pt x="5221" y="2448"/>
                  </a:lnTo>
                  <a:lnTo>
                    <a:pt x="5230" y="2436"/>
                  </a:lnTo>
                  <a:lnTo>
                    <a:pt x="5204" y="2448"/>
                  </a:lnTo>
                  <a:lnTo>
                    <a:pt x="5200" y="2419"/>
                  </a:lnTo>
                  <a:lnTo>
                    <a:pt x="5183" y="2412"/>
                  </a:lnTo>
                  <a:lnTo>
                    <a:pt x="5200" y="2419"/>
                  </a:lnTo>
                  <a:lnTo>
                    <a:pt x="5183" y="2429"/>
                  </a:lnTo>
                  <a:lnTo>
                    <a:pt x="5167" y="2419"/>
                  </a:lnTo>
                  <a:lnTo>
                    <a:pt x="5138" y="2419"/>
                  </a:lnTo>
                  <a:lnTo>
                    <a:pt x="5183" y="2436"/>
                  </a:lnTo>
                  <a:lnTo>
                    <a:pt x="5176" y="2448"/>
                  </a:lnTo>
                  <a:lnTo>
                    <a:pt x="5162" y="2436"/>
                  </a:lnTo>
                  <a:lnTo>
                    <a:pt x="5183" y="2452"/>
                  </a:lnTo>
                  <a:lnTo>
                    <a:pt x="5167" y="2452"/>
                  </a:lnTo>
                  <a:lnTo>
                    <a:pt x="5124" y="2429"/>
                  </a:lnTo>
                  <a:lnTo>
                    <a:pt x="5145" y="2457"/>
                  </a:lnTo>
                  <a:lnTo>
                    <a:pt x="5176" y="2485"/>
                  </a:lnTo>
                  <a:lnTo>
                    <a:pt x="5176" y="2490"/>
                  </a:lnTo>
                  <a:lnTo>
                    <a:pt x="5176" y="2502"/>
                  </a:lnTo>
                  <a:lnTo>
                    <a:pt x="5129" y="2502"/>
                  </a:lnTo>
                  <a:lnTo>
                    <a:pt x="5107" y="2469"/>
                  </a:lnTo>
                  <a:lnTo>
                    <a:pt x="5058" y="2469"/>
                  </a:lnTo>
                  <a:lnTo>
                    <a:pt x="5112" y="2485"/>
                  </a:lnTo>
                  <a:lnTo>
                    <a:pt x="5112" y="2490"/>
                  </a:lnTo>
                  <a:lnTo>
                    <a:pt x="5096" y="2485"/>
                  </a:lnTo>
                  <a:lnTo>
                    <a:pt x="5096" y="2502"/>
                  </a:lnTo>
                  <a:lnTo>
                    <a:pt x="5112" y="2502"/>
                  </a:lnTo>
                  <a:lnTo>
                    <a:pt x="5107" y="2514"/>
                  </a:lnTo>
                  <a:lnTo>
                    <a:pt x="5129" y="2514"/>
                  </a:lnTo>
                  <a:lnTo>
                    <a:pt x="5112" y="2540"/>
                  </a:lnTo>
                  <a:lnTo>
                    <a:pt x="5124" y="2540"/>
                  </a:lnTo>
                  <a:lnTo>
                    <a:pt x="5124" y="2547"/>
                  </a:lnTo>
                  <a:lnTo>
                    <a:pt x="5138" y="2530"/>
                  </a:lnTo>
                  <a:lnTo>
                    <a:pt x="5167" y="2530"/>
                  </a:lnTo>
                  <a:lnTo>
                    <a:pt x="5162" y="2547"/>
                  </a:lnTo>
                  <a:lnTo>
                    <a:pt x="5183" y="2556"/>
                  </a:lnTo>
                  <a:lnTo>
                    <a:pt x="5162" y="2563"/>
                  </a:lnTo>
                  <a:lnTo>
                    <a:pt x="5200" y="2580"/>
                  </a:lnTo>
                  <a:lnTo>
                    <a:pt x="5192" y="2596"/>
                  </a:lnTo>
                  <a:lnTo>
                    <a:pt x="5183" y="2601"/>
                  </a:lnTo>
                  <a:lnTo>
                    <a:pt x="5204" y="2585"/>
                  </a:lnTo>
                  <a:lnTo>
                    <a:pt x="5204" y="2601"/>
                  </a:lnTo>
                  <a:lnTo>
                    <a:pt x="5214" y="2634"/>
                  </a:lnTo>
                  <a:lnTo>
                    <a:pt x="5214" y="2601"/>
                  </a:lnTo>
                  <a:lnTo>
                    <a:pt x="5252" y="2618"/>
                  </a:lnTo>
                  <a:lnTo>
                    <a:pt x="5247" y="2641"/>
                  </a:lnTo>
                  <a:lnTo>
                    <a:pt x="5259" y="2625"/>
                  </a:lnTo>
                  <a:lnTo>
                    <a:pt x="5259" y="2641"/>
                  </a:lnTo>
                  <a:lnTo>
                    <a:pt x="5268" y="2641"/>
                  </a:lnTo>
                  <a:lnTo>
                    <a:pt x="5259" y="2618"/>
                  </a:lnTo>
                  <a:lnTo>
                    <a:pt x="5285" y="2625"/>
                  </a:lnTo>
                  <a:lnTo>
                    <a:pt x="5285" y="2641"/>
                  </a:lnTo>
                  <a:lnTo>
                    <a:pt x="5285" y="2634"/>
                  </a:lnTo>
                  <a:lnTo>
                    <a:pt x="5289" y="2641"/>
                  </a:lnTo>
                  <a:lnTo>
                    <a:pt x="5285" y="2667"/>
                  </a:lnTo>
                  <a:lnTo>
                    <a:pt x="5313" y="2658"/>
                  </a:lnTo>
                  <a:lnTo>
                    <a:pt x="5322" y="2674"/>
                  </a:lnTo>
                  <a:lnTo>
                    <a:pt x="5313" y="2691"/>
                  </a:lnTo>
                  <a:lnTo>
                    <a:pt x="5285" y="2691"/>
                  </a:lnTo>
                  <a:lnTo>
                    <a:pt x="5301" y="2691"/>
                  </a:lnTo>
                  <a:lnTo>
                    <a:pt x="5327" y="2712"/>
                  </a:lnTo>
                  <a:lnTo>
                    <a:pt x="5313" y="2724"/>
                  </a:lnTo>
                  <a:lnTo>
                    <a:pt x="5355" y="2724"/>
                  </a:lnTo>
                  <a:lnTo>
                    <a:pt x="5327" y="2745"/>
                  </a:lnTo>
                  <a:lnTo>
                    <a:pt x="5360" y="2762"/>
                  </a:lnTo>
                  <a:lnTo>
                    <a:pt x="5365" y="2802"/>
                  </a:lnTo>
                  <a:lnTo>
                    <a:pt x="5360" y="2802"/>
                  </a:lnTo>
                  <a:lnTo>
                    <a:pt x="5365" y="2802"/>
                  </a:lnTo>
                  <a:lnTo>
                    <a:pt x="5360" y="2807"/>
                  </a:lnTo>
                  <a:lnTo>
                    <a:pt x="5344" y="2802"/>
                  </a:lnTo>
                  <a:lnTo>
                    <a:pt x="5339" y="2762"/>
                  </a:lnTo>
                  <a:lnTo>
                    <a:pt x="5306" y="2745"/>
                  </a:lnTo>
                  <a:lnTo>
                    <a:pt x="5327" y="2762"/>
                  </a:lnTo>
                  <a:lnTo>
                    <a:pt x="5322" y="2778"/>
                  </a:lnTo>
                  <a:lnTo>
                    <a:pt x="5339" y="2807"/>
                  </a:lnTo>
                  <a:lnTo>
                    <a:pt x="5322" y="2802"/>
                  </a:lnTo>
                  <a:lnTo>
                    <a:pt x="5327" y="2818"/>
                  </a:lnTo>
                  <a:lnTo>
                    <a:pt x="5344" y="2823"/>
                  </a:lnTo>
                  <a:lnTo>
                    <a:pt x="5344" y="2840"/>
                  </a:lnTo>
                  <a:lnTo>
                    <a:pt x="5355" y="2847"/>
                  </a:lnTo>
                  <a:lnTo>
                    <a:pt x="5339" y="2847"/>
                  </a:lnTo>
                  <a:lnTo>
                    <a:pt x="5313" y="2840"/>
                  </a:lnTo>
                  <a:lnTo>
                    <a:pt x="5339" y="2873"/>
                  </a:lnTo>
                  <a:lnTo>
                    <a:pt x="5313" y="2889"/>
                  </a:lnTo>
                  <a:lnTo>
                    <a:pt x="5313" y="2873"/>
                  </a:lnTo>
                  <a:lnTo>
                    <a:pt x="5306" y="2873"/>
                  </a:lnTo>
                  <a:lnTo>
                    <a:pt x="5306" y="2856"/>
                  </a:lnTo>
                  <a:lnTo>
                    <a:pt x="5289" y="2856"/>
                  </a:lnTo>
                  <a:lnTo>
                    <a:pt x="5268" y="2847"/>
                  </a:lnTo>
                  <a:lnTo>
                    <a:pt x="5268" y="2835"/>
                  </a:lnTo>
                  <a:lnTo>
                    <a:pt x="5259" y="2840"/>
                  </a:lnTo>
                  <a:lnTo>
                    <a:pt x="5237" y="2823"/>
                  </a:lnTo>
                  <a:lnTo>
                    <a:pt x="5252" y="2840"/>
                  </a:lnTo>
                  <a:lnTo>
                    <a:pt x="5230" y="2835"/>
                  </a:lnTo>
                  <a:lnTo>
                    <a:pt x="5214" y="2790"/>
                  </a:lnTo>
                  <a:lnTo>
                    <a:pt x="5204" y="2802"/>
                  </a:lnTo>
                  <a:lnTo>
                    <a:pt x="5221" y="2818"/>
                  </a:lnTo>
                  <a:lnTo>
                    <a:pt x="5221" y="2840"/>
                  </a:lnTo>
                  <a:lnTo>
                    <a:pt x="5204" y="2823"/>
                  </a:lnTo>
                  <a:lnTo>
                    <a:pt x="5204" y="2807"/>
                  </a:lnTo>
                  <a:lnTo>
                    <a:pt x="5200" y="2818"/>
                  </a:lnTo>
                  <a:lnTo>
                    <a:pt x="5192" y="2807"/>
                  </a:lnTo>
                  <a:lnTo>
                    <a:pt x="5192" y="2790"/>
                  </a:lnTo>
                  <a:lnTo>
                    <a:pt x="5192" y="2802"/>
                  </a:lnTo>
                  <a:lnTo>
                    <a:pt x="5176" y="2807"/>
                  </a:lnTo>
                  <a:lnTo>
                    <a:pt x="5129" y="2752"/>
                  </a:lnTo>
                  <a:lnTo>
                    <a:pt x="5145" y="2790"/>
                  </a:lnTo>
                  <a:lnTo>
                    <a:pt x="5079" y="2752"/>
                  </a:lnTo>
                  <a:lnTo>
                    <a:pt x="5053" y="2752"/>
                  </a:lnTo>
                  <a:lnTo>
                    <a:pt x="5107" y="2818"/>
                  </a:lnTo>
                  <a:lnTo>
                    <a:pt x="5145" y="2823"/>
                  </a:lnTo>
                  <a:lnTo>
                    <a:pt x="5138" y="2835"/>
                  </a:lnTo>
                  <a:lnTo>
                    <a:pt x="5138" y="2840"/>
                  </a:lnTo>
                  <a:lnTo>
                    <a:pt x="5150" y="2835"/>
                  </a:lnTo>
                  <a:lnTo>
                    <a:pt x="5145" y="2847"/>
                  </a:lnTo>
                  <a:lnTo>
                    <a:pt x="5162" y="2840"/>
                  </a:lnTo>
                  <a:lnTo>
                    <a:pt x="5192" y="2873"/>
                  </a:lnTo>
                  <a:lnTo>
                    <a:pt x="5204" y="2873"/>
                  </a:lnTo>
                  <a:lnTo>
                    <a:pt x="5204" y="2880"/>
                  </a:lnTo>
                  <a:lnTo>
                    <a:pt x="5237" y="2896"/>
                  </a:lnTo>
                  <a:lnTo>
                    <a:pt x="5237" y="2901"/>
                  </a:lnTo>
                  <a:lnTo>
                    <a:pt x="5230" y="2913"/>
                  </a:lnTo>
                  <a:lnTo>
                    <a:pt x="5237" y="2918"/>
                  </a:lnTo>
                  <a:lnTo>
                    <a:pt x="5237" y="2913"/>
                  </a:lnTo>
                  <a:lnTo>
                    <a:pt x="5247" y="2913"/>
                  </a:lnTo>
                  <a:lnTo>
                    <a:pt x="5247" y="2918"/>
                  </a:lnTo>
                  <a:lnTo>
                    <a:pt x="5268" y="2929"/>
                  </a:lnTo>
                  <a:lnTo>
                    <a:pt x="5252" y="2934"/>
                  </a:lnTo>
                  <a:lnTo>
                    <a:pt x="5259" y="2955"/>
                  </a:lnTo>
                  <a:lnTo>
                    <a:pt x="5230" y="2955"/>
                  </a:lnTo>
                  <a:lnTo>
                    <a:pt x="5204" y="2946"/>
                  </a:lnTo>
                  <a:lnTo>
                    <a:pt x="5041" y="2901"/>
                  </a:lnTo>
                  <a:lnTo>
                    <a:pt x="5004" y="2873"/>
                  </a:lnTo>
                  <a:lnTo>
                    <a:pt x="5015" y="2863"/>
                  </a:lnTo>
                  <a:lnTo>
                    <a:pt x="4966" y="2863"/>
                  </a:lnTo>
                  <a:lnTo>
                    <a:pt x="4897" y="2840"/>
                  </a:lnTo>
                  <a:lnTo>
                    <a:pt x="4918" y="2823"/>
                  </a:lnTo>
                  <a:lnTo>
                    <a:pt x="4911" y="2818"/>
                  </a:lnTo>
                  <a:lnTo>
                    <a:pt x="4890" y="2835"/>
                  </a:lnTo>
                  <a:lnTo>
                    <a:pt x="4864" y="2818"/>
                  </a:lnTo>
                  <a:lnTo>
                    <a:pt x="4852" y="2790"/>
                  </a:lnTo>
                  <a:lnTo>
                    <a:pt x="4826" y="2785"/>
                  </a:lnTo>
                  <a:lnTo>
                    <a:pt x="4864" y="2785"/>
                  </a:lnTo>
                  <a:lnTo>
                    <a:pt x="4890" y="2769"/>
                  </a:lnTo>
                  <a:lnTo>
                    <a:pt x="4864" y="2769"/>
                  </a:lnTo>
                  <a:lnTo>
                    <a:pt x="4864" y="2752"/>
                  </a:lnTo>
                  <a:lnTo>
                    <a:pt x="4843" y="2745"/>
                  </a:lnTo>
                  <a:lnTo>
                    <a:pt x="4836" y="2752"/>
                  </a:lnTo>
                  <a:lnTo>
                    <a:pt x="4852" y="2752"/>
                  </a:lnTo>
                  <a:lnTo>
                    <a:pt x="4843" y="2762"/>
                  </a:lnTo>
                  <a:lnTo>
                    <a:pt x="4826" y="2752"/>
                  </a:lnTo>
                  <a:lnTo>
                    <a:pt x="4810" y="2762"/>
                  </a:lnTo>
                  <a:lnTo>
                    <a:pt x="4810" y="2752"/>
                  </a:lnTo>
                  <a:lnTo>
                    <a:pt x="4822" y="2736"/>
                  </a:lnTo>
                  <a:lnTo>
                    <a:pt x="4822" y="2729"/>
                  </a:lnTo>
                  <a:lnTo>
                    <a:pt x="4810" y="2745"/>
                  </a:lnTo>
                  <a:lnTo>
                    <a:pt x="4805" y="2745"/>
                  </a:lnTo>
                  <a:lnTo>
                    <a:pt x="4798" y="2736"/>
                  </a:lnTo>
                  <a:lnTo>
                    <a:pt x="4798" y="2724"/>
                  </a:lnTo>
                  <a:lnTo>
                    <a:pt x="4789" y="2712"/>
                  </a:lnTo>
                  <a:lnTo>
                    <a:pt x="4789" y="2729"/>
                  </a:lnTo>
                  <a:lnTo>
                    <a:pt x="4772" y="2712"/>
                  </a:lnTo>
                  <a:lnTo>
                    <a:pt x="4784" y="2712"/>
                  </a:lnTo>
                  <a:lnTo>
                    <a:pt x="4772" y="2707"/>
                  </a:lnTo>
                  <a:lnTo>
                    <a:pt x="4751" y="2691"/>
                  </a:lnTo>
                  <a:lnTo>
                    <a:pt x="4746" y="2691"/>
                  </a:lnTo>
                  <a:lnTo>
                    <a:pt x="4746" y="2674"/>
                  </a:lnTo>
                  <a:lnTo>
                    <a:pt x="4755" y="2658"/>
                  </a:lnTo>
                  <a:lnTo>
                    <a:pt x="4751" y="2641"/>
                  </a:lnTo>
                  <a:lnTo>
                    <a:pt x="4751" y="2658"/>
                  </a:lnTo>
                  <a:lnTo>
                    <a:pt x="4734" y="2667"/>
                  </a:lnTo>
                  <a:lnTo>
                    <a:pt x="4734" y="2651"/>
                  </a:lnTo>
                  <a:lnTo>
                    <a:pt x="4718" y="2651"/>
                  </a:lnTo>
                  <a:lnTo>
                    <a:pt x="4718" y="2658"/>
                  </a:lnTo>
                  <a:lnTo>
                    <a:pt x="4701" y="2651"/>
                  </a:lnTo>
                  <a:lnTo>
                    <a:pt x="4713" y="2667"/>
                  </a:lnTo>
                  <a:lnTo>
                    <a:pt x="4696" y="2679"/>
                  </a:lnTo>
                  <a:lnTo>
                    <a:pt x="4692" y="2658"/>
                  </a:lnTo>
                  <a:lnTo>
                    <a:pt x="4696" y="2658"/>
                  </a:lnTo>
                  <a:lnTo>
                    <a:pt x="4696" y="2634"/>
                  </a:lnTo>
                  <a:lnTo>
                    <a:pt x="4680" y="2658"/>
                  </a:lnTo>
                  <a:lnTo>
                    <a:pt x="4675" y="2658"/>
                  </a:lnTo>
                  <a:lnTo>
                    <a:pt x="4649" y="2634"/>
                  </a:lnTo>
                  <a:lnTo>
                    <a:pt x="4663" y="2625"/>
                  </a:lnTo>
                  <a:lnTo>
                    <a:pt x="4649" y="2618"/>
                  </a:lnTo>
                  <a:lnTo>
                    <a:pt x="4649" y="2634"/>
                  </a:lnTo>
                  <a:lnTo>
                    <a:pt x="4626" y="2625"/>
                  </a:lnTo>
                  <a:lnTo>
                    <a:pt x="4663" y="2658"/>
                  </a:lnTo>
                  <a:lnTo>
                    <a:pt x="4649" y="2679"/>
                  </a:lnTo>
                  <a:lnTo>
                    <a:pt x="4574" y="2651"/>
                  </a:lnTo>
                  <a:lnTo>
                    <a:pt x="4574" y="2658"/>
                  </a:lnTo>
                  <a:lnTo>
                    <a:pt x="4583" y="2667"/>
                  </a:lnTo>
                  <a:lnTo>
                    <a:pt x="4567" y="2667"/>
                  </a:lnTo>
                  <a:lnTo>
                    <a:pt x="4583" y="2679"/>
                  </a:lnTo>
                  <a:lnTo>
                    <a:pt x="4503" y="2691"/>
                  </a:lnTo>
                  <a:lnTo>
                    <a:pt x="4512" y="2696"/>
                  </a:lnTo>
                  <a:lnTo>
                    <a:pt x="4481" y="2691"/>
                  </a:lnTo>
                  <a:lnTo>
                    <a:pt x="4465" y="2696"/>
                  </a:lnTo>
                  <a:lnTo>
                    <a:pt x="4444" y="2674"/>
                  </a:lnTo>
                  <a:lnTo>
                    <a:pt x="4432" y="2679"/>
                  </a:lnTo>
                  <a:lnTo>
                    <a:pt x="4406" y="2658"/>
                  </a:lnTo>
                  <a:lnTo>
                    <a:pt x="4406" y="2634"/>
                  </a:lnTo>
                  <a:lnTo>
                    <a:pt x="4411" y="2625"/>
                  </a:lnTo>
                  <a:lnTo>
                    <a:pt x="4411" y="2613"/>
                  </a:lnTo>
                  <a:lnTo>
                    <a:pt x="4465" y="2585"/>
                  </a:lnTo>
                  <a:lnTo>
                    <a:pt x="4448" y="2568"/>
                  </a:lnTo>
                  <a:lnTo>
                    <a:pt x="4465" y="2563"/>
                  </a:lnTo>
                  <a:lnTo>
                    <a:pt x="4460" y="2556"/>
                  </a:lnTo>
                  <a:lnTo>
                    <a:pt x="4574" y="2580"/>
                  </a:lnTo>
                  <a:lnTo>
                    <a:pt x="4595" y="2601"/>
                  </a:lnTo>
                  <a:lnTo>
                    <a:pt x="4595" y="2613"/>
                  </a:lnTo>
                  <a:lnTo>
                    <a:pt x="4583" y="2613"/>
                  </a:lnTo>
                  <a:lnTo>
                    <a:pt x="4604" y="2641"/>
                  </a:lnTo>
                  <a:lnTo>
                    <a:pt x="4611" y="2634"/>
                  </a:lnTo>
                  <a:lnTo>
                    <a:pt x="4604" y="2618"/>
                  </a:lnTo>
                  <a:lnTo>
                    <a:pt x="4588" y="2618"/>
                  </a:lnTo>
                  <a:lnTo>
                    <a:pt x="4611" y="2613"/>
                  </a:lnTo>
                  <a:lnTo>
                    <a:pt x="4611" y="2596"/>
                  </a:lnTo>
                  <a:lnTo>
                    <a:pt x="4604" y="2601"/>
                  </a:lnTo>
                  <a:lnTo>
                    <a:pt x="4567" y="2568"/>
                  </a:lnTo>
                  <a:lnTo>
                    <a:pt x="4611" y="2580"/>
                  </a:lnTo>
                  <a:lnTo>
                    <a:pt x="4621" y="2568"/>
                  </a:lnTo>
                  <a:lnTo>
                    <a:pt x="4621" y="2563"/>
                  </a:lnTo>
                  <a:lnTo>
                    <a:pt x="4663" y="2568"/>
                  </a:lnTo>
                  <a:lnTo>
                    <a:pt x="4692" y="2547"/>
                  </a:lnTo>
                  <a:lnTo>
                    <a:pt x="4734" y="2547"/>
                  </a:lnTo>
                  <a:lnTo>
                    <a:pt x="4718" y="2514"/>
                  </a:lnTo>
                  <a:lnTo>
                    <a:pt x="4696" y="2502"/>
                  </a:lnTo>
                  <a:lnTo>
                    <a:pt x="4663" y="2469"/>
                  </a:lnTo>
                  <a:lnTo>
                    <a:pt x="4734" y="2419"/>
                  </a:lnTo>
                  <a:lnTo>
                    <a:pt x="4755" y="2403"/>
                  </a:lnTo>
                  <a:lnTo>
                    <a:pt x="4784" y="2363"/>
                  </a:lnTo>
                  <a:lnTo>
                    <a:pt x="4810" y="2358"/>
                  </a:lnTo>
                  <a:lnTo>
                    <a:pt x="4822" y="2341"/>
                  </a:lnTo>
                  <a:lnTo>
                    <a:pt x="4805" y="2292"/>
                  </a:lnTo>
                  <a:lnTo>
                    <a:pt x="4789" y="2285"/>
                  </a:lnTo>
                  <a:lnTo>
                    <a:pt x="4798" y="2268"/>
                  </a:lnTo>
                  <a:lnTo>
                    <a:pt x="4772" y="2252"/>
                  </a:lnTo>
                  <a:lnTo>
                    <a:pt x="4772" y="2247"/>
                  </a:lnTo>
                  <a:lnTo>
                    <a:pt x="4767" y="2226"/>
                  </a:lnTo>
                  <a:lnTo>
                    <a:pt x="4734" y="2214"/>
                  </a:lnTo>
                  <a:lnTo>
                    <a:pt x="4751" y="2197"/>
                  </a:lnTo>
                  <a:lnTo>
                    <a:pt x="4729" y="2214"/>
                  </a:lnTo>
                  <a:lnTo>
                    <a:pt x="4713" y="2209"/>
                  </a:lnTo>
                  <a:lnTo>
                    <a:pt x="4701" y="2181"/>
                  </a:lnTo>
                  <a:lnTo>
                    <a:pt x="4718" y="2181"/>
                  </a:lnTo>
                  <a:lnTo>
                    <a:pt x="4718" y="2157"/>
                  </a:lnTo>
                  <a:lnTo>
                    <a:pt x="4692" y="2157"/>
                  </a:lnTo>
                  <a:lnTo>
                    <a:pt x="4701" y="2176"/>
                  </a:lnTo>
                  <a:lnTo>
                    <a:pt x="4696" y="2181"/>
                  </a:lnTo>
                  <a:lnTo>
                    <a:pt x="4675" y="2176"/>
                  </a:lnTo>
                  <a:lnTo>
                    <a:pt x="4649" y="2152"/>
                  </a:lnTo>
                  <a:lnTo>
                    <a:pt x="4659" y="2140"/>
                  </a:lnTo>
                  <a:lnTo>
                    <a:pt x="4637" y="2140"/>
                  </a:lnTo>
                  <a:lnTo>
                    <a:pt x="4649" y="2124"/>
                  </a:lnTo>
                  <a:lnTo>
                    <a:pt x="4626" y="2124"/>
                  </a:lnTo>
                  <a:lnTo>
                    <a:pt x="4649" y="2119"/>
                  </a:lnTo>
                  <a:lnTo>
                    <a:pt x="4642" y="2115"/>
                  </a:lnTo>
                  <a:lnTo>
                    <a:pt x="4626" y="2119"/>
                  </a:lnTo>
                  <a:lnTo>
                    <a:pt x="4621" y="2136"/>
                  </a:lnTo>
                  <a:lnTo>
                    <a:pt x="4595" y="2119"/>
                  </a:lnTo>
                  <a:lnTo>
                    <a:pt x="4588" y="2136"/>
                  </a:lnTo>
                  <a:lnTo>
                    <a:pt x="4512" y="2157"/>
                  </a:lnTo>
                  <a:lnTo>
                    <a:pt x="4512" y="2152"/>
                  </a:lnTo>
                  <a:lnTo>
                    <a:pt x="4519" y="2136"/>
                  </a:lnTo>
                  <a:lnTo>
                    <a:pt x="4512" y="2124"/>
                  </a:lnTo>
                  <a:lnTo>
                    <a:pt x="4512" y="2119"/>
                  </a:lnTo>
                  <a:lnTo>
                    <a:pt x="4557" y="2119"/>
                  </a:lnTo>
                  <a:lnTo>
                    <a:pt x="4588" y="2115"/>
                  </a:lnTo>
                  <a:lnTo>
                    <a:pt x="4588" y="2098"/>
                  </a:lnTo>
                  <a:lnTo>
                    <a:pt x="4512" y="2048"/>
                  </a:lnTo>
                  <a:lnTo>
                    <a:pt x="4529" y="2041"/>
                  </a:lnTo>
                  <a:lnTo>
                    <a:pt x="4541" y="2029"/>
                  </a:lnTo>
                  <a:lnTo>
                    <a:pt x="4512" y="2029"/>
                  </a:lnTo>
                  <a:lnTo>
                    <a:pt x="4519" y="2041"/>
                  </a:lnTo>
                  <a:lnTo>
                    <a:pt x="4512" y="2048"/>
                  </a:lnTo>
                  <a:lnTo>
                    <a:pt x="4474" y="2041"/>
                  </a:lnTo>
                  <a:lnTo>
                    <a:pt x="4503" y="2029"/>
                  </a:lnTo>
                  <a:lnTo>
                    <a:pt x="4498" y="2013"/>
                  </a:lnTo>
                  <a:lnTo>
                    <a:pt x="4465" y="2013"/>
                  </a:lnTo>
                  <a:lnTo>
                    <a:pt x="4486" y="2003"/>
                  </a:lnTo>
                  <a:lnTo>
                    <a:pt x="4444" y="2025"/>
                  </a:lnTo>
                  <a:lnTo>
                    <a:pt x="4444" y="1970"/>
                  </a:lnTo>
                  <a:lnTo>
                    <a:pt x="4427" y="1959"/>
                  </a:lnTo>
                  <a:lnTo>
                    <a:pt x="4389" y="1970"/>
                  </a:lnTo>
                  <a:lnTo>
                    <a:pt x="4389" y="1954"/>
                  </a:lnTo>
                  <a:lnTo>
                    <a:pt x="4389" y="1947"/>
                  </a:lnTo>
                  <a:lnTo>
                    <a:pt x="4378" y="1954"/>
                  </a:lnTo>
                  <a:lnTo>
                    <a:pt x="4368" y="1937"/>
                  </a:lnTo>
                  <a:lnTo>
                    <a:pt x="4340" y="1930"/>
                  </a:lnTo>
                  <a:lnTo>
                    <a:pt x="4340" y="1921"/>
                  </a:lnTo>
                  <a:lnTo>
                    <a:pt x="4356" y="1914"/>
                  </a:lnTo>
                  <a:lnTo>
                    <a:pt x="4368" y="1921"/>
                  </a:lnTo>
                  <a:lnTo>
                    <a:pt x="4352" y="1904"/>
                  </a:lnTo>
                  <a:lnTo>
                    <a:pt x="4335" y="1914"/>
                  </a:lnTo>
                  <a:lnTo>
                    <a:pt x="4340" y="1914"/>
                  </a:lnTo>
                  <a:lnTo>
                    <a:pt x="4335" y="1937"/>
                  </a:lnTo>
                  <a:lnTo>
                    <a:pt x="4318" y="1930"/>
                  </a:lnTo>
                  <a:lnTo>
                    <a:pt x="4302" y="1947"/>
                  </a:lnTo>
                  <a:lnTo>
                    <a:pt x="4356" y="1954"/>
                  </a:lnTo>
                  <a:lnTo>
                    <a:pt x="4373" y="1992"/>
                  </a:lnTo>
                  <a:lnTo>
                    <a:pt x="4368" y="2008"/>
                  </a:lnTo>
                  <a:lnTo>
                    <a:pt x="4302" y="2008"/>
                  </a:lnTo>
                  <a:lnTo>
                    <a:pt x="4271" y="1992"/>
                  </a:lnTo>
                  <a:lnTo>
                    <a:pt x="4158" y="1975"/>
                  </a:lnTo>
                  <a:lnTo>
                    <a:pt x="4196" y="1992"/>
                  </a:lnTo>
                  <a:lnTo>
                    <a:pt x="4226" y="2025"/>
                  </a:lnTo>
                  <a:lnTo>
                    <a:pt x="4210" y="2029"/>
                  </a:lnTo>
                  <a:lnTo>
                    <a:pt x="4134" y="1975"/>
                  </a:lnTo>
                  <a:lnTo>
                    <a:pt x="4066" y="1954"/>
                  </a:lnTo>
                  <a:lnTo>
                    <a:pt x="4158" y="2003"/>
                  </a:lnTo>
                  <a:lnTo>
                    <a:pt x="4125" y="2025"/>
                  </a:lnTo>
                  <a:lnTo>
                    <a:pt x="4096" y="2008"/>
                  </a:lnTo>
                  <a:lnTo>
                    <a:pt x="4096" y="2008"/>
                  </a:lnTo>
                  <a:lnTo>
                    <a:pt x="4096" y="2008"/>
                  </a:lnTo>
                  <a:close/>
                  <a:moveTo>
                    <a:pt x="4226" y="1493"/>
                  </a:moveTo>
                  <a:lnTo>
                    <a:pt x="4318" y="1510"/>
                  </a:lnTo>
                  <a:lnTo>
                    <a:pt x="4406" y="1498"/>
                  </a:lnTo>
                  <a:lnTo>
                    <a:pt x="4460" y="1515"/>
                  </a:lnTo>
                  <a:lnTo>
                    <a:pt x="4474" y="1526"/>
                  </a:lnTo>
                  <a:lnTo>
                    <a:pt x="4486" y="1543"/>
                  </a:lnTo>
                  <a:lnTo>
                    <a:pt x="4512" y="1548"/>
                  </a:lnTo>
                  <a:lnTo>
                    <a:pt x="4519" y="1571"/>
                  </a:lnTo>
                  <a:lnTo>
                    <a:pt x="4536" y="1581"/>
                  </a:lnTo>
                  <a:lnTo>
                    <a:pt x="4536" y="1597"/>
                  </a:lnTo>
                  <a:lnTo>
                    <a:pt x="4557" y="1604"/>
                  </a:lnTo>
                  <a:lnTo>
                    <a:pt x="4519" y="1621"/>
                  </a:lnTo>
                  <a:lnTo>
                    <a:pt x="4406" y="1609"/>
                  </a:lnTo>
                  <a:lnTo>
                    <a:pt x="4314" y="1626"/>
                  </a:lnTo>
                  <a:lnTo>
                    <a:pt x="4281" y="1609"/>
                  </a:lnTo>
                  <a:lnTo>
                    <a:pt x="4264" y="1588"/>
                  </a:lnTo>
                  <a:lnTo>
                    <a:pt x="4264" y="1564"/>
                  </a:lnTo>
                  <a:lnTo>
                    <a:pt x="4217" y="1548"/>
                  </a:lnTo>
                  <a:lnTo>
                    <a:pt x="4217" y="1493"/>
                  </a:lnTo>
                  <a:lnTo>
                    <a:pt x="4226" y="1493"/>
                  </a:lnTo>
                  <a:lnTo>
                    <a:pt x="4226" y="1493"/>
                  </a:lnTo>
                  <a:lnTo>
                    <a:pt x="4226" y="1493"/>
                  </a:lnTo>
                  <a:close/>
                  <a:moveTo>
                    <a:pt x="2504" y="1604"/>
                  </a:moveTo>
                  <a:lnTo>
                    <a:pt x="2500" y="1604"/>
                  </a:lnTo>
                  <a:lnTo>
                    <a:pt x="2516" y="1609"/>
                  </a:lnTo>
                  <a:lnTo>
                    <a:pt x="2500" y="1609"/>
                  </a:lnTo>
                  <a:lnTo>
                    <a:pt x="2424" y="1543"/>
                  </a:lnTo>
                  <a:lnTo>
                    <a:pt x="2381" y="1526"/>
                  </a:lnTo>
                  <a:lnTo>
                    <a:pt x="2415" y="1493"/>
                  </a:lnTo>
                  <a:lnTo>
                    <a:pt x="2490" y="1486"/>
                  </a:lnTo>
                  <a:lnTo>
                    <a:pt x="2516" y="1486"/>
                  </a:lnTo>
                  <a:lnTo>
                    <a:pt x="2559" y="1515"/>
                  </a:lnTo>
                  <a:lnTo>
                    <a:pt x="2554" y="1548"/>
                  </a:lnTo>
                  <a:lnTo>
                    <a:pt x="2504" y="1604"/>
                  </a:lnTo>
                  <a:lnTo>
                    <a:pt x="2504" y="1604"/>
                  </a:lnTo>
                  <a:lnTo>
                    <a:pt x="2504" y="1604"/>
                  </a:lnTo>
                  <a:close/>
                  <a:moveTo>
                    <a:pt x="1151" y="1493"/>
                  </a:moveTo>
                  <a:lnTo>
                    <a:pt x="1156" y="1498"/>
                  </a:lnTo>
                  <a:lnTo>
                    <a:pt x="1139" y="1493"/>
                  </a:lnTo>
                  <a:lnTo>
                    <a:pt x="1151" y="1493"/>
                  </a:lnTo>
                  <a:lnTo>
                    <a:pt x="1151" y="1493"/>
                  </a:lnTo>
                  <a:lnTo>
                    <a:pt x="1151" y="1493"/>
                  </a:lnTo>
                  <a:close/>
                  <a:moveTo>
                    <a:pt x="1172" y="1510"/>
                  </a:moveTo>
                  <a:lnTo>
                    <a:pt x="1189" y="1515"/>
                  </a:lnTo>
                  <a:lnTo>
                    <a:pt x="1172" y="1515"/>
                  </a:lnTo>
                  <a:lnTo>
                    <a:pt x="1172" y="1510"/>
                  </a:lnTo>
                  <a:lnTo>
                    <a:pt x="1172" y="1510"/>
                  </a:lnTo>
                  <a:lnTo>
                    <a:pt x="1172" y="1510"/>
                  </a:lnTo>
                  <a:close/>
                  <a:moveTo>
                    <a:pt x="2339" y="1515"/>
                  </a:moveTo>
                  <a:lnTo>
                    <a:pt x="2306" y="1510"/>
                  </a:lnTo>
                  <a:lnTo>
                    <a:pt x="2344" y="1510"/>
                  </a:lnTo>
                  <a:lnTo>
                    <a:pt x="2339" y="1515"/>
                  </a:lnTo>
                  <a:lnTo>
                    <a:pt x="2339" y="1515"/>
                  </a:lnTo>
                  <a:lnTo>
                    <a:pt x="2339" y="1515"/>
                  </a:lnTo>
                  <a:close/>
                  <a:moveTo>
                    <a:pt x="2814" y="2025"/>
                  </a:moveTo>
                  <a:lnTo>
                    <a:pt x="2807" y="2041"/>
                  </a:lnTo>
                  <a:lnTo>
                    <a:pt x="2785" y="2029"/>
                  </a:lnTo>
                  <a:lnTo>
                    <a:pt x="2776" y="2013"/>
                  </a:lnTo>
                  <a:lnTo>
                    <a:pt x="2776" y="2008"/>
                  </a:lnTo>
                  <a:lnTo>
                    <a:pt x="2759" y="2029"/>
                  </a:lnTo>
                  <a:lnTo>
                    <a:pt x="2722" y="2003"/>
                  </a:lnTo>
                  <a:lnTo>
                    <a:pt x="2700" y="2025"/>
                  </a:lnTo>
                  <a:lnTo>
                    <a:pt x="2693" y="2025"/>
                  </a:lnTo>
                  <a:lnTo>
                    <a:pt x="2700" y="2029"/>
                  </a:lnTo>
                  <a:lnTo>
                    <a:pt x="2700" y="2048"/>
                  </a:lnTo>
                  <a:lnTo>
                    <a:pt x="2693" y="2048"/>
                  </a:lnTo>
                  <a:lnTo>
                    <a:pt x="2630" y="2029"/>
                  </a:lnTo>
                  <a:lnTo>
                    <a:pt x="2630" y="2041"/>
                  </a:lnTo>
                  <a:lnTo>
                    <a:pt x="2663" y="2058"/>
                  </a:lnTo>
                  <a:lnTo>
                    <a:pt x="2663" y="2086"/>
                  </a:lnTo>
                  <a:lnTo>
                    <a:pt x="2651" y="2098"/>
                  </a:lnTo>
                  <a:lnTo>
                    <a:pt x="2651" y="2103"/>
                  </a:lnTo>
                  <a:lnTo>
                    <a:pt x="2679" y="2070"/>
                  </a:lnTo>
                  <a:lnTo>
                    <a:pt x="2717" y="2058"/>
                  </a:lnTo>
                  <a:lnTo>
                    <a:pt x="2738" y="2065"/>
                  </a:lnTo>
                  <a:lnTo>
                    <a:pt x="2722" y="2086"/>
                  </a:lnTo>
                  <a:lnTo>
                    <a:pt x="2731" y="2098"/>
                  </a:lnTo>
                  <a:lnTo>
                    <a:pt x="2738" y="2086"/>
                  </a:lnTo>
                  <a:lnTo>
                    <a:pt x="2755" y="2098"/>
                  </a:lnTo>
                  <a:lnTo>
                    <a:pt x="2748" y="2119"/>
                  </a:lnTo>
                  <a:lnTo>
                    <a:pt x="2679" y="2140"/>
                  </a:lnTo>
                  <a:lnTo>
                    <a:pt x="2651" y="2140"/>
                  </a:lnTo>
                  <a:lnTo>
                    <a:pt x="2641" y="2152"/>
                  </a:lnTo>
                  <a:lnTo>
                    <a:pt x="2559" y="2124"/>
                  </a:lnTo>
                  <a:lnTo>
                    <a:pt x="2554" y="2136"/>
                  </a:lnTo>
                  <a:lnTo>
                    <a:pt x="2516" y="2136"/>
                  </a:lnTo>
                  <a:lnTo>
                    <a:pt x="2504" y="2124"/>
                  </a:lnTo>
                  <a:lnTo>
                    <a:pt x="2533" y="2115"/>
                  </a:lnTo>
                  <a:lnTo>
                    <a:pt x="2431" y="2098"/>
                  </a:lnTo>
                  <a:lnTo>
                    <a:pt x="2436" y="2081"/>
                  </a:lnTo>
                  <a:lnTo>
                    <a:pt x="2431" y="2070"/>
                  </a:lnTo>
                  <a:lnTo>
                    <a:pt x="2415" y="2058"/>
                  </a:lnTo>
                  <a:lnTo>
                    <a:pt x="2381" y="2081"/>
                  </a:lnTo>
                  <a:lnTo>
                    <a:pt x="2393" y="2098"/>
                  </a:lnTo>
                  <a:lnTo>
                    <a:pt x="2360" y="2119"/>
                  </a:lnTo>
                  <a:lnTo>
                    <a:pt x="2273" y="2124"/>
                  </a:lnTo>
                  <a:lnTo>
                    <a:pt x="2273" y="2136"/>
                  </a:lnTo>
                  <a:lnTo>
                    <a:pt x="2235" y="2157"/>
                  </a:lnTo>
                  <a:lnTo>
                    <a:pt x="2155" y="2176"/>
                  </a:lnTo>
                  <a:lnTo>
                    <a:pt x="2074" y="2176"/>
                  </a:lnTo>
                  <a:lnTo>
                    <a:pt x="2091" y="2181"/>
                  </a:lnTo>
                  <a:lnTo>
                    <a:pt x="1944" y="2192"/>
                  </a:lnTo>
                  <a:lnTo>
                    <a:pt x="1961" y="2181"/>
                  </a:lnTo>
                  <a:lnTo>
                    <a:pt x="1933" y="2176"/>
                  </a:lnTo>
                  <a:lnTo>
                    <a:pt x="1923" y="2140"/>
                  </a:lnTo>
                  <a:lnTo>
                    <a:pt x="1928" y="2115"/>
                  </a:lnTo>
                  <a:lnTo>
                    <a:pt x="1911" y="2098"/>
                  </a:lnTo>
                  <a:lnTo>
                    <a:pt x="1928" y="2098"/>
                  </a:lnTo>
                  <a:lnTo>
                    <a:pt x="1874" y="2086"/>
                  </a:lnTo>
                  <a:lnTo>
                    <a:pt x="1760" y="2081"/>
                  </a:lnTo>
                  <a:lnTo>
                    <a:pt x="1718" y="2070"/>
                  </a:lnTo>
                  <a:lnTo>
                    <a:pt x="1713" y="2065"/>
                  </a:lnTo>
                  <a:lnTo>
                    <a:pt x="1713" y="2048"/>
                  </a:lnTo>
                  <a:lnTo>
                    <a:pt x="1692" y="2048"/>
                  </a:lnTo>
                  <a:lnTo>
                    <a:pt x="1696" y="2041"/>
                  </a:lnTo>
                  <a:lnTo>
                    <a:pt x="1663" y="2025"/>
                  </a:lnTo>
                  <a:lnTo>
                    <a:pt x="1654" y="1992"/>
                  </a:lnTo>
                  <a:lnTo>
                    <a:pt x="1680" y="1975"/>
                  </a:lnTo>
                  <a:lnTo>
                    <a:pt x="1815" y="1959"/>
                  </a:lnTo>
                  <a:lnTo>
                    <a:pt x="1874" y="1954"/>
                  </a:lnTo>
                  <a:lnTo>
                    <a:pt x="1999" y="1970"/>
                  </a:lnTo>
                  <a:lnTo>
                    <a:pt x="2030" y="1959"/>
                  </a:lnTo>
                  <a:lnTo>
                    <a:pt x="2015" y="1954"/>
                  </a:lnTo>
                  <a:lnTo>
                    <a:pt x="2074" y="1954"/>
                  </a:lnTo>
                  <a:lnTo>
                    <a:pt x="2067" y="1954"/>
                  </a:lnTo>
                  <a:lnTo>
                    <a:pt x="2037" y="1947"/>
                  </a:lnTo>
                  <a:lnTo>
                    <a:pt x="2020" y="1930"/>
                  </a:lnTo>
                  <a:lnTo>
                    <a:pt x="1895" y="1897"/>
                  </a:lnTo>
                  <a:lnTo>
                    <a:pt x="1815" y="1914"/>
                  </a:lnTo>
                  <a:lnTo>
                    <a:pt x="1642" y="1914"/>
                  </a:lnTo>
                  <a:lnTo>
                    <a:pt x="1583" y="1864"/>
                  </a:lnTo>
                  <a:lnTo>
                    <a:pt x="1626" y="1843"/>
                  </a:lnTo>
                  <a:lnTo>
                    <a:pt x="1772" y="1810"/>
                  </a:lnTo>
                  <a:lnTo>
                    <a:pt x="1751" y="1803"/>
                  </a:lnTo>
                  <a:lnTo>
                    <a:pt x="1765" y="1803"/>
                  </a:lnTo>
                  <a:lnTo>
                    <a:pt x="1798" y="1803"/>
                  </a:lnTo>
                  <a:lnTo>
                    <a:pt x="1819" y="1793"/>
                  </a:lnTo>
                  <a:lnTo>
                    <a:pt x="1772" y="1786"/>
                  </a:lnTo>
                  <a:lnTo>
                    <a:pt x="1659" y="1810"/>
                  </a:lnTo>
                  <a:lnTo>
                    <a:pt x="1659" y="1803"/>
                  </a:lnTo>
                  <a:lnTo>
                    <a:pt x="1642" y="1793"/>
                  </a:lnTo>
                  <a:lnTo>
                    <a:pt x="1642" y="1803"/>
                  </a:lnTo>
                  <a:lnTo>
                    <a:pt x="1654" y="1803"/>
                  </a:lnTo>
                  <a:lnTo>
                    <a:pt x="1642" y="1810"/>
                  </a:lnTo>
                  <a:lnTo>
                    <a:pt x="1604" y="1810"/>
                  </a:lnTo>
                  <a:lnTo>
                    <a:pt x="1588" y="1803"/>
                  </a:lnTo>
                  <a:lnTo>
                    <a:pt x="1637" y="1786"/>
                  </a:lnTo>
                  <a:lnTo>
                    <a:pt x="1621" y="1781"/>
                  </a:lnTo>
                  <a:lnTo>
                    <a:pt x="1637" y="1770"/>
                  </a:lnTo>
                  <a:lnTo>
                    <a:pt x="1588" y="1786"/>
                  </a:lnTo>
                  <a:lnTo>
                    <a:pt x="1555" y="1770"/>
                  </a:lnTo>
                  <a:lnTo>
                    <a:pt x="1550" y="1786"/>
                  </a:lnTo>
                  <a:lnTo>
                    <a:pt x="1533" y="1781"/>
                  </a:lnTo>
                  <a:lnTo>
                    <a:pt x="1533" y="1765"/>
                  </a:lnTo>
                  <a:lnTo>
                    <a:pt x="1533" y="1737"/>
                  </a:lnTo>
                  <a:lnTo>
                    <a:pt x="1567" y="1715"/>
                  </a:lnTo>
                  <a:lnTo>
                    <a:pt x="1604" y="1699"/>
                  </a:lnTo>
                  <a:lnTo>
                    <a:pt x="1604" y="1682"/>
                  </a:lnTo>
                  <a:lnTo>
                    <a:pt x="1571" y="1675"/>
                  </a:lnTo>
                  <a:lnTo>
                    <a:pt x="1571" y="1659"/>
                  </a:lnTo>
                  <a:lnTo>
                    <a:pt x="1659" y="1604"/>
                  </a:lnTo>
                  <a:lnTo>
                    <a:pt x="1852" y="1543"/>
                  </a:lnTo>
                  <a:lnTo>
                    <a:pt x="1878" y="1548"/>
                  </a:lnTo>
                  <a:lnTo>
                    <a:pt x="1895" y="1571"/>
                  </a:lnTo>
                  <a:lnTo>
                    <a:pt x="1890" y="1609"/>
                  </a:lnTo>
                  <a:lnTo>
                    <a:pt x="1895" y="1621"/>
                  </a:lnTo>
                  <a:lnTo>
                    <a:pt x="1869" y="1626"/>
                  </a:lnTo>
                  <a:lnTo>
                    <a:pt x="1869" y="1642"/>
                  </a:lnTo>
                  <a:lnTo>
                    <a:pt x="1852" y="1654"/>
                  </a:lnTo>
                  <a:lnTo>
                    <a:pt x="1857" y="1654"/>
                  </a:lnTo>
                  <a:lnTo>
                    <a:pt x="1928" y="1637"/>
                  </a:lnTo>
                  <a:lnTo>
                    <a:pt x="1933" y="1626"/>
                  </a:lnTo>
                  <a:lnTo>
                    <a:pt x="1923" y="1621"/>
                  </a:lnTo>
                  <a:lnTo>
                    <a:pt x="1961" y="1597"/>
                  </a:lnTo>
                  <a:lnTo>
                    <a:pt x="2091" y="1637"/>
                  </a:lnTo>
                  <a:lnTo>
                    <a:pt x="2084" y="1654"/>
                  </a:lnTo>
                  <a:lnTo>
                    <a:pt x="2046" y="1682"/>
                  </a:lnTo>
                  <a:lnTo>
                    <a:pt x="2058" y="1692"/>
                  </a:lnTo>
                  <a:lnTo>
                    <a:pt x="2074" y="1682"/>
                  </a:lnTo>
                  <a:lnTo>
                    <a:pt x="2058" y="1682"/>
                  </a:lnTo>
                  <a:lnTo>
                    <a:pt x="2084" y="1666"/>
                  </a:lnTo>
                  <a:lnTo>
                    <a:pt x="2091" y="1666"/>
                  </a:lnTo>
                  <a:lnTo>
                    <a:pt x="2084" y="1682"/>
                  </a:lnTo>
                  <a:lnTo>
                    <a:pt x="2100" y="1682"/>
                  </a:lnTo>
                  <a:lnTo>
                    <a:pt x="2105" y="1666"/>
                  </a:lnTo>
                  <a:lnTo>
                    <a:pt x="2129" y="1654"/>
                  </a:lnTo>
                  <a:lnTo>
                    <a:pt x="2155" y="1666"/>
                  </a:lnTo>
                  <a:lnTo>
                    <a:pt x="2138" y="1659"/>
                  </a:lnTo>
                  <a:lnTo>
                    <a:pt x="2155" y="1654"/>
                  </a:lnTo>
                  <a:lnTo>
                    <a:pt x="2193" y="1666"/>
                  </a:lnTo>
                  <a:lnTo>
                    <a:pt x="2159" y="1654"/>
                  </a:lnTo>
                  <a:lnTo>
                    <a:pt x="2193" y="1659"/>
                  </a:lnTo>
                  <a:lnTo>
                    <a:pt x="2176" y="1642"/>
                  </a:lnTo>
                  <a:lnTo>
                    <a:pt x="2155" y="1637"/>
                  </a:lnTo>
                  <a:lnTo>
                    <a:pt x="2193" y="1626"/>
                  </a:lnTo>
                  <a:lnTo>
                    <a:pt x="2138" y="1609"/>
                  </a:lnTo>
                  <a:lnTo>
                    <a:pt x="2122" y="1597"/>
                  </a:lnTo>
                  <a:lnTo>
                    <a:pt x="2143" y="1588"/>
                  </a:lnTo>
                  <a:lnTo>
                    <a:pt x="2197" y="1604"/>
                  </a:lnTo>
                  <a:lnTo>
                    <a:pt x="2193" y="1609"/>
                  </a:lnTo>
                  <a:lnTo>
                    <a:pt x="2230" y="1626"/>
                  </a:lnTo>
                  <a:lnTo>
                    <a:pt x="2247" y="1637"/>
                  </a:lnTo>
                  <a:lnTo>
                    <a:pt x="2247" y="1654"/>
                  </a:lnTo>
                  <a:lnTo>
                    <a:pt x="2273" y="1654"/>
                  </a:lnTo>
                  <a:lnTo>
                    <a:pt x="2268" y="1682"/>
                  </a:lnTo>
                  <a:lnTo>
                    <a:pt x="2285" y="1708"/>
                  </a:lnTo>
                  <a:lnTo>
                    <a:pt x="2289" y="1725"/>
                  </a:lnTo>
                  <a:lnTo>
                    <a:pt x="2301" y="1737"/>
                  </a:lnTo>
                  <a:lnTo>
                    <a:pt x="2301" y="1748"/>
                  </a:lnTo>
                  <a:lnTo>
                    <a:pt x="2301" y="1770"/>
                  </a:lnTo>
                  <a:lnTo>
                    <a:pt x="2327" y="1781"/>
                  </a:lnTo>
                  <a:lnTo>
                    <a:pt x="2327" y="1770"/>
                  </a:lnTo>
                  <a:lnTo>
                    <a:pt x="2370" y="1748"/>
                  </a:lnTo>
                  <a:lnTo>
                    <a:pt x="2327" y="1708"/>
                  </a:lnTo>
                  <a:lnTo>
                    <a:pt x="2322" y="1654"/>
                  </a:lnTo>
                  <a:lnTo>
                    <a:pt x="2318" y="1642"/>
                  </a:lnTo>
                  <a:lnTo>
                    <a:pt x="2289" y="1571"/>
                  </a:lnTo>
                  <a:lnTo>
                    <a:pt x="2322" y="1564"/>
                  </a:lnTo>
                  <a:lnTo>
                    <a:pt x="2306" y="1555"/>
                  </a:lnTo>
                  <a:lnTo>
                    <a:pt x="2318" y="1548"/>
                  </a:lnTo>
                  <a:lnTo>
                    <a:pt x="2381" y="1571"/>
                  </a:lnTo>
                  <a:lnTo>
                    <a:pt x="2381" y="1564"/>
                  </a:lnTo>
                  <a:lnTo>
                    <a:pt x="2377" y="1555"/>
                  </a:lnTo>
                  <a:lnTo>
                    <a:pt x="2398" y="1548"/>
                  </a:lnTo>
                  <a:lnTo>
                    <a:pt x="2436" y="1581"/>
                  </a:lnTo>
                  <a:lnTo>
                    <a:pt x="2469" y="1588"/>
                  </a:lnTo>
                  <a:lnTo>
                    <a:pt x="2500" y="1626"/>
                  </a:lnTo>
                  <a:lnTo>
                    <a:pt x="2490" y="1626"/>
                  </a:lnTo>
                  <a:lnTo>
                    <a:pt x="2516" y="1666"/>
                  </a:lnTo>
                  <a:lnTo>
                    <a:pt x="2504" y="1666"/>
                  </a:lnTo>
                  <a:lnTo>
                    <a:pt x="2533" y="1708"/>
                  </a:lnTo>
                  <a:lnTo>
                    <a:pt x="2521" y="1725"/>
                  </a:lnTo>
                  <a:lnTo>
                    <a:pt x="2570" y="1786"/>
                  </a:lnTo>
                  <a:lnTo>
                    <a:pt x="2570" y="1793"/>
                  </a:lnTo>
                  <a:lnTo>
                    <a:pt x="2570" y="1810"/>
                  </a:lnTo>
                  <a:lnTo>
                    <a:pt x="2559" y="1819"/>
                  </a:lnTo>
                  <a:lnTo>
                    <a:pt x="2570" y="1836"/>
                  </a:lnTo>
                  <a:lnTo>
                    <a:pt x="2554" y="1848"/>
                  </a:lnTo>
                  <a:lnTo>
                    <a:pt x="2630" y="1914"/>
                  </a:lnTo>
                  <a:lnTo>
                    <a:pt x="2667" y="1930"/>
                  </a:lnTo>
                  <a:lnTo>
                    <a:pt x="2651" y="1921"/>
                  </a:lnTo>
                  <a:lnTo>
                    <a:pt x="2651" y="1904"/>
                  </a:lnTo>
                  <a:lnTo>
                    <a:pt x="2663" y="1904"/>
                  </a:lnTo>
                  <a:lnTo>
                    <a:pt x="2684" y="1930"/>
                  </a:lnTo>
                  <a:lnTo>
                    <a:pt x="2738" y="1959"/>
                  </a:lnTo>
                  <a:lnTo>
                    <a:pt x="2759" y="1959"/>
                  </a:lnTo>
                  <a:lnTo>
                    <a:pt x="2759" y="1970"/>
                  </a:lnTo>
                  <a:lnTo>
                    <a:pt x="2769" y="1975"/>
                  </a:lnTo>
                  <a:lnTo>
                    <a:pt x="2807" y="1970"/>
                  </a:lnTo>
                  <a:lnTo>
                    <a:pt x="2814" y="2025"/>
                  </a:lnTo>
                  <a:lnTo>
                    <a:pt x="2814" y="2025"/>
                  </a:lnTo>
                  <a:lnTo>
                    <a:pt x="2814" y="2025"/>
                  </a:lnTo>
                  <a:close/>
                  <a:moveTo>
                    <a:pt x="3083" y="1555"/>
                  </a:moveTo>
                  <a:lnTo>
                    <a:pt x="3095" y="1564"/>
                  </a:lnTo>
                  <a:lnTo>
                    <a:pt x="3078" y="1555"/>
                  </a:lnTo>
                  <a:lnTo>
                    <a:pt x="3083" y="1555"/>
                  </a:lnTo>
                  <a:lnTo>
                    <a:pt x="3083" y="1555"/>
                  </a:lnTo>
                  <a:lnTo>
                    <a:pt x="3083" y="1555"/>
                  </a:lnTo>
                  <a:close/>
                  <a:moveTo>
                    <a:pt x="3100" y="1564"/>
                  </a:moveTo>
                  <a:lnTo>
                    <a:pt x="3116" y="1581"/>
                  </a:lnTo>
                  <a:lnTo>
                    <a:pt x="3109" y="1597"/>
                  </a:lnTo>
                  <a:lnTo>
                    <a:pt x="3095" y="1604"/>
                  </a:lnTo>
                  <a:lnTo>
                    <a:pt x="3078" y="1588"/>
                  </a:lnTo>
                  <a:lnTo>
                    <a:pt x="3083" y="1571"/>
                  </a:lnTo>
                  <a:lnTo>
                    <a:pt x="3100" y="1564"/>
                  </a:lnTo>
                  <a:lnTo>
                    <a:pt x="3100" y="1564"/>
                  </a:lnTo>
                  <a:lnTo>
                    <a:pt x="3100" y="1564"/>
                  </a:lnTo>
                  <a:close/>
                  <a:moveTo>
                    <a:pt x="3180" y="1571"/>
                  </a:moveTo>
                  <a:lnTo>
                    <a:pt x="3180" y="1588"/>
                  </a:lnTo>
                  <a:lnTo>
                    <a:pt x="3163" y="1581"/>
                  </a:lnTo>
                  <a:lnTo>
                    <a:pt x="3180" y="1571"/>
                  </a:lnTo>
                  <a:lnTo>
                    <a:pt x="3180" y="1571"/>
                  </a:lnTo>
                  <a:lnTo>
                    <a:pt x="3180" y="1571"/>
                  </a:lnTo>
                  <a:close/>
                  <a:moveTo>
                    <a:pt x="3170" y="1597"/>
                  </a:moveTo>
                  <a:lnTo>
                    <a:pt x="3180" y="1604"/>
                  </a:lnTo>
                  <a:lnTo>
                    <a:pt x="3170" y="1604"/>
                  </a:lnTo>
                  <a:lnTo>
                    <a:pt x="3170" y="1597"/>
                  </a:lnTo>
                  <a:lnTo>
                    <a:pt x="3170" y="1597"/>
                  </a:lnTo>
                  <a:lnTo>
                    <a:pt x="3170" y="1597"/>
                  </a:lnTo>
                  <a:close/>
                  <a:moveTo>
                    <a:pt x="3109" y="1609"/>
                  </a:moveTo>
                  <a:lnTo>
                    <a:pt x="3109" y="1621"/>
                  </a:lnTo>
                  <a:lnTo>
                    <a:pt x="3109" y="1626"/>
                  </a:lnTo>
                  <a:lnTo>
                    <a:pt x="3083" y="1626"/>
                  </a:lnTo>
                  <a:lnTo>
                    <a:pt x="3109" y="1609"/>
                  </a:lnTo>
                  <a:lnTo>
                    <a:pt x="3109" y="1609"/>
                  </a:lnTo>
                  <a:lnTo>
                    <a:pt x="3109" y="1609"/>
                  </a:lnTo>
                  <a:close/>
                  <a:moveTo>
                    <a:pt x="3170" y="1609"/>
                  </a:moveTo>
                  <a:lnTo>
                    <a:pt x="3180" y="1621"/>
                  </a:lnTo>
                  <a:lnTo>
                    <a:pt x="3170" y="1609"/>
                  </a:lnTo>
                  <a:lnTo>
                    <a:pt x="3170" y="1609"/>
                  </a:lnTo>
                  <a:lnTo>
                    <a:pt x="3170" y="1609"/>
                  </a:lnTo>
                  <a:close/>
                  <a:moveTo>
                    <a:pt x="2219" y="1621"/>
                  </a:moveTo>
                  <a:lnTo>
                    <a:pt x="2230" y="1621"/>
                  </a:lnTo>
                  <a:lnTo>
                    <a:pt x="2214" y="1621"/>
                  </a:lnTo>
                  <a:lnTo>
                    <a:pt x="2219" y="1621"/>
                  </a:lnTo>
                  <a:lnTo>
                    <a:pt x="2219" y="1621"/>
                  </a:lnTo>
                  <a:lnTo>
                    <a:pt x="2219" y="1621"/>
                  </a:lnTo>
                  <a:close/>
                  <a:moveTo>
                    <a:pt x="2143" y="1642"/>
                  </a:moveTo>
                  <a:lnTo>
                    <a:pt x="2155" y="1642"/>
                  </a:lnTo>
                  <a:lnTo>
                    <a:pt x="2143" y="1642"/>
                  </a:lnTo>
                  <a:lnTo>
                    <a:pt x="2143" y="1642"/>
                  </a:lnTo>
                  <a:lnTo>
                    <a:pt x="2143" y="1642"/>
                  </a:lnTo>
                  <a:close/>
                  <a:moveTo>
                    <a:pt x="4271" y="1659"/>
                  </a:moveTo>
                  <a:lnTo>
                    <a:pt x="4281" y="1666"/>
                  </a:lnTo>
                  <a:lnTo>
                    <a:pt x="4281" y="1675"/>
                  </a:lnTo>
                  <a:lnTo>
                    <a:pt x="4271" y="1659"/>
                  </a:lnTo>
                  <a:lnTo>
                    <a:pt x="4271" y="1659"/>
                  </a:lnTo>
                  <a:lnTo>
                    <a:pt x="4271" y="1659"/>
                  </a:lnTo>
                  <a:close/>
                  <a:moveTo>
                    <a:pt x="4314" y="1666"/>
                  </a:moveTo>
                  <a:lnTo>
                    <a:pt x="4318" y="1682"/>
                  </a:lnTo>
                  <a:lnTo>
                    <a:pt x="4302" y="1666"/>
                  </a:lnTo>
                  <a:lnTo>
                    <a:pt x="4314" y="1666"/>
                  </a:lnTo>
                  <a:lnTo>
                    <a:pt x="4314" y="1666"/>
                  </a:lnTo>
                  <a:lnTo>
                    <a:pt x="4314" y="1666"/>
                  </a:lnTo>
                  <a:close/>
                  <a:moveTo>
                    <a:pt x="4352" y="1666"/>
                  </a:moveTo>
                  <a:lnTo>
                    <a:pt x="4368" y="1682"/>
                  </a:lnTo>
                  <a:lnTo>
                    <a:pt x="4352" y="1682"/>
                  </a:lnTo>
                  <a:lnTo>
                    <a:pt x="4340" y="1675"/>
                  </a:lnTo>
                  <a:lnTo>
                    <a:pt x="4352" y="1666"/>
                  </a:lnTo>
                  <a:lnTo>
                    <a:pt x="4352" y="1666"/>
                  </a:lnTo>
                  <a:lnTo>
                    <a:pt x="4352" y="1666"/>
                  </a:lnTo>
                  <a:close/>
                  <a:moveTo>
                    <a:pt x="2306" y="1725"/>
                  </a:moveTo>
                  <a:lnTo>
                    <a:pt x="2318" y="1732"/>
                  </a:lnTo>
                  <a:lnTo>
                    <a:pt x="2301" y="1732"/>
                  </a:lnTo>
                  <a:lnTo>
                    <a:pt x="2306" y="1725"/>
                  </a:lnTo>
                  <a:lnTo>
                    <a:pt x="2306" y="1725"/>
                  </a:lnTo>
                  <a:lnTo>
                    <a:pt x="2306" y="1725"/>
                  </a:lnTo>
                  <a:close/>
                  <a:moveTo>
                    <a:pt x="5176" y="4614"/>
                  </a:moveTo>
                  <a:lnTo>
                    <a:pt x="5167" y="4614"/>
                  </a:lnTo>
                  <a:lnTo>
                    <a:pt x="5162" y="4597"/>
                  </a:lnTo>
                  <a:lnTo>
                    <a:pt x="5150" y="4581"/>
                  </a:lnTo>
                  <a:lnTo>
                    <a:pt x="5162" y="4576"/>
                  </a:lnTo>
                  <a:lnTo>
                    <a:pt x="5138" y="4569"/>
                  </a:lnTo>
                  <a:lnTo>
                    <a:pt x="5138" y="4441"/>
                  </a:lnTo>
                  <a:lnTo>
                    <a:pt x="5096" y="4415"/>
                  </a:lnTo>
                  <a:lnTo>
                    <a:pt x="5058" y="4432"/>
                  </a:lnTo>
                  <a:lnTo>
                    <a:pt x="5041" y="4425"/>
                  </a:lnTo>
                  <a:lnTo>
                    <a:pt x="5041" y="4408"/>
                  </a:lnTo>
                  <a:lnTo>
                    <a:pt x="5037" y="4403"/>
                  </a:lnTo>
                  <a:lnTo>
                    <a:pt x="4982" y="4470"/>
                  </a:lnTo>
                  <a:lnTo>
                    <a:pt x="4973" y="4498"/>
                  </a:lnTo>
                  <a:lnTo>
                    <a:pt x="4961" y="4519"/>
                  </a:lnTo>
                  <a:lnTo>
                    <a:pt x="4961" y="4543"/>
                  </a:lnTo>
                  <a:lnTo>
                    <a:pt x="4928" y="4576"/>
                  </a:lnTo>
                  <a:lnTo>
                    <a:pt x="4928" y="4581"/>
                  </a:lnTo>
                  <a:lnTo>
                    <a:pt x="4918" y="4609"/>
                  </a:lnTo>
                  <a:lnTo>
                    <a:pt x="4907" y="4597"/>
                  </a:lnTo>
                  <a:lnTo>
                    <a:pt x="4897" y="4609"/>
                  </a:lnTo>
                  <a:lnTo>
                    <a:pt x="4890" y="4597"/>
                  </a:lnTo>
                  <a:lnTo>
                    <a:pt x="4881" y="4609"/>
                  </a:lnTo>
                  <a:lnTo>
                    <a:pt x="4874" y="4625"/>
                  </a:lnTo>
                  <a:lnTo>
                    <a:pt x="4626" y="4630"/>
                  </a:lnTo>
                  <a:lnTo>
                    <a:pt x="4529" y="4708"/>
                  </a:lnTo>
                  <a:lnTo>
                    <a:pt x="4503" y="4748"/>
                  </a:lnTo>
                  <a:lnTo>
                    <a:pt x="4368" y="4748"/>
                  </a:lnTo>
                  <a:lnTo>
                    <a:pt x="4335" y="4765"/>
                  </a:lnTo>
                  <a:lnTo>
                    <a:pt x="4340" y="4781"/>
                  </a:lnTo>
                  <a:lnTo>
                    <a:pt x="4340" y="4798"/>
                  </a:lnTo>
                  <a:lnTo>
                    <a:pt x="4356" y="4814"/>
                  </a:lnTo>
                  <a:lnTo>
                    <a:pt x="4352" y="4819"/>
                  </a:lnTo>
                  <a:lnTo>
                    <a:pt x="4271" y="4852"/>
                  </a:lnTo>
                  <a:lnTo>
                    <a:pt x="4189" y="4869"/>
                  </a:lnTo>
                  <a:lnTo>
                    <a:pt x="4108" y="4918"/>
                  </a:lnTo>
                  <a:lnTo>
                    <a:pt x="4087" y="4918"/>
                  </a:lnTo>
                  <a:lnTo>
                    <a:pt x="4066" y="4902"/>
                  </a:lnTo>
                  <a:lnTo>
                    <a:pt x="4054" y="4885"/>
                  </a:lnTo>
                  <a:lnTo>
                    <a:pt x="4066" y="4869"/>
                  </a:lnTo>
                  <a:lnTo>
                    <a:pt x="4104" y="4836"/>
                  </a:lnTo>
                  <a:lnTo>
                    <a:pt x="4108" y="4803"/>
                  </a:lnTo>
                  <a:lnTo>
                    <a:pt x="4125" y="4748"/>
                  </a:lnTo>
                  <a:lnTo>
                    <a:pt x="4104" y="4597"/>
                  </a:lnTo>
                  <a:lnTo>
                    <a:pt x="4028" y="4552"/>
                  </a:lnTo>
                  <a:lnTo>
                    <a:pt x="4033" y="4536"/>
                  </a:lnTo>
                  <a:lnTo>
                    <a:pt x="4028" y="4526"/>
                  </a:lnTo>
                  <a:lnTo>
                    <a:pt x="4000" y="4526"/>
                  </a:lnTo>
                  <a:lnTo>
                    <a:pt x="3990" y="4514"/>
                  </a:lnTo>
                  <a:lnTo>
                    <a:pt x="3990" y="4486"/>
                  </a:lnTo>
                  <a:lnTo>
                    <a:pt x="3957" y="4498"/>
                  </a:lnTo>
                  <a:lnTo>
                    <a:pt x="3941" y="4481"/>
                  </a:lnTo>
                  <a:lnTo>
                    <a:pt x="3941" y="4460"/>
                  </a:lnTo>
                  <a:lnTo>
                    <a:pt x="3693" y="4333"/>
                  </a:lnTo>
                  <a:lnTo>
                    <a:pt x="3622" y="4359"/>
                  </a:lnTo>
                  <a:lnTo>
                    <a:pt x="3584" y="4354"/>
                  </a:lnTo>
                  <a:lnTo>
                    <a:pt x="3563" y="4349"/>
                  </a:lnTo>
                  <a:lnTo>
                    <a:pt x="3525" y="4349"/>
                  </a:lnTo>
                  <a:lnTo>
                    <a:pt x="3515" y="4337"/>
                  </a:lnTo>
                  <a:lnTo>
                    <a:pt x="3478" y="4354"/>
                  </a:lnTo>
                  <a:lnTo>
                    <a:pt x="3440" y="4337"/>
                  </a:lnTo>
                  <a:lnTo>
                    <a:pt x="3433" y="4321"/>
                  </a:lnTo>
                  <a:lnTo>
                    <a:pt x="3418" y="4321"/>
                  </a:lnTo>
                  <a:lnTo>
                    <a:pt x="3407" y="4337"/>
                  </a:lnTo>
                  <a:lnTo>
                    <a:pt x="3407" y="4321"/>
                  </a:lnTo>
                  <a:lnTo>
                    <a:pt x="3369" y="4297"/>
                  </a:lnTo>
                  <a:lnTo>
                    <a:pt x="3348" y="4297"/>
                  </a:lnTo>
                  <a:lnTo>
                    <a:pt x="3310" y="4304"/>
                  </a:lnTo>
                  <a:lnTo>
                    <a:pt x="3310" y="4297"/>
                  </a:lnTo>
                  <a:lnTo>
                    <a:pt x="3256" y="4292"/>
                  </a:lnTo>
                  <a:lnTo>
                    <a:pt x="3244" y="4281"/>
                  </a:lnTo>
                  <a:lnTo>
                    <a:pt x="3239" y="4238"/>
                  </a:lnTo>
                  <a:lnTo>
                    <a:pt x="3218" y="4226"/>
                  </a:lnTo>
                  <a:lnTo>
                    <a:pt x="3218" y="4264"/>
                  </a:lnTo>
                  <a:lnTo>
                    <a:pt x="1281" y="4264"/>
                  </a:lnTo>
                  <a:lnTo>
                    <a:pt x="1276" y="4259"/>
                  </a:lnTo>
                  <a:lnTo>
                    <a:pt x="1259" y="4264"/>
                  </a:lnTo>
                  <a:lnTo>
                    <a:pt x="1248" y="4238"/>
                  </a:lnTo>
                  <a:lnTo>
                    <a:pt x="1264" y="4238"/>
                  </a:lnTo>
                  <a:lnTo>
                    <a:pt x="1276" y="4226"/>
                  </a:lnTo>
                  <a:lnTo>
                    <a:pt x="1264" y="4238"/>
                  </a:lnTo>
                  <a:lnTo>
                    <a:pt x="1248" y="4238"/>
                  </a:lnTo>
                  <a:lnTo>
                    <a:pt x="1243" y="4222"/>
                  </a:lnTo>
                  <a:lnTo>
                    <a:pt x="1248" y="4193"/>
                  </a:lnTo>
                  <a:lnTo>
                    <a:pt x="1226" y="4222"/>
                  </a:lnTo>
                  <a:lnTo>
                    <a:pt x="1226" y="4226"/>
                  </a:lnTo>
                  <a:lnTo>
                    <a:pt x="1205" y="4222"/>
                  </a:lnTo>
                  <a:lnTo>
                    <a:pt x="1189" y="4205"/>
                  </a:lnTo>
                  <a:lnTo>
                    <a:pt x="1193" y="4193"/>
                  </a:lnTo>
                  <a:lnTo>
                    <a:pt x="1210" y="4222"/>
                  </a:lnTo>
                  <a:lnTo>
                    <a:pt x="1210" y="4210"/>
                  </a:lnTo>
                  <a:lnTo>
                    <a:pt x="1226" y="4205"/>
                  </a:lnTo>
                  <a:lnTo>
                    <a:pt x="1210" y="4205"/>
                  </a:lnTo>
                  <a:lnTo>
                    <a:pt x="1193" y="4193"/>
                  </a:lnTo>
                  <a:lnTo>
                    <a:pt x="1205" y="4181"/>
                  </a:lnTo>
                  <a:lnTo>
                    <a:pt x="1193" y="4170"/>
                  </a:lnTo>
                  <a:lnTo>
                    <a:pt x="1210" y="4165"/>
                  </a:lnTo>
                  <a:lnTo>
                    <a:pt x="1205" y="4153"/>
                  </a:lnTo>
                  <a:lnTo>
                    <a:pt x="1193" y="4148"/>
                  </a:lnTo>
                  <a:lnTo>
                    <a:pt x="1205" y="4165"/>
                  </a:lnTo>
                  <a:lnTo>
                    <a:pt x="1193" y="4170"/>
                  </a:lnTo>
                  <a:lnTo>
                    <a:pt x="1193" y="4188"/>
                  </a:lnTo>
                  <a:lnTo>
                    <a:pt x="1189" y="4181"/>
                  </a:lnTo>
                  <a:lnTo>
                    <a:pt x="1189" y="4188"/>
                  </a:lnTo>
                  <a:lnTo>
                    <a:pt x="1167" y="4193"/>
                  </a:lnTo>
                  <a:lnTo>
                    <a:pt x="1134" y="4165"/>
                  </a:lnTo>
                  <a:lnTo>
                    <a:pt x="1139" y="4170"/>
                  </a:lnTo>
                  <a:lnTo>
                    <a:pt x="1151" y="4148"/>
                  </a:lnTo>
                  <a:lnTo>
                    <a:pt x="1139" y="4137"/>
                  </a:lnTo>
                  <a:lnTo>
                    <a:pt x="1172" y="4127"/>
                  </a:lnTo>
                  <a:lnTo>
                    <a:pt x="1134" y="4137"/>
                  </a:lnTo>
                  <a:lnTo>
                    <a:pt x="1118" y="4137"/>
                  </a:lnTo>
                  <a:lnTo>
                    <a:pt x="1118" y="4127"/>
                  </a:lnTo>
                  <a:lnTo>
                    <a:pt x="1134" y="4115"/>
                  </a:lnTo>
                  <a:lnTo>
                    <a:pt x="1134" y="4082"/>
                  </a:lnTo>
                  <a:lnTo>
                    <a:pt x="1125" y="4099"/>
                  </a:lnTo>
                  <a:lnTo>
                    <a:pt x="1134" y="4111"/>
                  </a:lnTo>
                  <a:lnTo>
                    <a:pt x="1118" y="4132"/>
                  </a:lnTo>
                  <a:lnTo>
                    <a:pt x="1087" y="4127"/>
                  </a:lnTo>
                  <a:lnTo>
                    <a:pt x="1096" y="4099"/>
                  </a:lnTo>
                  <a:lnTo>
                    <a:pt x="1070" y="4132"/>
                  </a:lnTo>
                  <a:lnTo>
                    <a:pt x="1063" y="4127"/>
                  </a:lnTo>
                  <a:lnTo>
                    <a:pt x="1033" y="4127"/>
                  </a:lnTo>
                  <a:lnTo>
                    <a:pt x="1042" y="4115"/>
                  </a:lnTo>
                  <a:lnTo>
                    <a:pt x="1033" y="4111"/>
                  </a:lnTo>
                  <a:lnTo>
                    <a:pt x="1080" y="4099"/>
                  </a:lnTo>
                  <a:lnTo>
                    <a:pt x="1087" y="4082"/>
                  </a:lnTo>
                  <a:lnTo>
                    <a:pt x="1080" y="4070"/>
                  </a:lnTo>
                  <a:lnTo>
                    <a:pt x="1080" y="4077"/>
                  </a:lnTo>
                  <a:lnTo>
                    <a:pt x="1070" y="4099"/>
                  </a:lnTo>
                  <a:lnTo>
                    <a:pt x="1042" y="4111"/>
                  </a:lnTo>
                  <a:lnTo>
                    <a:pt x="1049" y="4099"/>
                  </a:lnTo>
                  <a:lnTo>
                    <a:pt x="1042" y="4094"/>
                  </a:lnTo>
                  <a:lnTo>
                    <a:pt x="1011" y="4094"/>
                  </a:lnTo>
                  <a:lnTo>
                    <a:pt x="1042" y="4082"/>
                  </a:lnTo>
                  <a:lnTo>
                    <a:pt x="1004" y="4094"/>
                  </a:lnTo>
                  <a:lnTo>
                    <a:pt x="974" y="4082"/>
                  </a:lnTo>
                  <a:lnTo>
                    <a:pt x="990" y="4094"/>
                  </a:lnTo>
                  <a:lnTo>
                    <a:pt x="978" y="4094"/>
                  </a:lnTo>
                  <a:lnTo>
                    <a:pt x="952" y="4077"/>
                  </a:lnTo>
                  <a:lnTo>
                    <a:pt x="952" y="4070"/>
                  </a:lnTo>
                  <a:lnTo>
                    <a:pt x="995" y="4070"/>
                  </a:lnTo>
                  <a:lnTo>
                    <a:pt x="1004" y="4061"/>
                  </a:lnTo>
                  <a:lnTo>
                    <a:pt x="974" y="4070"/>
                  </a:lnTo>
                  <a:lnTo>
                    <a:pt x="924" y="4061"/>
                  </a:lnTo>
                  <a:lnTo>
                    <a:pt x="924" y="4054"/>
                  </a:lnTo>
                  <a:lnTo>
                    <a:pt x="941" y="4044"/>
                  </a:lnTo>
                  <a:lnTo>
                    <a:pt x="974" y="4044"/>
                  </a:lnTo>
                  <a:lnTo>
                    <a:pt x="974" y="4037"/>
                  </a:lnTo>
                  <a:lnTo>
                    <a:pt x="962" y="4044"/>
                  </a:lnTo>
                  <a:lnTo>
                    <a:pt x="924" y="4044"/>
                  </a:lnTo>
                  <a:lnTo>
                    <a:pt x="941" y="4025"/>
                  </a:lnTo>
                  <a:lnTo>
                    <a:pt x="952" y="4016"/>
                  </a:lnTo>
                  <a:lnTo>
                    <a:pt x="1011" y="4016"/>
                  </a:lnTo>
                  <a:lnTo>
                    <a:pt x="1011" y="4000"/>
                  </a:lnTo>
                  <a:lnTo>
                    <a:pt x="1004" y="4016"/>
                  </a:lnTo>
                  <a:lnTo>
                    <a:pt x="952" y="4016"/>
                  </a:lnTo>
                  <a:lnTo>
                    <a:pt x="957" y="4000"/>
                  </a:lnTo>
                  <a:lnTo>
                    <a:pt x="941" y="4004"/>
                  </a:lnTo>
                  <a:lnTo>
                    <a:pt x="941" y="4021"/>
                  </a:lnTo>
                  <a:lnTo>
                    <a:pt x="936" y="4025"/>
                  </a:lnTo>
                  <a:lnTo>
                    <a:pt x="919" y="4016"/>
                  </a:lnTo>
                  <a:lnTo>
                    <a:pt x="924" y="3988"/>
                  </a:lnTo>
                  <a:lnTo>
                    <a:pt x="936" y="3983"/>
                  </a:lnTo>
                  <a:lnTo>
                    <a:pt x="941" y="3966"/>
                  </a:lnTo>
                  <a:lnTo>
                    <a:pt x="952" y="3971"/>
                  </a:lnTo>
                  <a:lnTo>
                    <a:pt x="941" y="3971"/>
                  </a:lnTo>
                  <a:lnTo>
                    <a:pt x="974" y="3950"/>
                  </a:lnTo>
                  <a:lnTo>
                    <a:pt x="978" y="3950"/>
                  </a:lnTo>
                  <a:lnTo>
                    <a:pt x="1004" y="3983"/>
                  </a:lnTo>
                  <a:lnTo>
                    <a:pt x="990" y="3950"/>
                  </a:lnTo>
                  <a:lnTo>
                    <a:pt x="1004" y="3943"/>
                  </a:lnTo>
                  <a:lnTo>
                    <a:pt x="974" y="3943"/>
                  </a:lnTo>
                  <a:lnTo>
                    <a:pt x="962" y="3933"/>
                  </a:lnTo>
                  <a:lnTo>
                    <a:pt x="990" y="3910"/>
                  </a:lnTo>
                  <a:lnTo>
                    <a:pt x="978" y="3905"/>
                  </a:lnTo>
                  <a:lnTo>
                    <a:pt x="978" y="3917"/>
                  </a:lnTo>
                  <a:lnTo>
                    <a:pt x="941" y="3950"/>
                  </a:lnTo>
                  <a:lnTo>
                    <a:pt x="924" y="3959"/>
                  </a:lnTo>
                  <a:lnTo>
                    <a:pt x="919" y="3933"/>
                  </a:lnTo>
                  <a:lnTo>
                    <a:pt x="908" y="3950"/>
                  </a:lnTo>
                  <a:lnTo>
                    <a:pt x="908" y="3933"/>
                  </a:lnTo>
                  <a:lnTo>
                    <a:pt x="919" y="3926"/>
                  </a:lnTo>
                  <a:lnTo>
                    <a:pt x="903" y="3933"/>
                  </a:lnTo>
                  <a:lnTo>
                    <a:pt x="898" y="3959"/>
                  </a:lnTo>
                  <a:lnTo>
                    <a:pt x="886" y="3950"/>
                  </a:lnTo>
                  <a:lnTo>
                    <a:pt x="898" y="3933"/>
                  </a:lnTo>
                  <a:lnTo>
                    <a:pt x="903" y="3893"/>
                  </a:lnTo>
                  <a:lnTo>
                    <a:pt x="882" y="3905"/>
                  </a:lnTo>
                  <a:lnTo>
                    <a:pt x="870" y="3872"/>
                  </a:lnTo>
                  <a:lnTo>
                    <a:pt x="853" y="3855"/>
                  </a:lnTo>
                  <a:lnTo>
                    <a:pt x="848" y="3832"/>
                  </a:lnTo>
                  <a:lnTo>
                    <a:pt x="853" y="3832"/>
                  </a:lnTo>
                  <a:lnTo>
                    <a:pt x="882" y="3848"/>
                  </a:lnTo>
                  <a:lnTo>
                    <a:pt x="903" y="3839"/>
                  </a:lnTo>
                  <a:lnTo>
                    <a:pt x="924" y="3860"/>
                  </a:lnTo>
                  <a:lnTo>
                    <a:pt x="903" y="3839"/>
                  </a:lnTo>
                  <a:lnTo>
                    <a:pt x="870" y="3839"/>
                  </a:lnTo>
                  <a:lnTo>
                    <a:pt x="853" y="3822"/>
                  </a:lnTo>
                  <a:lnTo>
                    <a:pt x="853" y="3806"/>
                  </a:lnTo>
                  <a:lnTo>
                    <a:pt x="882" y="3799"/>
                  </a:lnTo>
                  <a:lnTo>
                    <a:pt x="865" y="3794"/>
                  </a:lnTo>
                  <a:lnTo>
                    <a:pt x="870" y="3782"/>
                  </a:lnTo>
                  <a:lnTo>
                    <a:pt x="827" y="3822"/>
                  </a:lnTo>
                  <a:lnTo>
                    <a:pt x="827" y="3848"/>
                  </a:lnTo>
                  <a:lnTo>
                    <a:pt x="773" y="3799"/>
                  </a:lnTo>
                  <a:lnTo>
                    <a:pt x="773" y="3766"/>
                  </a:lnTo>
                  <a:lnTo>
                    <a:pt x="811" y="3761"/>
                  </a:lnTo>
                  <a:lnTo>
                    <a:pt x="763" y="3766"/>
                  </a:lnTo>
                  <a:lnTo>
                    <a:pt x="756" y="3749"/>
                  </a:lnTo>
                  <a:lnTo>
                    <a:pt x="740" y="3749"/>
                  </a:lnTo>
                  <a:lnTo>
                    <a:pt x="740" y="3721"/>
                  </a:lnTo>
                  <a:lnTo>
                    <a:pt x="778" y="3749"/>
                  </a:lnTo>
                  <a:lnTo>
                    <a:pt x="747" y="3721"/>
                  </a:lnTo>
                  <a:lnTo>
                    <a:pt x="763" y="3711"/>
                  </a:lnTo>
                  <a:lnTo>
                    <a:pt x="778" y="3728"/>
                  </a:lnTo>
                  <a:lnTo>
                    <a:pt x="756" y="3711"/>
                  </a:lnTo>
                  <a:lnTo>
                    <a:pt x="763" y="3704"/>
                  </a:lnTo>
                  <a:lnTo>
                    <a:pt x="773" y="3688"/>
                  </a:lnTo>
                  <a:lnTo>
                    <a:pt x="801" y="3688"/>
                  </a:lnTo>
                  <a:lnTo>
                    <a:pt x="773" y="3683"/>
                  </a:lnTo>
                  <a:lnTo>
                    <a:pt x="794" y="3638"/>
                  </a:lnTo>
                  <a:lnTo>
                    <a:pt x="811" y="3638"/>
                  </a:lnTo>
                  <a:lnTo>
                    <a:pt x="794" y="3638"/>
                  </a:lnTo>
                  <a:lnTo>
                    <a:pt x="789" y="3633"/>
                  </a:lnTo>
                  <a:lnTo>
                    <a:pt x="789" y="3655"/>
                  </a:lnTo>
                  <a:lnTo>
                    <a:pt x="763" y="3688"/>
                  </a:lnTo>
                  <a:lnTo>
                    <a:pt x="763" y="3683"/>
                  </a:lnTo>
                  <a:lnTo>
                    <a:pt x="778" y="3655"/>
                  </a:lnTo>
                  <a:lnTo>
                    <a:pt x="763" y="3617"/>
                  </a:lnTo>
                  <a:lnTo>
                    <a:pt x="773" y="3593"/>
                  </a:lnTo>
                  <a:lnTo>
                    <a:pt x="763" y="3572"/>
                  </a:lnTo>
                  <a:lnTo>
                    <a:pt x="747" y="3572"/>
                  </a:lnTo>
                  <a:lnTo>
                    <a:pt x="719" y="3544"/>
                  </a:lnTo>
                  <a:lnTo>
                    <a:pt x="664" y="3522"/>
                  </a:lnTo>
                  <a:lnTo>
                    <a:pt x="650" y="3522"/>
                  </a:lnTo>
                  <a:lnTo>
                    <a:pt x="638" y="3506"/>
                  </a:lnTo>
                  <a:lnTo>
                    <a:pt x="626" y="3499"/>
                  </a:lnTo>
                  <a:lnTo>
                    <a:pt x="633" y="3482"/>
                  </a:lnTo>
                  <a:lnTo>
                    <a:pt x="612" y="3473"/>
                  </a:lnTo>
                  <a:lnTo>
                    <a:pt x="617" y="3461"/>
                  </a:lnTo>
                  <a:lnTo>
                    <a:pt x="541" y="3350"/>
                  </a:lnTo>
                  <a:lnTo>
                    <a:pt x="530" y="3333"/>
                  </a:lnTo>
                  <a:lnTo>
                    <a:pt x="504" y="3300"/>
                  </a:lnTo>
                  <a:lnTo>
                    <a:pt x="475" y="3296"/>
                  </a:lnTo>
                  <a:lnTo>
                    <a:pt x="466" y="3263"/>
                  </a:lnTo>
                  <a:lnTo>
                    <a:pt x="423" y="3246"/>
                  </a:lnTo>
                  <a:lnTo>
                    <a:pt x="416" y="3227"/>
                  </a:lnTo>
                  <a:lnTo>
                    <a:pt x="423" y="3211"/>
                  </a:lnTo>
                  <a:lnTo>
                    <a:pt x="385" y="3189"/>
                  </a:lnTo>
                  <a:lnTo>
                    <a:pt x="324" y="3211"/>
                  </a:lnTo>
                  <a:lnTo>
                    <a:pt x="331" y="3222"/>
                  </a:lnTo>
                  <a:lnTo>
                    <a:pt x="315" y="3222"/>
                  </a:lnTo>
                  <a:lnTo>
                    <a:pt x="315" y="3246"/>
                  </a:lnTo>
                  <a:lnTo>
                    <a:pt x="310" y="3251"/>
                  </a:lnTo>
                  <a:lnTo>
                    <a:pt x="293" y="3251"/>
                  </a:lnTo>
                  <a:lnTo>
                    <a:pt x="251" y="3284"/>
                  </a:lnTo>
                  <a:lnTo>
                    <a:pt x="239" y="3246"/>
                  </a:lnTo>
                  <a:lnTo>
                    <a:pt x="168" y="3189"/>
                  </a:lnTo>
                  <a:lnTo>
                    <a:pt x="163" y="3173"/>
                  </a:lnTo>
                  <a:lnTo>
                    <a:pt x="130" y="3156"/>
                  </a:lnTo>
                  <a:lnTo>
                    <a:pt x="142" y="3123"/>
                  </a:lnTo>
                  <a:lnTo>
                    <a:pt x="93" y="3135"/>
                  </a:lnTo>
                  <a:lnTo>
                    <a:pt x="71" y="3151"/>
                  </a:lnTo>
                  <a:lnTo>
                    <a:pt x="38" y="3135"/>
                  </a:lnTo>
                  <a:lnTo>
                    <a:pt x="38" y="3140"/>
                  </a:lnTo>
                  <a:lnTo>
                    <a:pt x="0" y="3135"/>
                  </a:lnTo>
                  <a:lnTo>
                    <a:pt x="0" y="2041"/>
                  </a:lnTo>
                  <a:lnTo>
                    <a:pt x="130" y="2058"/>
                  </a:lnTo>
                  <a:lnTo>
                    <a:pt x="168" y="2086"/>
                  </a:lnTo>
                  <a:lnTo>
                    <a:pt x="260" y="2124"/>
                  </a:lnTo>
                  <a:lnTo>
                    <a:pt x="348" y="2136"/>
                  </a:lnTo>
                  <a:lnTo>
                    <a:pt x="395" y="2157"/>
                  </a:lnTo>
                  <a:lnTo>
                    <a:pt x="411" y="2157"/>
                  </a:lnTo>
                  <a:lnTo>
                    <a:pt x="385" y="2140"/>
                  </a:lnTo>
                  <a:lnTo>
                    <a:pt x="400" y="2140"/>
                  </a:lnTo>
                  <a:lnTo>
                    <a:pt x="378" y="2136"/>
                  </a:lnTo>
                  <a:lnTo>
                    <a:pt x="433" y="2124"/>
                  </a:lnTo>
                  <a:lnTo>
                    <a:pt x="471" y="2157"/>
                  </a:lnTo>
                  <a:lnTo>
                    <a:pt x="475" y="2157"/>
                  </a:lnTo>
                  <a:lnTo>
                    <a:pt x="449" y="2119"/>
                  </a:lnTo>
                  <a:lnTo>
                    <a:pt x="454" y="2115"/>
                  </a:lnTo>
                  <a:lnTo>
                    <a:pt x="520" y="2070"/>
                  </a:lnTo>
                  <a:lnTo>
                    <a:pt x="558" y="2065"/>
                  </a:lnTo>
                  <a:lnTo>
                    <a:pt x="574" y="2041"/>
                  </a:lnTo>
                  <a:lnTo>
                    <a:pt x="600" y="2041"/>
                  </a:lnTo>
                  <a:lnTo>
                    <a:pt x="612" y="2029"/>
                  </a:lnTo>
                  <a:lnTo>
                    <a:pt x="596" y="2029"/>
                  </a:lnTo>
                  <a:lnTo>
                    <a:pt x="600" y="2025"/>
                  </a:lnTo>
                  <a:lnTo>
                    <a:pt x="626" y="2029"/>
                  </a:lnTo>
                  <a:lnTo>
                    <a:pt x="671" y="2003"/>
                  </a:lnTo>
                  <a:lnTo>
                    <a:pt x="688" y="2003"/>
                  </a:lnTo>
                  <a:lnTo>
                    <a:pt x="688" y="2013"/>
                  </a:lnTo>
                  <a:lnTo>
                    <a:pt x="709" y="1987"/>
                  </a:lnTo>
                  <a:lnTo>
                    <a:pt x="735" y="1970"/>
                  </a:lnTo>
                  <a:lnTo>
                    <a:pt x="740" y="1970"/>
                  </a:lnTo>
                  <a:lnTo>
                    <a:pt x="740" y="1975"/>
                  </a:lnTo>
                  <a:lnTo>
                    <a:pt x="773" y="1987"/>
                  </a:lnTo>
                  <a:lnTo>
                    <a:pt x="794" y="1959"/>
                  </a:lnTo>
                  <a:lnTo>
                    <a:pt x="815" y="1975"/>
                  </a:lnTo>
                  <a:lnTo>
                    <a:pt x="811" y="1992"/>
                  </a:lnTo>
                  <a:lnTo>
                    <a:pt x="740" y="2025"/>
                  </a:lnTo>
                  <a:lnTo>
                    <a:pt x="709" y="2048"/>
                  </a:lnTo>
                  <a:lnTo>
                    <a:pt x="702" y="2041"/>
                  </a:lnTo>
                  <a:lnTo>
                    <a:pt x="633" y="2058"/>
                  </a:lnTo>
                  <a:lnTo>
                    <a:pt x="626" y="2065"/>
                  </a:lnTo>
                  <a:lnTo>
                    <a:pt x="626" y="2070"/>
                  </a:lnTo>
                  <a:lnTo>
                    <a:pt x="579" y="2086"/>
                  </a:lnTo>
                  <a:lnTo>
                    <a:pt x="574" y="2115"/>
                  </a:lnTo>
                  <a:lnTo>
                    <a:pt x="546" y="2119"/>
                  </a:lnTo>
                  <a:lnTo>
                    <a:pt x="546" y="2124"/>
                  </a:lnTo>
                  <a:lnTo>
                    <a:pt x="525" y="2140"/>
                  </a:lnTo>
                  <a:lnTo>
                    <a:pt x="574" y="2157"/>
                  </a:lnTo>
                  <a:lnTo>
                    <a:pt x="541" y="2140"/>
                  </a:lnTo>
                  <a:lnTo>
                    <a:pt x="600" y="2140"/>
                  </a:lnTo>
                  <a:lnTo>
                    <a:pt x="600" y="2136"/>
                  </a:lnTo>
                  <a:lnTo>
                    <a:pt x="596" y="2136"/>
                  </a:lnTo>
                  <a:lnTo>
                    <a:pt x="579" y="2136"/>
                  </a:lnTo>
                  <a:lnTo>
                    <a:pt x="574" y="2115"/>
                  </a:lnTo>
                  <a:lnTo>
                    <a:pt x="600" y="2103"/>
                  </a:lnTo>
                  <a:lnTo>
                    <a:pt x="612" y="2086"/>
                  </a:lnTo>
                  <a:lnTo>
                    <a:pt x="617" y="2103"/>
                  </a:lnTo>
                  <a:lnTo>
                    <a:pt x="655" y="2070"/>
                  </a:lnTo>
                  <a:lnTo>
                    <a:pt x="633" y="2070"/>
                  </a:lnTo>
                  <a:lnTo>
                    <a:pt x="655" y="2065"/>
                  </a:lnTo>
                  <a:lnTo>
                    <a:pt x="671" y="2065"/>
                  </a:lnTo>
                  <a:lnTo>
                    <a:pt x="664" y="2081"/>
                  </a:lnTo>
                  <a:lnTo>
                    <a:pt x="688" y="2058"/>
                  </a:lnTo>
                  <a:lnTo>
                    <a:pt x="688" y="2070"/>
                  </a:lnTo>
                  <a:lnTo>
                    <a:pt x="671" y="2081"/>
                  </a:lnTo>
                  <a:lnTo>
                    <a:pt x="681" y="2081"/>
                  </a:lnTo>
                  <a:lnTo>
                    <a:pt x="693" y="2070"/>
                  </a:lnTo>
                  <a:lnTo>
                    <a:pt x="688" y="2048"/>
                  </a:lnTo>
                  <a:lnTo>
                    <a:pt x="693" y="2058"/>
                  </a:lnTo>
                  <a:lnTo>
                    <a:pt x="693" y="2070"/>
                  </a:lnTo>
                  <a:lnTo>
                    <a:pt x="702" y="2065"/>
                  </a:lnTo>
                  <a:lnTo>
                    <a:pt x="688" y="2048"/>
                  </a:lnTo>
                  <a:lnTo>
                    <a:pt x="693" y="2041"/>
                  </a:lnTo>
                  <a:lnTo>
                    <a:pt x="702" y="2065"/>
                  </a:lnTo>
                  <a:lnTo>
                    <a:pt x="693" y="2081"/>
                  </a:lnTo>
                  <a:lnTo>
                    <a:pt x="709" y="2058"/>
                  </a:lnTo>
                  <a:lnTo>
                    <a:pt x="702" y="2081"/>
                  </a:lnTo>
                  <a:lnTo>
                    <a:pt x="709" y="2070"/>
                  </a:lnTo>
                  <a:lnTo>
                    <a:pt x="702" y="2098"/>
                  </a:lnTo>
                  <a:lnTo>
                    <a:pt x="709" y="2103"/>
                  </a:lnTo>
                  <a:lnTo>
                    <a:pt x="709" y="2086"/>
                  </a:lnTo>
                  <a:lnTo>
                    <a:pt x="747" y="2029"/>
                  </a:lnTo>
                  <a:lnTo>
                    <a:pt x="832" y="2008"/>
                  </a:lnTo>
                  <a:lnTo>
                    <a:pt x="848" y="2003"/>
                  </a:lnTo>
                  <a:lnTo>
                    <a:pt x="848" y="2013"/>
                  </a:lnTo>
                  <a:lnTo>
                    <a:pt x="832" y="2013"/>
                  </a:lnTo>
                  <a:lnTo>
                    <a:pt x="832" y="2029"/>
                  </a:lnTo>
                  <a:lnTo>
                    <a:pt x="848" y="2029"/>
                  </a:lnTo>
                  <a:lnTo>
                    <a:pt x="886" y="2003"/>
                  </a:lnTo>
                  <a:lnTo>
                    <a:pt x="886" y="1975"/>
                  </a:lnTo>
                  <a:lnTo>
                    <a:pt x="952" y="1959"/>
                  </a:lnTo>
                  <a:lnTo>
                    <a:pt x="908" y="1954"/>
                  </a:lnTo>
                  <a:lnTo>
                    <a:pt x="919" y="1947"/>
                  </a:lnTo>
                  <a:lnTo>
                    <a:pt x="903" y="1947"/>
                  </a:lnTo>
                  <a:lnTo>
                    <a:pt x="908" y="1914"/>
                  </a:lnTo>
                  <a:lnTo>
                    <a:pt x="974" y="1959"/>
                  </a:lnTo>
                  <a:lnTo>
                    <a:pt x="1004" y="2025"/>
                  </a:lnTo>
                  <a:lnTo>
                    <a:pt x="1033" y="2058"/>
                  </a:lnTo>
                  <a:lnTo>
                    <a:pt x="1096" y="2081"/>
                  </a:lnTo>
                  <a:lnTo>
                    <a:pt x="1096" y="2070"/>
                  </a:lnTo>
                  <a:lnTo>
                    <a:pt x="1118" y="2065"/>
                  </a:lnTo>
                  <a:lnTo>
                    <a:pt x="1080" y="2065"/>
                  </a:lnTo>
                  <a:lnTo>
                    <a:pt x="1087" y="2058"/>
                  </a:lnTo>
                  <a:lnTo>
                    <a:pt x="1118" y="2058"/>
                  </a:lnTo>
                  <a:lnTo>
                    <a:pt x="1096" y="2041"/>
                  </a:lnTo>
                  <a:lnTo>
                    <a:pt x="1096" y="2029"/>
                  </a:lnTo>
                  <a:lnTo>
                    <a:pt x="1118" y="2025"/>
                  </a:lnTo>
                  <a:lnTo>
                    <a:pt x="1125" y="2041"/>
                  </a:lnTo>
                  <a:lnTo>
                    <a:pt x="1134" y="2029"/>
                  </a:lnTo>
                  <a:lnTo>
                    <a:pt x="1101" y="2013"/>
                  </a:lnTo>
                  <a:lnTo>
                    <a:pt x="1118" y="2013"/>
                  </a:lnTo>
                  <a:lnTo>
                    <a:pt x="1134" y="1992"/>
                  </a:lnTo>
                  <a:lnTo>
                    <a:pt x="1113" y="2003"/>
                  </a:lnTo>
                  <a:lnTo>
                    <a:pt x="1113" y="1992"/>
                  </a:lnTo>
                  <a:lnTo>
                    <a:pt x="1125" y="1987"/>
                  </a:lnTo>
                  <a:lnTo>
                    <a:pt x="1118" y="1992"/>
                  </a:lnTo>
                  <a:lnTo>
                    <a:pt x="1151" y="1987"/>
                  </a:lnTo>
                  <a:lnTo>
                    <a:pt x="1156" y="1992"/>
                  </a:lnTo>
                  <a:lnTo>
                    <a:pt x="1167" y="1987"/>
                  </a:lnTo>
                  <a:lnTo>
                    <a:pt x="1139" y="1975"/>
                  </a:lnTo>
                  <a:lnTo>
                    <a:pt x="1167" y="1975"/>
                  </a:lnTo>
                  <a:lnTo>
                    <a:pt x="1167" y="1987"/>
                  </a:lnTo>
                  <a:lnTo>
                    <a:pt x="1156" y="2025"/>
                  </a:lnTo>
                  <a:lnTo>
                    <a:pt x="1189" y="2029"/>
                  </a:lnTo>
                  <a:lnTo>
                    <a:pt x="1156" y="2070"/>
                  </a:lnTo>
                  <a:lnTo>
                    <a:pt x="1167" y="2070"/>
                  </a:lnTo>
                  <a:lnTo>
                    <a:pt x="1231" y="2070"/>
                  </a:lnTo>
                  <a:lnTo>
                    <a:pt x="1231" y="2058"/>
                  </a:lnTo>
                  <a:lnTo>
                    <a:pt x="1248" y="2058"/>
                  </a:lnTo>
                  <a:lnTo>
                    <a:pt x="1259" y="2025"/>
                  </a:lnTo>
                  <a:lnTo>
                    <a:pt x="1264" y="2013"/>
                  </a:lnTo>
                  <a:lnTo>
                    <a:pt x="1356" y="2013"/>
                  </a:lnTo>
                  <a:lnTo>
                    <a:pt x="1420" y="2041"/>
                  </a:lnTo>
                  <a:lnTo>
                    <a:pt x="1458" y="2070"/>
                  </a:lnTo>
                  <a:lnTo>
                    <a:pt x="1555" y="2086"/>
                  </a:lnTo>
                  <a:lnTo>
                    <a:pt x="1609" y="2119"/>
                  </a:lnTo>
                  <a:lnTo>
                    <a:pt x="1675" y="2136"/>
                  </a:lnTo>
                  <a:lnTo>
                    <a:pt x="1760" y="2140"/>
                  </a:lnTo>
                  <a:lnTo>
                    <a:pt x="1730" y="2124"/>
                  </a:lnTo>
                  <a:lnTo>
                    <a:pt x="1782" y="2124"/>
                  </a:lnTo>
                  <a:lnTo>
                    <a:pt x="1869" y="2157"/>
                  </a:lnTo>
                  <a:lnTo>
                    <a:pt x="1890" y="2181"/>
                  </a:lnTo>
                  <a:lnTo>
                    <a:pt x="1890" y="2214"/>
                  </a:lnTo>
                  <a:lnTo>
                    <a:pt x="1803" y="2226"/>
                  </a:lnTo>
                  <a:lnTo>
                    <a:pt x="1803" y="2235"/>
                  </a:lnTo>
                  <a:lnTo>
                    <a:pt x="1819" y="2247"/>
                  </a:lnTo>
                  <a:lnTo>
                    <a:pt x="1789" y="2252"/>
                  </a:lnTo>
                  <a:lnTo>
                    <a:pt x="1819" y="2268"/>
                  </a:lnTo>
                  <a:lnTo>
                    <a:pt x="2004" y="2285"/>
                  </a:lnTo>
                  <a:lnTo>
                    <a:pt x="2091" y="2263"/>
                  </a:lnTo>
                  <a:lnTo>
                    <a:pt x="2105" y="2280"/>
                  </a:lnTo>
                  <a:lnTo>
                    <a:pt x="2167" y="2247"/>
                  </a:lnTo>
                  <a:lnTo>
                    <a:pt x="2176" y="2252"/>
                  </a:lnTo>
                  <a:lnTo>
                    <a:pt x="2176" y="2263"/>
                  </a:lnTo>
                  <a:lnTo>
                    <a:pt x="2193" y="2263"/>
                  </a:lnTo>
                  <a:lnTo>
                    <a:pt x="2193" y="2280"/>
                  </a:lnTo>
                  <a:lnTo>
                    <a:pt x="2235" y="2280"/>
                  </a:lnTo>
                  <a:lnTo>
                    <a:pt x="2252" y="2303"/>
                  </a:lnTo>
                  <a:lnTo>
                    <a:pt x="2247" y="2308"/>
                  </a:lnTo>
                  <a:lnTo>
                    <a:pt x="2263" y="2325"/>
                  </a:lnTo>
                  <a:lnTo>
                    <a:pt x="2263" y="2292"/>
                  </a:lnTo>
                  <a:lnTo>
                    <a:pt x="2268" y="2292"/>
                  </a:lnTo>
                  <a:lnTo>
                    <a:pt x="2285" y="2325"/>
                  </a:lnTo>
                  <a:lnTo>
                    <a:pt x="2289" y="2320"/>
                  </a:lnTo>
                  <a:lnTo>
                    <a:pt x="2318" y="2337"/>
                  </a:lnTo>
                  <a:lnTo>
                    <a:pt x="2322" y="2363"/>
                  </a:lnTo>
                  <a:lnTo>
                    <a:pt x="2301" y="2363"/>
                  </a:lnTo>
                  <a:lnTo>
                    <a:pt x="2268" y="2346"/>
                  </a:lnTo>
                  <a:lnTo>
                    <a:pt x="2273" y="2363"/>
                  </a:lnTo>
                  <a:lnTo>
                    <a:pt x="2306" y="2374"/>
                  </a:lnTo>
                  <a:lnTo>
                    <a:pt x="2322" y="2412"/>
                  </a:lnTo>
                  <a:lnTo>
                    <a:pt x="2322" y="2396"/>
                  </a:lnTo>
                  <a:lnTo>
                    <a:pt x="2370" y="2448"/>
                  </a:lnTo>
                  <a:lnTo>
                    <a:pt x="2344" y="2412"/>
                  </a:lnTo>
                  <a:lnTo>
                    <a:pt x="2327" y="2379"/>
                  </a:lnTo>
                  <a:lnTo>
                    <a:pt x="2339" y="2358"/>
                  </a:lnTo>
                  <a:lnTo>
                    <a:pt x="2356" y="2374"/>
                  </a:lnTo>
                  <a:lnTo>
                    <a:pt x="2339" y="2374"/>
                  </a:lnTo>
                  <a:lnTo>
                    <a:pt x="2344" y="2391"/>
                  </a:lnTo>
                  <a:lnTo>
                    <a:pt x="2360" y="2391"/>
                  </a:lnTo>
                  <a:lnTo>
                    <a:pt x="2356" y="2374"/>
                  </a:lnTo>
                  <a:lnTo>
                    <a:pt x="2381" y="2391"/>
                  </a:lnTo>
                  <a:lnTo>
                    <a:pt x="2360" y="2363"/>
                  </a:lnTo>
                  <a:lnTo>
                    <a:pt x="2360" y="2346"/>
                  </a:lnTo>
                  <a:lnTo>
                    <a:pt x="2356" y="2341"/>
                  </a:lnTo>
                  <a:lnTo>
                    <a:pt x="2339" y="2325"/>
                  </a:lnTo>
                  <a:lnTo>
                    <a:pt x="2344" y="2308"/>
                  </a:lnTo>
                  <a:lnTo>
                    <a:pt x="2318" y="2280"/>
                  </a:lnTo>
                  <a:lnTo>
                    <a:pt x="2322" y="2263"/>
                  </a:lnTo>
                  <a:lnTo>
                    <a:pt x="2339" y="2252"/>
                  </a:lnTo>
                  <a:lnTo>
                    <a:pt x="2322" y="2247"/>
                  </a:lnTo>
                  <a:lnTo>
                    <a:pt x="2322" y="2235"/>
                  </a:lnTo>
                  <a:lnTo>
                    <a:pt x="2339" y="2235"/>
                  </a:lnTo>
                  <a:lnTo>
                    <a:pt x="2327" y="2235"/>
                  </a:lnTo>
                  <a:lnTo>
                    <a:pt x="2327" y="2247"/>
                  </a:lnTo>
                  <a:lnTo>
                    <a:pt x="2360" y="2235"/>
                  </a:lnTo>
                  <a:lnTo>
                    <a:pt x="2398" y="2230"/>
                  </a:lnTo>
                  <a:lnTo>
                    <a:pt x="2398" y="2226"/>
                  </a:lnTo>
                  <a:lnTo>
                    <a:pt x="2415" y="2214"/>
                  </a:lnTo>
                  <a:lnTo>
                    <a:pt x="2424" y="2230"/>
                  </a:lnTo>
                  <a:lnTo>
                    <a:pt x="2431" y="2226"/>
                  </a:lnTo>
                  <a:lnTo>
                    <a:pt x="2424" y="2214"/>
                  </a:lnTo>
                  <a:lnTo>
                    <a:pt x="2424" y="2209"/>
                  </a:lnTo>
                  <a:lnTo>
                    <a:pt x="2478" y="2192"/>
                  </a:lnTo>
                  <a:lnTo>
                    <a:pt x="2478" y="2176"/>
                  </a:lnTo>
                  <a:lnTo>
                    <a:pt x="2483" y="2169"/>
                  </a:lnTo>
                  <a:lnTo>
                    <a:pt x="2415" y="2181"/>
                  </a:lnTo>
                  <a:lnTo>
                    <a:pt x="2415" y="2192"/>
                  </a:lnTo>
                  <a:lnTo>
                    <a:pt x="2424" y="2197"/>
                  </a:lnTo>
                  <a:lnTo>
                    <a:pt x="2415" y="2209"/>
                  </a:lnTo>
                  <a:lnTo>
                    <a:pt x="2398" y="2192"/>
                  </a:lnTo>
                  <a:lnTo>
                    <a:pt x="2370" y="2214"/>
                  </a:lnTo>
                  <a:lnTo>
                    <a:pt x="2344" y="2197"/>
                  </a:lnTo>
                  <a:lnTo>
                    <a:pt x="2327" y="2209"/>
                  </a:lnTo>
                  <a:lnTo>
                    <a:pt x="2322" y="2214"/>
                  </a:lnTo>
                  <a:lnTo>
                    <a:pt x="2344" y="2226"/>
                  </a:lnTo>
                  <a:lnTo>
                    <a:pt x="2289" y="2230"/>
                  </a:lnTo>
                  <a:lnTo>
                    <a:pt x="2285" y="2226"/>
                  </a:lnTo>
                  <a:lnTo>
                    <a:pt x="2289" y="2226"/>
                  </a:lnTo>
                  <a:lnTo>
                    <a:pt x="2289" y="2209"/>
                  </a:lnTo>
                  <a:lnTo>
                    <a:pt x="2263" y="2214"/>
                  </a:lnTo>
                  <a:lnTo>
                    <a:pt x="2289" y="2169"/>
                  </a:lnTo>
                  <a:lnTo>
                    <a:pt x="2370" y="2157"/>
                  </a:lnTo>
                  <a:lnTo>
                    <a:pt x="2436" y="2124"/>
                  </a:lnTo>
                  <a:lnTo>
                    <a:pt x="2469" y="2136"/>
                  </a:lnTo>
                  <a:lnTo>
                    <a:pt x="2490" y="2152"/>
                  </a:lnTo>
                  <a:lnTo>
                    <a:pt x="2490" y="2169"/>
                  </a:lnTo>
                  <a:lnTo>
                    <a:pt x="2500" y="2181"/>
                  </a:lnTo>
                  <a:lnTo>
                    <a:pt x="2483" y="2192"/>
                  </a:lnTo>
                  <a:lnTo>
                    <a:pt x="2521" y="2214"/>
                  </a:lnTo>
                  <a:lnTo>
                    <a:pt x="2537" y="2209"/>
                  </a:lnTo>
                  <a:lnTo>
                    <a:pt x="2533" y="2214"/>
                  </a:lnTo>
                  <a:lnTo>
                    <a:pt x="2554" y="2214"/>
                  </a:lnTo>
                  <a:lnTo>
                    <a:pt x="2542" y="2230"/>
                  </a:lnTo>
                  <a:lnTo>
                    <a:pt x="2559" y="2235"/>
                  </a:lnTo>
                  <a:lnTo>
                    <a:pt x="2613" y="2235"/>
                  </a:lnTo>
                  <a:lnTo>
                    <a:pt x="2641" y="2226"/>
                  </a:lnTo>
                  <a:lnTo>
                    <a:pt x="2646" y="2230"/>
                  </a:lnTo>
                  <a:lnTo>
                    <a:pt x="2641" y="2247"/>
                  </a:lnTo>
                  <a:lnTo>
                    <a:pt x="2717" y="2280"/>
                  </a:lnTo>
                  <a:lnTo>
                    <a:pt x="2738" y="2280"/>
                  </a:lnTo>
                  <a:lnTo>
                    <a:pt x="2769" y="2285"/>
                  </a:lnTo>
                  <a:lnTo>
                    <a:pt x="2844" y="2263"/>
                  </a:lnTo>
                  <a:lnTo>
                    <a:pt x="2911" y="2268"/>
                  </a:lnTo>
                  <a:lnTo>
                    <a:pt x="2932" y="2280"/>
                  </a:lnTo>
                  <a:lnTo>
                    <a:pt x="2991" y="2268"/>
                  </a:lnTo>
                  <a:lnTo>
                    <a:pt x="2965" y="2252"/>
                  </a:lnTo>
                  <a:lnTo>
                    <a:pt x="2965" y="2235"/>
                  </a:lnTo>
                  <a:lnTo>
                    <a:pt x="2970" y="2235"/>
                  </a:lnTo>
                  <a:lnTo>
                    <a:pt x="3007" y="2280"/>
                  </a:lnTo>
                  <a:lnTo>
                    <a:pt x="3057" y="2292"/>
                  </a:lnTo>
                  <a:lnTo>
                    <a:pt x="3078" y="2285"/>
                  </a:lnTo>
                  <a:lnTo>
                    <a:pt x="3078" y="2268"/>
                  </a:lnTo>
                  <a:lnTo>
                    <a:pt x="3071" y="2252"/>
                  </a:lnTo>
                  <a:lnTo>
                    <a:pt x="3062" y="2263"/>
                  </a:lnTo>
                  <a:lnTo>
                    <a:pt x="3041" y="2247"/>
                  </a:lnTo>
                  <a:lnTo>
                    <a:pt x="3019" y="2252"/>
                  </a:lnTo>
                  <a:lnTo>
                    <a:pt x="3007" y="2263"/>
                  </a:lnTo>
                  <a:lnTo>
                    <a:pt x="2974" y="2230"/>
                  </a:lnTo>
                  <a:lnTo>
                    <a:pt x="2986" y="2226"/>
                  </a:lnTo>
                  <a:lnTo>
                    <a:pt x="2991" y="2235"/>
                  </a:lnTo>
                  <a:lnTo>
                    <a:pt x="2991" y="2226"/>
                  </a:lnTo>
                  <a:lnTo>
                    <a:pt x="2970" y="2197"/>
                  </a:lnTo>
                  <a:lnTo>
                    <a:pt x="2974" y="2209"/>
                  </a:lnTo>
                  <a:lnTo>
                    <a:pt x="2986" y="2192"/>
                  </a:lnTo>
                  <a:lnTo>
                    <a:pt x="3003" y="2209"/>
                  </a:lnTo>
                  <a:lnTo>
                    <a:pt x="3029" y="2197"/>
                  </a:lnTo>
                  <a:lnTo>
                    <a:pt x="3019" y="2181"/>
                  </a:lnTo>
                  <a:lnTo>
                    <a:pt x="3024" y="2176"/>
                  </a:lnTo>
                  <a:lnTo>
                    <a:pt x="3045" y="2192"/>
                  </a:lnTo>
                  <a:lnTo>
                    <a:pt x="3071" y="2192"/>
                  </a:lnTo>
                  <a:lnTo>
                    <a:pt x="3083" y="2197"/>
                  </a:lnTo>
                  <a:lnTo>
                    <a:pt x="3078" y="2214"/>
                  </a:lnTo>
                  <a:lnTo>
                    <a:pt x="3133" y="2209"/>
                  </a:lnTo>
                  <a:lnTo>
                    <a:pt x="3100" y="2235"/>
                  </a:lnTo>
                  <a:lnTo>
                    <a:pt x="3109" y="2247"/>
                  </a:lnTo>
                  <a:lnTo>
                    <a:pt x="3154" y="2214"/>
                  </a:lnTo>
                  <a:lnTo>
                    <a:pt x="3137" y="2268"/>
                  </a:lnTo>
                  <a:lnTo>
                    <a:pt x="3147" y="2285"/>
                  </a:lnTo>
                  <a:lnTo>
                    <a:pt x="3126" y="2308"/>
                  </a:lnTo>
                  <a:lnTo>
                    <a:pt x="3147" y="2308"/>
                  </a:lnTo>
                  <a:lnTo>
                    <a:pt x="3137" y="2341"/>
                  </a:lnTo>
                  <a:lnTo>
                    <a:pt x="3147" y="2341"/>
                  </a:lnTo>
                  <a:lnTo>
                    <a:pt x="3185" y="2325"/>
                  </a:lnTo>
                  <a:lnTo>
                    <a:pt x="3185" y="2337"/>
                  </a:lnTo>
                  <a:lnTo>
                    <a:pt x="3170" y="2346"/>
                  </a:lnTo>
                  <a:lnTo>
                    <a:pt x="3192" y="2341"/>
                  </a:lnTo>
                  <a:lnTo>
                    <a:pt x="3201" y="2374"/>
                  </a:lnTo>
                  <a:lnTo>
                    <a:pt x="3163" y="2374"/>
                  </a:lnTo>
                  <a:lnTo>
                    <a:pt x="3154" y="2363"/>
                  </a:lnTo>
                  <a:lnTo>
                    <a:pt x="3163" y="2358"/>
                  </a:lnTo>
                  <a:lnTo>
                    <a:pt x="3147" y="2374"/>
                  </a:lnTo>
                  <a:lnTo>
                    <a:pt x="3137" y="2358"/>
                  </a:lnTo>
                  <a:lnTo>
                    <a:pt x="3126" y="2358"/>
                  </a:lnTo>
                  <a:lnTo>
                    <a:pt x="3170" y="2396"/>
                  </a:lnTo>
                  <a:lnTo>
                    <a:pt x="3170" y="2412"/>
                  </a:lnTo>
                  <a:lnTo>
                    <a:pt x="3180" y="2412"/>
                  </a:lnTo>
                  <a:lnTo>
                    <a:pt x="3147" y="2379"/>
                  </a:lnTo>
                  <a:lnTo>
                    <a:pt x="3208" y="2379"/>
                  </a:lnTo>
                  <a:lnTo>
                    <a:pt x="3208" y="2374"/>
                  </a:lnTo>
                  <a:lnTo>
                    <a:pt x="3201" y="2346"/>
                  </a:lnTo>
                  <a:lnTo>
                    <a:pt x="3218" y="2337"/>
                  </a:lnTo>
                  <a:lnTo>
                    <a:pt x="3201" y="2325"/>
                  </a:lnTo>
                  <a:lnTo>
                    <a:pt x="3201" y="2303"/>
                  </a:lnTo>
                  <a:lnTo>
                    <a:pt x="3180" y="2280"/>
                  </a:lnTo>
                  <a:lnTo>
                    <a:pt x="3185" y="2268"/>
                  </a:lnTo>
                  <a:lnTo>
                    <a:pt x="3201" y="2235"/>
                  </a:lnTo>
                  <a:lnTo>
                    <a:pt x="3192" y="2235"/>
                  </a:lnTo>
                  <a:lnTo>
                    <a:pt x="3244" y="2235"/>
                  </a:lnTo>
                  <a:lnTo>
                    <a:pt x="3289" y="2214"/>
                  </a:lnTo>
                  <a:lnTo>
                    <a:pt x="3289" y="2192"/>
                  </a:lnTo>
                  <a:lnTo>
                    <a:pt x="3326" y="2176"/>
                  </a:lnTo>
                  <a:lnTo>
                    <a:pt x="3326" y="2169"/>
                  </a:lnTo>
                  <a:lnTo>
                    <a:pt x="3315" y="2169"/>
                  </a:lnTo>
                  <a:lnTo>
                    <a:pt x="3326" y="2140"/>
                  </a:lnTo>
                  <a:lnTo>
                    <a:pt x="3326" y="2124"/>
                  </a:lnTo>
                  <a:lnTo>
                    <a:pt x="3298" y="2124"/>
                  </a:lnTo>
                  <a:lnTo>
                    <a:pt x="3293" y="2140"/>
                  </a:lnTo>
                  <a:lnTo>
                    <a:pt x="3310" y="2136"/>
                  </a:lnTo>
                  <a:lnTo>
                    <a:pt x="3293" y="2152"/>
                  </a:lnTo>
                  <a:lnTo>
                    <a:pt x="3260" y="2152"/>
                  </a:lnTo>
                  <a:lnTo>
                    <a:pt x="3256" y="2152"/>
                  </a:lnTo>
                  <a:lnTo>
                    <a:pt x="3256" y="2136"/>
                  </a:lnTo>
                  <a:lnTo>
                    <a:pt x="3256" y="2124"/>
                  </a:lnTo>
                  <a:lnTo>
                    <a:pt x="3293" y="2103"/>
                  </a:lnTo>
                  <a:lnTo>
                    <a:pt x="3277" y="2103"/>
                  </a:lnTo>
                  <a:lnTo>
                    <a:pt x="3277" y="2081"/>
                  </a:lnTo>
                  <a:lnTo>
                    <a:pt x="3331" y="2065"/>
                  </a:lnTo>
                  <a:lnTo>
                    <a:pt x="3310" y="2086"/>
                  </a:lnTo>
                  <a:lnTo>
                    <a:pt x="3310" y="2103"/>
                  </a:lnTo>
                  <a:lnTo>
                    <a:pt x="3343" y="2070"/>
                  </a:lnTo>
                  <a:lnTo>
                    <a:pt x="3326" y="2070"/>
                  </a:lnTo>
                  <a:lnTo>
                    <a:pt x="3343" y="2065"/>
                  </a:lnTo>
                  <a:lnTo>
                    <a:pt x="3331" y="2058"/>
                  </a:lnTo>
                  <a:lnTo>
                    <a:pt x="3277" y="2065"/>
                  </a:lnTo>
                  <a:lnTo>
                    <a:pt x="3256" y="2029"/>
                  </a:lnTo>
                  <a:lnTo>
                    <a:pt x="3239" y="2048"/>
                  </a:lnTo>
                  <a:lnTo>
                    <a:pt x="3180" y="2025"/>
                  </a:lnTo>
                  <a:lnTo>
                    <a:pt x="3163" y="2025"/>
                  </a:lnTo>
                  <a:lnTo>
                    <a:pt x="3147" y="2003"/>
                  </a:lnTo>
                  <a:lnTo>
                    <a:pt x="3116" y="1975"/>
                  </a:lnTo>
                  <a:lnTo>
                    <a:pt x="3116" y="1954"/>
                  </a:lnTo>
                  <a:lnTo>
                    <a:pt x="3137" y="1921"/>
                  </a:lnTo>
                  <a:lnTo>
                    <a:pt x="3170" y="1921"/>
                  </a:lnTo>
                  <a:lnTo>
                    <a:pt x="3154" y="1914"/>
                  </a:lnTo>
                  <a:lnTo>
                    <a:pt x="3170" y="1897"/>
                  </a:lnTo>
                  <a:lnTo>
                    <a:pt x="3147" y="1914"/>
                  </a:lnTo>
                  <a:lnTo>
                    <a:pt x="3116" y="1892"/>
                  </a:lnTo>
                  <a:lnTo>
                    <a:pt x="3126" y="1859"/>
                  </a:lnTo>
                  <a:lnTo>
                    <a:pt x="3133" y="1848"/>
                  </a:lnTo>
                  <a:lnTo>
                    <a:pt x="3116" y="1843"/>
                  </a:lnTo>
                  <a:lnTo>
                    <a:pt x="3126" y="1843"/>
                  </a:lnTo>
                  <a:lnTo>
                    <a:pt x="3126" y="1826"/>
                  </a:lnTo>
                  <a:lnTo>
                    <a:pt x="3154" y="1810"/>
                  </a:lnTo>
                  <a:lnTo>
                    <a:pt x="3185" y="1826"/>
                  </a:lnTo>
                  <a:lnTo>
                    <a:pt x="3192" y="1810"/>
                  </a:lnTo>
                  <a:lnTo>
                    <a:pt x="3185" y="1803"/>
                  </a:lnTo>
                  <a:lnTo>
                    <a:pt x="3163" y="1786"/>
                  </a:lnTo>
                  <a:lnTo>
                    <a:pt x="3208" y="1770"/>
                  </a:lnTo>
                  <a:lnTo>
                    <a:pt x="3208" y="1753"/>
                  </a:lnTo>
                  <a:lnTo>
                    <a:pt x="3256" y="1748"/>
                  </a:lnTo>
                  <a:lnTo>
                    <a:pt x="3208" y="1748"/>
                  </a:lnTo>
                  <a:lnTo>
                    <a:pt x="3218" y="1737"/>
                  </a:lnTo>
                  <a:lnTo>
                    <a:pt x="3260" y="1732"/>
                  </a:lnTo>
                  <a:lnTo>
                    <a:pt x="3272" y="1737"/>
                  </a:lnTo>
                  <a:lnTo>
                    <a:pt x="3256" y="1753"/>
                  </a:lnTo>
                  <a:lnTo>
                    <a:pt x="3256" y="1765"/>
                  </a:lnTo>
                  <a:lnTo>
                    <a:pt x="3260" y="1753"/>
                  </a:lnTo>
                  <a:lnTo>
                    <a:pt x="3272" y="1753"/>
                  </a:lnTo>
                  <a:lnTo>
                    <a:pt x="3272" y="1781"/>
                  </a:lnTo>
                  <a:lnTo>
                    <a:pt x="3289" y="1753"/>
                  </a:lnTo>
                  <a:lnTo>
                    <a:pt x="3315" y="1765"/>
                  </a:lnTo>
                  <a:lnTo>
                    <a:pt x="3310" y="1781"/>
                  </a:lnTo>
                  <a:lnTo>
                    <a:pt x="3369" y="1819"/>
                  </a:lnTo>
                  <a:lnTo>
                    <a:pt x="3381" y="1843"/>
                  </a:lnTo>
                  <a:lnTo>
                    <a:pt x="3369" y="1876"/>
                  </a:lnTo>
                  <a:lnTo>
                    <a:pt x="3364" y="1881"/>
                  </a:lnTo>
                  <a:lnTo>
                    <a:pt x="3423" y="1914"/>
                  </a:lnTo>
                  <a:lnTo>
                    <a:pt x="3418" y="1930"/>
                  </a:lnTo>
                  <a:lnTo>
                    <a:pt x="3440" y="1947"/>
                  </a:lnTo>
                  <a:lnTo>
                    <a:pt x="3440" y="1959"/>
                  </a:lnTo>
                  <a:lnTo>
                    <a:pt x="3449" y="1947"/>
                  </a:lnTo>
                  <a:lnTo>
                    <a:pt x="3456" y="1947"/>
                  </a:lnTo>
                  <a:lnTo>
                    <a:pt x="3470" y="1970"/>
                  </a:lnTo>
                  <a:lnTo>
                    <a:pt x="3440" y="1975"/>
                  </a:lnTo>
                  <a:lnTo>
                    <a:pt x="3418" y="1970"/>
                  </a:lnTo>
                  <a:lnTo>
                    <a:pt x="3407" y="1987"/>
                  </a:lnTo>
                  <a:lnTo>
                    <a:pt x="3440" y="1992"/>
                  </a:lnTo>
                  <a:lnTo>
                    <a:pt x="3385" y="2029"/>
                  </a:lnTo>
                  <a:lnTo>
                    <a:pt x="3402" y="2029"/>
                  </a:lnTo>
                  <a:lnTo>
                    <a:pt x="3369" y="2029"/>
                  </a:lnTo>
                  <a:lnTo>
                    <a:pt x="3418" y="2029"/>
                  </a:lnTo>
                  <a:lnTo>
                    <a:pt x="3433" y="2041"/>
                  </a:lnTo>
                  <a:lnTo>
                    <a:pt x="3418" y="2041"/>
                  </a:lnTo>
                  <a:lnTo>
                    <a:pt x="3433" y="2048"/>
                  </a:lnTo>
                  <a:lnTo>
                    <a:pt x="3449" y="2058"/>
                  </a:lnTo>
                  <a:lnTo>
                    <a:pt x="3470" y="2041"/>
                  </a:lnTo>
                  <a:lnTo>
                    <a:pt x="3494" y="2041"/>
                  </a:lnTo>
                  <a:lnTo>
                    <a:pt x="3504" y="2041"/>
                  </a:lnTo>
                  <a:lnTo>
                    <a:pt x="3470" y="2058"/>
                  </a:lnTo>
                  <a:lnTo>
                    <a:pt x="3494" y="2048"/>
                  </a:lnTo>
                  <a:lnTo>
                    <a:pt x="3525" y="2058"/>
                  </a:lnTo>
                  <a:lnTo>
                    <a:pt x="3525" y="2048"/>
                  </a:lnTo>
                  <a:lnTo>
                    <a:pt x="3558" y="2065"/>
                  </a:lnTo>
                  <a:lnTo>
                    <a:pt x="3525" y="2065"/>
                  </a:lnTo>
                  <a:lnTo>
                    <a:pt x="3541" y="2065"/>
                  </a:lnTo>
                  <a:lnTo>
                    <a:pt x="3525" y="2070"/>
                  </a:lnTo>
                  <a:lnTo>
                    <a:pt x="3515" y="2086"/>
                  </a:lnTo>
                  <a:lnTo>
                    <a:pt x="3478" y="2070"/>
                  </a:lnTo>
                  <a:lnTo>
                    <a:pt x="3532" y="2115"/>
                  </a:lnTo>
                  <a:lnTo>
                    <a:pt x="3532" y="2124"/>
                  </a:lnTo>
                  <a:lnTo>
                    <a:pt x="3546" y="2136"/>
                  </a:lnTo>
                  <a:lnTo>
                    <a:pt x="3541" y="2152"/>
                  </a:lnTo>
                  <a:lnTo>
                    <a:pt x="3541" y="2181"/>
                  </a:lnTo>
                  <a:lnTo>
                    <a:pt x="3532" y="2192"/>
                  </a:lnTo>
                  <a:lnTo>
                    <a:pt x="3558" y="2197"/>
                  </a:lnTo>
                  <a:lnTo>
                    <a:pt x="3546" y="2209"/>
                  </a:lnTo>
                  <a:lnTo>
                    <a:pt x="3558" y="2214"/>
                  </a:lnTo>
                  <a:lnTo>
                    <a:pt x="3570" y="2214"/>
                  </a:lnTo>
                  <a:lnTo>
                    <a:pt x="3584" y="2192"/>
                  </a:lnTo>
                  <a:lnTo>
                    <a:pt x="3579" y="2169"/>
                  </a:lnTo>
                  <a:lnTo>
                    <a:pt x="3596" y="2157"/>
                  </a:lnTo>
                  <a:lnTo>
                    <a:pt x="3596" y="2119"/>
                  </a:lnTo>
                  <a:lnTo>
                    <a:pt x="3622" y="2086"/>
                  </a:lnTo>
                  <a:lnTo>
                    <a:pt x="3650" y="2086"/>
                  </a:lnTo>
                  <a:lnTo>
                    <a:pt x="3721" y="2140"/>
                  </a:lnTo>
                  <a:lnTo>
                    <a:pt x="3730" y="2209"/>
                  </a:lnTo>
                  <a:lnTo>
                    <a:pt x="3726" y="2226"/>
                  </a:lnTo>
                  <a:lnTo>
                    <a:pt x="3704" y="2197"/>
                  </a:lnTo>
                  <a:lnTo>
                    <a:pt x="3688" y="2209"/>
                  </a:lnTo>
                  <a:lnTo>
                    <a:pt x="3693" y="2230"/>
                  </a:lnTo>
                  <a:lnTo>
                    <a:pt x="3693" y="2252"/>
                  </a:lnTo>
                  <a:lnTo>
                    <a:pt x="3709" y="2285"/>
                  </a:lnTo>
                  <a:lnTo>
                    <a:pt x="3763" y="2337"/>
                  </a:lnTo>
                  <a:lnTo>
                    <a:pt x="3747" y="2358"/>
                  </a:lnTo>
                  <a:lnTo>
                    <a:pt x="3785" y="2341"/>
                  </a:lnTo>
                  <a:lnTo>
                    <a:pt x="3780" y="2325"/>
                  </a:lnTo>
                  <a:lnTo>
                    <a:pt x="3796" y="2320"/>
                  </a:lnTo>
                  <a:lnTo>
                    <a:pt x="3818" y="2325"/>
                  </a:lnTo>
                  <a:lnTo>
                    <a:pt x="3827" y="2292"/>
                  </a:lnTo>
                  <a:lnTo>
                    <a:pt x="3818" y="2285"/>
                  </a:lnTo>
                  <a:lnTo>
                    <a:pt x="3865" y="2235"/>
                  </a:lnTo>
                  <a:lnTo>
                    <a:pt x="3872" y="2209"/>
                  </a:lnTo>
                  <a:lnTo>
                    <a:pt x="3881" y="2192"/>
                  </a:lnTo>
                  <a:lnTo>
                    <a:pt x="3881" y="2152"/>
                  </a:lnTo>
                  <a:lnTo>
                    <a:pt x="3893" y="2152"/>
                  </a:lnTo>
                  <a:lnTo>
                    <a:pt x="3941" y="2152"/>
                  </a:lnTo>
                  <a:lnTo>
                    <a:pt x="3941" y="2140"/>
                  </a:lnTo>
                  <a:lnTo>
                    <a:pt x="3910" y="2136"/>
                  </a:lnTo>
                  <a:lnTo>
                    <a:pt x="3924" y="2136"/>
                  </a:lnTo>
                  <a:lnTo>
                    <a:pt x="3919" y="2124"/>
                  </a:lnTo>
                  <a:lnTo>
                    <a:pt x="3941" y="2124"/>
                  </a:lnTo>
                  <a:lnTo>
                    <a:pt x="3936" y="2119"/>
                  </a:lnTo>
                  <a:lnTo>
                    <a:pt x="3962" y="2119"/>
                  </a:lnTo>
                  <a:lnTo>
                    <a:pt x="3919" y="2103"/>
                  </a:lnTo>
                  <a:lnTo>
                    <a:pt x="3924" y="2098"/>
                  </a:lnTo>
                  <a:lnTo>
                    <a:pt x="3903" y="2103"/>
                  </a:lnTo>
                  <a:lnTo>
                    <a:pt x="3910" y="2098"/>
                  </a:lnTo>
                  <a:lnTo>
                    <a:pt x="3893" y="2086"/>
                  </a:lnTo>
                  <a:lnTo>
                    <a:pt x="3893" y="2070"/>
                  </a:lnTo>
                  <a:lnTo>
                    <a:pt x="3903" y="2065"/>
                  </a:lnTo>
                  <a:lnTo>
                    <a:pt x="3886" y="2065"/>
                  </a:lnTo>
                  <a:lnTo>
                    <a:pt x="3893" y="2025"/>
                  </a:lnTo>
                  <a:lnTo>
                    <a:pt x="3903" y="2025"/>
                  </a:lnTo>
                  <a:lnTo>
                    <a:pt x="3886" y="2008"/>
                  </a:lnTo>
                  <a:lnTo>
                    <a:pt x="3924" y="2025"/>
                  </a:lnTo>
                  <a:lnTo>
                    <a:pt x="3974" y="2008"/>
                  </a:lnTo>
                  <a:lnTo>
                    <a:pt x="4016" y="2029"/>
                  </a:lnTo>
                  <a:lnTo>
                    <a:pt x="4120" y="2041"/>
                  </a:lnTo>
                  <a:lnTo>
                    <a:pt x="4096" y="2041"/>
                  </a:lnTo>
                  <a:lnTo>
                    <a:pt x="4104" y="2058"/>
                  </a:lnTo>
                  <a:lnTo>
                    <a:pt x="4049" y="2048"/>
                  </a:lnTo>
                  <a:lnTo>
                    <a:pt x="4120" y="2070"/>
                  </a:lnTo>
                  <a:lnTo>
                    <a:pt x="4120" y="2086"/>
                  </a:lnTo>
                  <a:lnTo>
                    <a:pt x="4158" y="2086"/>
                  </a:lnTo>
                  <a:lnTo>
                    <a:pt x="4189" y="2098"/>
                  </a:lnTo>
                  <a:lnTo>
                    <a:pt x="4189" y="2103"/>
                  </a:lnTo>
                  <a:lnTo>
                    <a:pt x="4163" y="2119"/>
                  </a:lnTo>
                  <a:lnTo>
                    <a:pt x="4134" y="2136"/>
                  </a:lnTo>
                  <a:lnTo>
                    <a:pt x="4179" y="2136"/>
                  </a:lnTo>
                  <a:lnTo>
                    <a:pt x="4189" y="2152"/>
                  </a:lnTo>
                  <a:lnTo>
                    <a:pt x="4189" y="2169"/>
                  </a:lnTo>
                  <a:lnTo>
                    <a:pt x="4141" y="2192"/>
                  </a:lnTo>
                  <a:lnTo>
                    <a:pt x="4120" y="2181"/>
                  </a:lnTo>
                  <a:lnTo>
                    <a:pt x="4125" y="2181"/>
                  </a:lnTo>
                  <a:lnTo>
                    <a:pt x="4120" y="2192"/>
                  </a:lnTo>
                  <a:lnTo>
                    <a:pt x="4096" y="2181"/>
                  </a:lnTo>
                  <a:lnTo>
                    <a:pt x="4108" y="2209"/>
                  </a:lnTo>
                  <a:lnTo>
                    <a:pt x="4104" y="2209"/>
                  </a:lnTo>
                  <a:lnTo>
                    <a:pt x="4120" y="2209"/>
                  </a:lnTo>
                  <a:lnTo>
                    <a:pt x="4108" y="2226"/>
                  </a:lnTo>
                  <a:lnTo>
                    <a:pt x="4125" y="2230"/>
                  </a:lnTo>
                  <a:lnTo>
                    <a:pt x="4141" y="2226"/>
                  </a:lnTo>
                  <a:lnTo>
                    <a:pt x="4125" y="2247"/>
                  </a:lnTo>
                  <a:lnTo>
                    <a:pt x="4134" y="2252"/>
                  </a:lnTo>
                  <a:lnTo>
                    <a:pt x="4189" y="2308"/>
                  </a:lnTo>
                  <a:lnTo>
                    <a:pt x="4172" y="2363"/>
                  </a:lnTo>
                  <a:lnTo>
                    <a:pt x="4141" y="2374"/>
                  </a:lnTo>
                  <a:lnTo>
                    <a:pt x="4096" y="2419"/>
                  </a:lnTo>
                  <a:lnTo>
                    <a:pt x="4066" y="2419"/>
                  </a:lnTo>
                  <a:lnTo>
                    <a:pt x="4033" y="2448"/>
                  </a:lnTo>
                  <a:lnTo>
                    <a:pt x="4028" y="2436"/>
                  </a:lnTo>
                  <a:lnTo>
                    <a:pt x="4033" y="2448"/>
                  </a:lnTo>
                  <a:lnTo>
                    <a:pt x="4016" y="2429"/>
                  </a:lnTo>
                  <a:lnTo>
                    <a:pt x="4000" y="2419"/>
                  </a:lnTo>
                  <a:lnTo>
                    <a:pt x="3995" y="2403"/>
                  </a:lnTo>
                  <a:lnTo>
                    <a:pt x="4000" y="2391"/>
                  </a:lnTo>
                  <a:lnTo>
                    <a:pt x="4000" y="2379"/>
                  </a:lnTo>
                  <a:lnTo>
                    <a:pt x="3990" y="2403"/>
                  </a:lnTo>
                  <a:lnTo>
                    <a:pt x="3978" y="2403"/>
                  </a:lnTo>
                  <a:lnTo>
                    <a:pt x="3962" y="2391"/>
                  </a:lnTo>
                  <a:lnTo>
                    <a:pt x="3974" y="2374"/>
                  </a:lnTo>
                  <a:lnTo>
                    <a:pt x="3936" y="2358"/>
                  </a:lnTo>
                  <a:lnTo>
                    <a:pt x="3936" y="2374"/>
                  </a:lnTo>
                  <a:lnTo>
                    <a:pt x="3957" y="2374"/>
                  </a:lnTo>
                  <a:lnTo>
                    <a:pt x="3924" y="2374"/>
                  </a:lnTo>
                  <a:lnTo>
                    <a:pt x="3910" y="2379"/>
                  </a:lnTo>
                  <a:lnTo>
                    <a:pt x="3957" y="2374"/>
                  </a:lnTo>
                  <a:lnTo>
                    <a:pt x="3945" y="2379"/>
                  </a:lnTo>
                  <a:lnTo>
                    <a:pt x="3962" y="2391"/>
                  </a:lnTo>
                  <a:lnTo>
                    <a:pt x="3945" y="2391"/>
                  </a:lnTo>
                  <a:lnTo>
                    <a:pt x="3962" y="2396"/>
                  </a:lnTo>
                  <a:lnTo>
                    <a:pt x="3962" y="2403"/>
                  </a:lnTo>
                  <a:lnTo>
                    <a:pt x="3990" y="2403"/>
                  </a:lnTo>
                  <a:lnTo>
                    <a:pt x="3990" y="2412"/>
                  </a:lnTo>
                  <a:lnTo>
                    <a:pt x="4016" y="2469"/>
                  </a:lnTo>
                  <a:lnTo>
                    <a:pt x="4011" y="2469"/>
                  </a:lnTo>
                  <a:lnTo>
                    <a:pt x="3962" y="2436"/>
                  </a:lnTo>
                  <a:lnTo>
                    <a:pt x="3957" y="2452"/>
                  </a:lnTo>
                  <a:lnTo>
                    <a:pt x="3974" y="2469"/>
                  </a:lnTo>
                  <a:lnTo>
                    <a:pt x="3910" y="2457"/>
                  </a:lnTo>
                  <a:lnTo>
                    <a:pt x="3893" y="2419"/>
                  </a:lnTo>
                  <a:lnTo>
                    <a:pt x="3872" y="2429"/>
                  </a:lnTo>
                  <a:lnTo>
                    <a:pt x="3801" y="2429"/>
                  </a:lnTo>
                  <a:lnTo>
                    <a:pt x="3811" y="2436"/>
                  </a:lnTo>
                  <a:lnTo>
                    <a:pt x="3801" y="2436"/>
                  </a:lnTo>
                  <a:lnTo>
                    <a:pt x="3811" y="2452"/>
                  </a:lnTo>
                  <a:lnTo>
                    <a:pt x="3865" y="2469"/>
                  </a:lnTo>
                  <a:lnTo>
                    <a:pt x="3855" y="2485"/>
                  </a:lnTo>
                  <a:lnTo>
                    <a:pt x="3827" y="2502"/>
                  </a:lnTo>
                  <a:lnTo>
                    <a:pt x="3818" y="2523"/>
                  </a:lnTo>
                  <a:lnTo>
                    <a:pt x="3763" y="2568"/>
                  </a:lnTo>
                  <a:lnTo>
                    <a:pt x="3721" y="2563"/>
                  </a:lnTo>
                  <a:lnTo>
                    <a:pt x="3655" y="2530"/>
                  </a:lnTo>
                  <a:lnTo>
                    <a:pt x="3676" y="2530"/>
                  </a:lnTo>
                  <a:lnTo>
                    <a:pt x="3650" y="2523"/>
                  </a:lnTo>
                  <a:lnTo>
                    <a:pt x="3600" y="2490"/>
                  </a:lnTo>
                  <a:lnTo>
                    <a:pt x="3579" y="2490"/>
                  </a:lnTo>
                  <a:lnTo>
                    <a:pt x="3596" y="2502"/>
                  </a:lnTo>
                  <a:lnTo>
                    <a:pt x="3596" y="2507"/>
                  </a:lnTo>
                  <a:lnTo>
                    <a:pt x="3546" y="2502"/>
                  </a:lnTo>
                  <a:lnTo>
                    <a:pt x="3563" y="2502"/>
                  </a:lnTo>
                  <a:lnTo>
                    <a:pt x="3478" y="2490"/>
                  </a:lnTo>
                  <a:lnTo>
                    <a:pt x="3508" y="2507"/>
                  </a:lnTo>
                  <a:lnTo>
                    <a:pt x="3504" y="2502"/>
                  </a:lnTo>
                  <a:lnTo>
                    <a:pt x="3579" y="2514"/>
                  </a:lnTo>
                  <a:lnTo>
                    <a:pt x="3638" y="2568"/>
                  </a:lnTo>
                  <a:lnTo>
                    <a:pt x="3763" y="2568"/>
                  </a:lnTo>
                  <a:lnTo>
                    <a:pt x="3796" y="2585"/>
                  </a:lnTo>
                  <a:lnTo>
                    <a:pt x="3747" y="2658"/>
                  </a:lnTo>
                  <a:lnTo>
                    <a:pt x="3730" y="2667"/>
                  </a:lnTo>
                  <a:lnTo>
                    <a:pt x="3721" y="2696"/>
                  </a:lnTo>
                  <a:lnTo>
                    <a:pt x="3709" y="2707"/>
                  </a:lnTo>
                  <a:lnTo>
                    <a:pt x="3667" y="2729"/>
                  </a:lnTo>
                  <a:lnTo>
                    <a:pt x="3638" y="2724"/>
                  </a:lnTo>
                  <a:lnTo>
                    <a:pt x="3633" y="2707"/>
                  </a:lnTo>
                  <a:lnTo>
                    <a:pt x="3650" y="2729"/>
                  </a:lnTo>
                  <a:lnTo>
                    <a:pt x="3612" y="2712"/>
                  </a:lnTo>
                  <a:lnTo>
                    <a:pt x="3612" y="2729"/>
                  </a:lnTo>
                  <a:lnTo>
                    <a:pt x="3584" y="2712"/>
                  </a:lnTo>
                  <a:lnTo>
                    <a:pt x="3596" y="2707"/>
                  </a:lnTo>
                  <a:lnTo>
                    <a:pt x="3596" y="2696"/>
                  </a:lnTo>
                  <a:lnTo>
                    <a:pt x="3584" y="2707"/>
                  </a:lnTo>
                  <a:lnTo>
                    <a:pt x="3570" y="2707"/>
                  </a:lnTo>
                  <a:lnTo>
                    <a:pt x="3579" y="2712"/>
                  </a:lnTo>
                  <a:lnTo>
                    <a:pt x="3584" y="2729"/>
                  </a:lnTo>
                  <a:lnTo>
                    <a:pt x="3558" y="2724"/>
                  </a:lnTo>
                  <a:lnTo>
                    <a:pt x="3579" y="2745"/>
                  </a:lnTo>
                  <a:lnTo>
                    <a:pt x="3563" y="2769"/>
                  </a:lnTo>
                  <a:lnTo>
                    <a:pt x="3532" y="2752"/>
                  </a:lnTo>
                  <a:lnTo>
                    <a:pt x="3525" y="2762"/>
                  </a:lnTo>
                  <a:lnTo>
                    <a:pt x="3532" y="2762"/>
                  </a:lnTo>
                  <a:lnTo>
                    <a:pt x="3541" y="2769"/>
                  </a:lnTo>
                  <a:lnTo>
                    <a:pt x="3508" y="2769"/>
                  </a:lnTo>
                  <a:lnTo>
                    <a:pt x="3470" y="2752"/>
                  </a:lnTo>
                  <a:lnTo>
                    <a:pt x="3423" y="2752"/>
                  </a:lnTo>
                  <a:lnTo>
                    <a:pt x="3343" y="2724"/>
                  </a:lnTo>
                  <a:lnTo>
                    <a:pt x="3310" y="2696"/>
                  </a:lnTo>
                  <a:lnTo>
                    <a:pt x="3326" y="2712"/>
                  </a:lnTo>
                  <a:lnTo>
                    <a:pt x="3315" y="2729"/>
                  </a:lnTo>
                  <a:lnTo>
                    <a:pt x="3331" y="2736"/>
                  </a:lnTo>
                  <a:lnTo>
                    <a:pt x="3352" y="2736"/>
                  </a:lnTo>
                  <a:lnTo>
                    <a:pt x="3331" y="2729"/>
                  </a:lnTo>
                  <a:lnTo>
                    <a:pt x="3343" y="2729"/>
                  </a:lnTo>
                  <a:lnTo>
                    <a:pt x="3433" y="2752"/>
                  </a:lnTo>
                  <a:lnTo>
                    <a:pt x="3402" y="2778"/>
                  </a:lnTo>
                  <a:lnTo>
                    <a:pt x="3456" y="2752"/>
                  </a:lnTo>
                  <a:lnTo>
                    <a:pt x="3461" y="2769"/>
                  </a:lnTo>
                  <a:lnTo>
                    <a:pt x="3515" y="2790"/>
                  </a:lnTo>
                  <a:lnTo>
                    <a:pt x="3508" y="2785"/>
                  </a:lnTo>
                  <a:lnTo>
                    <a:pt x="3525" y="2790"/>
                  </a:lnTo>
                  <a:lnTo>
                    <a:pt x="3532" y="2835"/>
                  </a:lnTo>
                  <a:lnTo>
                    <a:pt x="3525" y="2840"/>
                  </a:lnTo>
                  <a:lnTo>
                    <a:pt x="3504" y="2840"/>
                  </a:lnTo>
                  <a:lnTo>
                    <a:pt x="3478" y="2856"/>
                  </a:lnTo>
                  <a:lnTo>
                    <a:pt x="3407" y="2856"/>
                  </a:lnTo>
                  <a:lnTo>
                    <a:pt x="3418" y="2873"/>
                  </a:lnTo>
                  <a:lnTo>
                    <a:pt x="3449" y="2880"/>
                  </a:lnTo>
                  <a:lnTo>
                    <a:pt x="3433" y="2889"/>
                  </a:lnTo>
                  <a:lnTo>
                    <a:pt x="3418" y="2880"/>
                  </a:lnTo>
                  <a:lnTo>
                    <a:pt x="3385" y="2896"/>
                  </a:lnTo>
                  <a:lnTo>
                    <a:pt x="3385" y="2913"/>
                  </a:lnTo>
                  <a:lnTo>
                    <a:pt x="3402" y="2934"/>
                  </a:lnTo>
                  <a:lnTo>
                    <a:pt x="3385" y="2918"/>
                  </a:lnTo>
                  <a:lnTo>
                    <a:pt x="3352" y="2913"/>
                  </a:lnTo>
                  <a:lnTo>
                    <a:pt x="3385" y="2929"/>
                  </a:lnTo>
                  <a:lnTo>
                    <a:pt x="3364" y="2929"/>
                  </a:lnTo>
                  <a:lnTo>
                    <a:pt x="3369" y="2934"/>
                  </a:lnTo>
                  <a:lnTo>
                    <a:pt x="3352" y="2946"/>
                  </a:lnTo>
                  <a:lnTo>
                    <a:pt x="3343" y="2946"/>
                  </a:lnTo>
                  <a:lnTo>
                    <a:pt x="3352" y="2951"/>
                  </a:lnTo>
                  <a:lnTo>
                    <a:pt x="3348" y="2955"/>
                  </a:lnTo>
                  <a:lnTo>
                    <a:pt x="3326" y="2951"/>
                  </a:lnTo>
                  <a:lnTo>
                    <a:pt x="3326" y="2967"/>
                  </a:lnTo>
                  <a:lnTo>
                    <a:pt x="3348" y="2974"/>
                  </a:lnTo>
                  <a:lnTo>
                    <a:pt x="3298" y="3007"/>
                  </a:lnTo>
                  <a:lnTo>
                    <a:pt x="3310" y="3024"/>
                  </a:lnTo>
                  <a:lnTo>
                    <a:pt x="3272" y="3078"/>
                  </a:lnTo>
                  <a:lnTo>
                    <a:pt x="3260" y="3111"/>
                  </a:lnTo>
                  <a:lnTo>
                    <a:pt x="3244" y="3111"/>
                  </a:lnTo>
                  <a:lnTo>
                    <a:pt x="3256" y="3123"/>
                  </a:lnTo>
                  <a:lnTo>
                    <a:pt x="3239" y="3173"/>
                  </a:lnTo>
                  <a:lnTo>
                    <a:pt x="3239" y="3206"/>
                  </a:lnTo>
                  <a:lnTo>
                    <a:pt x="3244" y="3234"/>
                  </a:lnTo>
                  <a:lnTo>
                    <a:pt x="3239" y="3246"/>
                  </a:lnTo>
                  <a:lnTo>
                    <a:pt x="3239" y="3263"/>
                  </a:lnTo>
                  <a:lnTo>
                    <a:pt x="3260" y="3300"/>
                  </a:lnTo>
                  <a:lnTo>
                    <a:pt x="3277" y="3300"/>
                  </a:lnTo>
                  <a:lnTo>
                    <a:pt x="3272" y="3355"/>
                  </a:lnTo>
                  <a:lnTo>
                    <a:pt x="3277" y="3338"/>
                  </a:lnTo>
                  <a:lnTo>
                    <a:pt x="3277" y="3317"/>
                  </a:lnTo>
                  <a:lnTo>
                    <a:pt x="3289" y="3300"/>
                  </a:lnTo>
                  <a:lnTo>
                    <a:pt x="3352" y="3300"/>
                  </a:lnTo>
                  <a:lnTo>
                    <a:pt x="3407" y="3449"/>
                  </a:lnTo>
                  <a:lnTo>
                    <a:pt x="3395" y="3473"/>
                  </a:lnTo>
                  <a:lnTo>
                    <a:pt x="3381" y="3489"/>
                  </a:lnTo>
                  <a:lnTo>
                    <a:pt x="3407" y="3473"/>
                  </a:lnTo>
                  <a:lnTo>
                    <a:pt x="3423" y="3473"/>
                  </a:lnTo>
                  <a:lnTo>
                    <a:pt x="3402" y="3489"/>
                  </a:lnTo>
                  <a:lnTo>
                    <a:pt x="3508" y="3461"/>
                  </a:lnTo>
                  <a:lnTo>
                    <a:pt x="3667" y="3499"/>
                  </a:lnTo>
                  <a:lnTo>
                    <a:pt x="3721" y="3539"/>
                  </a:lnTo>
                  <a:lnTo>
                    <a:pt x="3742" y="3572"/>
                  </a:lnTo>
                  <a:lnTo>
                    <a:pt x="3763" y="3584"/>
                  </a:lnTo>
                  <a:lnTo>
                    <a:pt x="3881" y="3626"/>
                  </a:lnTo>
                  <a:lnTo>
                    <a:pt x="3903" y="3650"/>
                  </a:lnTo>
                  <a:lnTo>
                    <a:pt x="3919" y="3650"/>
                  </a:lnTo>
                  <a:lnTo>
                    <a:pt x="3893" y="3688"/>
                  </a:lnTo>
                  <a:lnTo>
                    <a:pt x="3910" y="3666"/>
                  </a:lnTo>
                  <a:lnTo>
                    <a:pt x="3924" y="3655"/>
                  </a:lnTo>
                  <a:lnTo>
                    <a:pt x="3957" y="3666"/>
                  </a:lnTo>
                  <a:lnTo>
                    <a:pt x="4000" y="3655"/>
                  </a:lnTo>
                  <a:lnTo>
                    <a:pt x="4028" y="3671"/>
                  </a:lnTo>
                  <a:lnTo>
                    <a:pt x="4016" y="3655"/>
                  </a:lnTo>
                  <a:lnTo>
                    <a:pt x="4070" y="3666"/>
                  </a:lnTo>
                  <a:lnTo>
                    <a:pt x="4108" y="3683"/>
                  </a:lnTo>
                  <a:lnTo>
                    <a:pt x="4120" y="3671"/>
                  </a:lnTo>
                  <a:lnTo>
                    <a:pt x="4125" y="3704"/>
                  </a:lnTo>
                  <a:lnTo>
                    <a:pt x="4108" y="3749"/>
                  </a:lnTo>
                  <a:lnTo>
                    <a:pt x="4108" y="3766"/>
                  </a:lnTo>
                  <a:lnTo>
                    <a:pt x="4120" y="3777"/>
                  </a:lnTo>
                  <a:lnTo>
                    <a:pt x="4125" y="3806"/>
                  </a:lnTo>
                  <a:lnTo>
                    <a:pt x="4125" y="3822"/>
                  </a:lnTo>
                  <a:lnTo>
                    <a:pt x="4125" y="3855"/>
                  </a:lnTo>
                  <a:lnTo>
                    <a:pt x="4120" y="3872"/>
                  </a:lnTo>
                  <a:lnTo>
                    <a:pt x="4120" y="3877"/>
                  </a:lnTo>
                  <a:lnTo>
                    <a:pt x="4172" y="3943"/>
                  </a:lnTo>
                  <a:lnTo>
                    <a:pt x="4172" y="3950"/>
                  </a:lnTo>
                  <a:lnTo>
                    <a:pt x="4151" y="3966"/>
                  </a:lnTo>
                  <a:lnTo>
                    <a:pt x="4172" y="3959"/>
                  </a:lnTo>
                  <a:lnTo>
                    <a:pt x="4179" y="3971"/>
                  </a:lnTo>
                  <a:lnTo>
                    <a:pt x="4210" y="3983"/>
                  </a:lnTo>
                  <a:lnTo>
                    <a:pt x="4233" y="4016"/>
                  </a:lnTo>
                  <a:lnTo>
                    <a:pt x="4248" y="4044"/>
                  </a:lnTo>
                  <a:lnTo>
                    <a:pt x="4205" y="4077"/>
                  </a:lnTo>
                  <a:lnTo>
                    <a:pt x="4248" y="4044"/>
                  </a:lnTo>
                  <a:lnTo>
                    <a:pt x="4271" y="4044"/>
                  </a:lnTo>
                  <a:lnTo>
                    <a:pt x="4297" y="4061"/>
                  </a:lnTo>
                  <a:lnTo>
                    <a:pt x="4323" y="4099"/>
                  </a:lnTo>
                  <a:lnTo>
                    <a:pt x="4297" y="4061"/>
                  </a:lnTo>
                  <a:lnTo>
                    <a:pt x="4302" y="4037"/>
                  </a:lnTo>
                  <a:lnTo>
                    <a:pt x="4323" y="4016"/>
                  </a:lnTo>
                  <a:lnTo>
                    <a:pt x="4335" y="4016"/>
                  </a:lnTo>
                  <a:lnTo>
                    <a:pt x="4323" y="4025"/>
                  </a:lnTo>
                  <a:lnTo>
                    <a:pt x="4352" y="4025"/>
                  </a:lnTo>
                  <a:lnTo>
                    <a:pt x="4352" y="4054"/>
                  </a:lnTo>
                  <a:lnTo>
                    <a:pt x="4356" y="4061"/>
                  </a:lnTo>
                  <a:lnTo>
                    <a:pt x="4356" y="4054"/>
                  </a:lnTo>
                  <a:lnTo>
                    <a:pt x="4368" y="4025"/>
                  </a:lnTo>
                  <a:lnTo>
                    <a:pt x="4368" y="4021"/>
                  </a:lnTo>
                  <a:lnTo>
                    <a:pt x="4340" y="4004"/>
                  </a:lnTo>
                  <a:lnTo>
                    <a:pt x="4356" y="4000"/>
                  </a:lnTo>
                  <a:lnTo>
                    <a:pt x="4356" y="3988"/>
                  </a:lnTo>
                  <a:lnTo>
                    <a:pt x="4378" y="3971"/>
                  </a:lnTo>
                  <a:lnTo>
                    <a:pt x="4378" y="3933"/>
                  </a:lnTo>
                  <a:lnTo>
                    <a:pt x="4368" y="3926"/>
                  </a:lnTo>
                  <a:lnTo>
                    <a:pt x="4373" y="3926"/>
                  </a:lnTo>
                  <a:lnTo>
                    <a:pt x="4368" y="3905"/>
                  </a:lnTo>
                  <a:lnTo>
                    <a:pt x="4368" y="3893"/>
                  </a:lnTo>
                  <a:lnTo>
                    <a:pt x="4356" y="3893"/>
                  </a:lnTo>
                  <a:lnTo>
                    <a:pt x="4356" y="3855"/>
                  </a:lnTo>
                  <a:lnTo>
                    <a:pt x="4340" y="3832"/>
                  </a:lnTo>
                  <a:lnTo>
                    <a:pt x="4356" y="3832"/>
                  </a:lnTo>
                  <a:lnTo>
                    <a:pt x="4335" y="3815"/>
                  </a:lnTo>
                  <a:lnTo>
                    <a:pt x="4340" y="3799"/>
                  </a:lnTo>
                  <a:lnTo>
                    <a:pt x="4356" y="3806"/>
                  </a:lnTo>
                  <a:lnTo>
                    <a:pt x="4340" y="3794"/>
                  </a:lnTo>
                  <a:lnTo>
                    <a:pt x="4340" y="3782"/>
                  </a:lnTo>
                  <a:lnTo>
                    <a:pt x="4352" y="3782"/>
                  </a:lnTo>
                  <a:lnTo>
                    <a:pt x="4340" y="3777"/>
                  </a:lnTo>
                  <a:lnTo>
                    <a:pt x="4340" y="3766"/>
                  </a:lnTo>
                  <a:lnTo>
                    <a:pt x="4323" y="3766"/>
                  </a:lnTo>
                  <a:lnTo>
                    <a:pt x="4314" y="3728"/>
                  </a:lnTo>
                  <a:lnTo>
                    <a:pt x="4297" y="3721"/>
                  </a:lnTo>
                  <a:lnTo>
                    <a:pt x="4394" y="3683"/>
                  </a:lnTo>
                  <a:lnTo>
                    <a:pt x="4432" y="3655"/>
                  </a:lnTo>
                  <a:lnTo>
                    <a:pt x="4474" y="3626"/>
                  </a:lnTo>
                  <a:lnTo>
                    <a:pt x="4512" y="3584"/>
                  </a:lnTo>
                  <a:lnTo>
                    <a:pt x="4519" y="3544"/>
                  </a:lnTo>
                  <a:lnTo>
                    <a:pt x="4519" y="3473"/>
                  </a:lnTo>
                  <a:lnTo>
                    <a:pt x="4498" y="3407"/>
                  </a:lnTo>
                  <a:lnTo>
                    <a:pt x="4460" y="3355"/>
                  </a:lnTo>
                  <a:lnTo>
                    <a:pt x="4422" y="3338"/>
                  </a:lnTo>
                  <a:lnTo>
                    <a:pt x="4389" y="3317"/>
                  </a:lnTo>
                  <a:lnTo>
                    <a:pt x="4394" y="3322"/>
                  </a:lnTo>
                  <a:lnTo>
                    <a:pt x="4378" y="3317"/>
                  </a:lnTo>
                  <a:lnTo>
                    <a:pt x="4389" y="3305"/>
                  </a:lnTo>
                  <a:lnTo>
                    <a:pt x="4378" y="3279"/>
                  </a:lnTo>
                  <a:lnTo>
                    <a:pt x="4394" y="3284"/>
                  </a:lnTo>
                  <a:lnTo>
                    <a:pt x="4411" y="3251"/>
                  </a:lnTo>
                  <a:lnTo>
                    <a:pt x="4444" y="3227"/>
                  </a:lnTo>
                  <a:lnTo>
                    <a:pt x="4427" y="3227"/>
                  </a:lnTo>
                  <a:lnTo>
                    <a:pt x="4432" y="3211"/>
                  </a:lnTo>
                  <a:lnTo>
                    <a:pt x="4432" y="3194"/>
                  </a:lnTo>
                  <a:lnTo>
                    <a:pt x="4465" y="3211"/>
                  </a:lnTo>
                  <a:lnTo>
                    <a:pt x="4448" y="3194"/>
                  </a:lnTo>
                  <a:lnTo>
                    <a:pt x="4465" y="3189"/>
                  </a:lnTo>
                  <a:lnTo>
                    <a:pt x="4460" y="3173"/>
                  </a:lnTo>
                  <a:lnTo>
                    <a:pt x="4503" y="3151"/>
                  </a:lnTo>
                  <a:lnTo>
                    <a:pt x="4474" y="3151"/>
                  </a:lnTo>
                  <a:lnTo>
                    <a:pt x="4465" y="3168"/>
                  </a:lnTo>
                  <a:lnTo>
                    <a:pt x="4448" y="3156"/>
                  </a:lnTo>
                  <a:lnTo>
                    <a:pt x="4460" y="3140"/>
                  </a:lnTo>
                  <a:lnTo>
                    <a:pt x="4432" y="3123"/>
                  </a:lnTo>
                  <a:lnTo>
                    <a:pt x="4460" y="3111"/>
                  </a:lnTo>
                  <a:lnTo>
                    <a:pt x="4427" y="3095"/>
                  </a:lnTo>
                  <a:lnTo>
                    <a:pt x="4448" y="3078"/>
                  </a:lnTo>
                  <a:lnTo>
                    <a:pt x="4406" y="3078"/>
                  </a:lnTo>
                  <a:lnTo>
                    <a:pt x="4444" y="3029"/>
                  </a:lnTo>
                  <a:lnTo>
                    <a:pt x="4432" y="3012"/>
                  </a:lnTo>
                  <a:lnTo>
                    <a:pt x="4448" y="3007"/>
                  </a:lnTo>
                  <a:lnTo>
                    <a:pt x="4448" y="3000"/>
                  </a:lnTo>
                  <a:lnTo>
                    <a:pt x="4460" y="3000"/>
                  </a:lnTo>
                  <a:lnTo>
                    <a:pt x="4422" y="2974"/>
                  </a:lnTo>
                  <a:lnTo>
                    <a:pt x="4406" y="2929"/>
                  </a:lnTo>
                  <a:lnTo>
                    <a:pt x="4422" y="2901"/>
                  </a:lnTo>
                  <a:lnTo>
                    <a:pt x="4448" y="2889"/>
                  </a:lnTo>
                  <a:lnTo>
                    <a:pt x="4498" y="2889"/>
                  </a:lnTo>
                  <a:lnTo>
                    <a:pt x="4583" y="2913"/>
                  </a:lnTo>
                  <a:lnTo>
                    <a:pt x="4567" y="2929"/>
                  </a:lnTo>
                  <a:lnTo>
                    <a:pt x="4604" y="2913"/>
                  </a:lnTo>
                  <a:lnTo>
                    <a:pt x="4659" y="2934"/>
                  </a:lnTo>
                  <a:lnTo>
                    <a:pt x="4642" y="2929"/>
                  </a:lnTo>
                  <a:lnTo>
                    <a:pt x="4718" y="2896"/>
                  </a:lnTo>
                  <a:lnTo>
                    <a:pt x="4772" y="2934"/>
                  </a:lnTo>
                  <a:lnTo>
                    <a:pt x="4798" y="2934"/>
                  </a:lnTo>
                  <a:lnTo>
                    <a:pt x="4798" y="2951"/>
                  </a:lnTo>
                  <a:lnTo>
                    <a:pt x="4789" y="2967"/>
                  </a:lnTo>
                  <a:lnTo>
                    <a:pt x="4798" y="2967"/>
                  </a:lnTo>
                  <a:lnTo>
                    <a:pt x="4798" y="2955"/>
                  </a:lnTo>
                  <a:lnTo>
                    <a:pt x="4822" y="2955"/>
                  </a:lnTo>
                  <a:lnTo>
                    <a:pt x="4836" y="2984"/>
                  </a:lnTo>
                  <a:lnTo>
                    <a:pt x="4822" y="3000"/>
                  </a:lnTo>
                  <a:lnTo>
                    <a:pt x="4843" y="2991"/>
                  </a:lnTo>
                  <a:lnTo>
                    <a:pt x="4843" y="2984"/>
                  </a:lnTo>
                  <a:lnTo>
                    <a:pt x="4864" y="2991"/>
                  </a:lnTo>
                  <a:lnTo>
                    <a:pt x="4874" y="3000"/>
                  </a:lnTo>
                  <a:lnTo>
                    <a:pt x="4843" y="3012"/>
                  </a:lnTo>
                  <a:lnTo>
                    <a:pt x="4859" y="3012"/>
                  </a:lnTo>
                  <a:lnTo>
                    <a:pt x="4881" y="3045"/>
                  </a:lnTo>
                  <a:lnTo>
                    <a:pt x="4944" y="3057"/>
                  </a:lnTo>
                  <a:lnTo>
                    <a:pt x="4966" y="3045"/>
                  </a:lnTo>
                  <a:lnTo>
                    <a:pt x="4973" y="3066"/>
                  </a:lnTo>
                  <a:lnTo>
                    <a:pt x="4982" y="3078"/>
                  </a:lnTo>
                  <a:lnTo>
                    <a:pt x="4999" y="3066"/>
                  </a:lnTo>
                  <a:lnTo>
                    <a:pt x="5004" y="3066"/>
                  </a:lnTo>
                  <a:lnTo>
                    <a:pt x="5004" y="3057"/>
                  </a:lnTo>
                  <a:lnTo>
                    <a:pt x="5015" y="3045"/>
                  </a:lnTo>
                  <a:lnTo>
                    <a:pt x="5020" y="3078"/>
                  </a:lnTo>
                  <a:lnTo>
                    <a:pt x="4999" y="3095"/>
                  </a:lnTo>
                  <a:lnTo>
                    <a:pt x="5004" y="3100"/>
                  </a:lnTo>
                  <a:lnTo>
                    <a:pt x="4987" y="3111"/>
                  </a:lnTo>
                  <a:lnTo>
                    <a:pt x="4999" y="3123"/>
                  </a:lnTo>
                  <a:lnTo>
                    <a:pt x="4999" y="3135"/>
                  </a:lnTo>
                  <a:lnTo>
                    <a:pt x="5004" y="3140"/>
                  </a:lnTo>
                  <a:lnTo>
                    <a:pt x="5004" y="3156"/>
                  </a:lnTo>
                  <a:lnTo>
                    <a:pt x="4944" y="3168"/>
                  </a:lnTo>
                  <a:lnTo>
                    <a:pt x="4911" y="3156"/>
                  </a:lnTo>
                  <a:lnTo>
                    <a:pt x="4935" y="3173"/>
                  </a:lnTo>
                  <a:lnTo>
                    <a:pt x="4999" y="3173"/>
                  </a:lnTo>
                  <a:lnTo>
                    <a:pt x="5004" y="3177"/>
                  </a:lnTo>
                  <a:lnTo>
                    <a:pt x="5015" y="3206"/>
                  </a:lnTo>
                  <a:lnTo>
                    <a:pt x="4999" y="3222"/>
                  </a:lnTo>
                  <a:lnTo>
                    <a:pt x="5004" y="3234"/>
                  </a:lnTo>
                  <a:lnTo>
                    <a:pt x="4999" y="3234"/>
                  </a:lnTo>
                  <a:lnTo>
                    <a:pt x="5020" y="3234"/>
                  </a:lnTo>
                  <a:lnTo>
                    <a:pt x="5025" y="3234"/>
                  </a:lnTo>
                  <a:lnTo>
                    <a:pt x="5037" y="3251"/>
                  </a:lnTo>
                  <a:lnTo>
                    <a:pt x="5015" y="3251"/>
                  </a:lnTo>
                  <a:lnTo>
                    <a:pt x="5015" y="3263"/>
                  </a:lnTo>
                  <a:lnTo>
                    <a:pt x="5025" y="3263"/>
                  </a:lnTo>
                  <a:lnTo>
                    <a:pt x="5015" y="3267"/>
                  </a:lnTo>
                  <a:lnTo>
                    <a:pt x="5020" y="3284"/>
                  </a:lnTo>
                  <a:lnTo>
                    <a:pt x="5015" y="3296"/>
                  </a:lnTo>
                  <a:lnTo>
                    <a:pt x="5004" y="3296"/>
                  </a:lnTo>
                  <a:lnTo>
                    <a:pt x="5004" y="3284"/>
                  </a:lnTo>
                  <a:lnTo>
                    <a:pt x="4987" y="3267"/>
                  </a:lnTo>
                  <a:lnTo>
                    <a:pt x="4987" y="3296"/>
                  </a:lnTo>
                  <a:lnTo>
                    <a:pt x="4966" y="3300"/>
                  </a:lnTo>
                  <a:lnTo>
                    <a:pt x="4982" y="3300"/>
                  </a:lnTo>
                  <a:lnTo>
                    <a:pt x="4987" y="3317"/>
                  </a:lnTo>
                  <a:lnTo>
                    <a:pt x="5025" y="3284"/>
                  </a:lnTo>
                  <a:lnTo>
                    <a:pt x="5070" y="3284"/>
                  </a:lnTo>
                  <a:lnTo>
                    <a:pt x="5096" y="3300"/>
                  </a:lnTo>
                  <a:lnTo>
                    <a:pt x="5107" y="3333"/>
                  </a:lnTo>
                  <a:lnTo>
                    <a:pt x="5096" y="3362"/>
                  </a:lnTo>
                  <a:lnTo>
                    <a:pt x="5020" y="3407"/>
                  </a:lnTo>
                  <a:lnTo>
                    <a:pt x="5091" y="3374"/>
                  </a:lnTo>
                  <a:lnTo>
                    <a:pt x="5107" y="3333"/>
                  </a:lnTo>
                  <a:lnTo>
                    <a:pt x="5124" y="3317"/>
                  </a:lnTo>
                  <a:lnTo>
                    <a:pt x="5129" y="3322"/>
                  </a:lnTo>
                  <a:lnTo>
                    <a:pt x="5129" y="3350"/>
                  </a:lnTo>
                  <a:lnTo>
                    <a:pt x="5112" y="3374"/>
                  </a:lnTo>
                  <a:lnTo>
                    <a:pt x="5138" y="3350"/>
                  </a:lnTo>
                  <a:lnTo>
                    <a:pt x="5129" y="3333"/>
                  </a:lnTo>
                  <a:lnTo>
                    <a:pt x="5138" y="3333"/>
                  </a:lnTo>
                  <a:lnTo>
                    <a:pt x="5145" y="3333"/>
                  </a:lnTo>
                  <a:lnTo>
                    <a:pt x="5138" y="3350"/>
                  </a:lnTo>
                  <a:lnTo>
                    <a:pt x="5145" y="3355"/>
                  </a:lnTo>
                  <a:lnTo>
                    <a:pt x="5138" y="3390"/>
                  </a:lnTo>
                  <a:lnTo>
                    <a:pt x="5150" y="3355"/>
                  </a:lnTo>
                  <a:lnTo>
                    <a:pt x="5183" y="3338"/>
                  </a:lnTo>
                  <a:lnTo>
                    <a:pt x="5192" y="3322"/>
                  </a:lnTo>
                  <a:lnTo>
                    <a:pt x="5214" y="3322"/>
                  </a:lnTo>
                  <a:lnTo>
                    <a:pt x="5221" y="3305"/>
                  </a:lnTo>
                  <a:lnTo>
                    <a:pt x="5230" y="3296"/>
                  </a:lnTo>
                  <a:lnTo>
                    <a:pt x="5268" y="3317"/>
                  </a:lnTo>
                  <a:lnTo>
                    <a:pt x="5252" y="3350"/>
                  </a:lnTo>
                  <a:lnTo>
                    <a:pt x="5268" y="3333"/>
                  </a:lnTo>
                  <a:lnTo>
                    <a:pt x="5259" y="3333"/>
                  </a:lnTo>
                  <a:lnTo>
                    <a:pt x="5268" y="3317"/>
                  </a:lnTo>
                  <a:lnTo>
                    <a:pt x="5252" y="3300"/>
                  </a:lnTo>
                  <a:lnTo>
                    <a:pt x="5259" y="3296"/>
                  </a:lnTo>
                  <a:lnTo>
                    <a:pt x="5275" y="3296"/>
                  </a:lnTo>
                  <a:lnTo>
                    <a:pt x="5259" y="3284"/>
                  </a:lnTo>
                  <a:lnTo>
                    <a:pt x="5275" y="3267"/>
                  </a:lnTo>
                  <a:lnTo>
                    <a:pt x="5306" y="3267"/>
                  </a:lnTo>
                  <a:lnTo>
                    <a:pt x="5285" y="3263"/>
                  </a:lnTo>
                  <a:lnTo>
                    <a:pt x="5275" y="3246"/>
                  </a:lnTo>
                  <a:lnTo>
                    <a:pt x="5289" y="3251"/>
                  </a:lnTo>
                  <a:lnTo>
                    <a:pt x="5289" y="3234"/>
                  </a:lnTo>
                  <a:lnTo>
                    <a:pt x="5306" y="3246"/>
                  </a:lnTo>
                  <a:lnTo>
                    <a:pt x="5289" y="3222"/>
                  </a:lnTo>
                  <a:lnTo>
                    <a:pt x="5327" y="3234"/>
                  </a:lnTo>
                  <a:lnTo>
                    <a:pt x="5301" y="3222"/>
                  </a:lnTo>
                  <a:lnTo>
                    <a:pt x="5289" y="3194"/>
                  </a:lnTo>
                  <a:lnTo>
                    <a:pt x="5306" y="3177"/>
                  </a:lnTo>
                  <a:lnTo>
                    <a:pt x="5327" y="3189"/>
                  </a:lnTo>
                  <a:lnTo>
                    <a:pt x="5313" y="3177"/>
                  </a:lnTo>
                  <a:lnTo>
                    <a:pt x="5339" y="3123"/>
                  </a:lnTo>
                  <a:lnTo>
                    <a:pt x="5365" y="3135"/>
                  </a:lnTo>
                  <a:lnTo>
                    <a:pt x="5344" y="3140"/>
                  </a:lnTo>
                  <a:lnTo>
                    <a:pt x="5365" y="3140"/>
                  </a:lnTo>
                  <a:lnTo>
                    <a:pt x="5377" y="3151"/>
                  </a:lnTo>
                  <a:lnTo>
                    <a:pt x="5365" y="3156"/>
                  </a:lnTo>
                  <a:lnTo>
                    <a:pt x="5344" y="3168"/>
                  </a:lnTo>
                  <a:lnTo>
                    <a:pt x="5377" y="3156"/>
                  </a:lnTo>
                  <a:lnTo>
                    <a:pt x="5377" y="3173"/>
                  </a:lnTo>
                  <a:lnTo>
                    <a:pt x="5365" y="3177"/>
                  </a:lnTo>
                  <a:lnTo>
                    <a:pt x="5377" y="3173"/>
                  </a:lnTo>
                  <a:lnTo>
                    <a:pt x="5377" y="3168"/>
                  </a:lnTo>
                  <a:lnTo>
                    <a:pt x="5393" y="3168"/>
                  </a:lnTo>
                  <a:lnTo>
                    <a:pt x="5393" y="3189"/>
                  </a:lnTo>
                  <a:lnTo>
                    <a:pt x="5381" y="3189"/>
                  </a:lnTo>
                  <a:lnTo>
                    <a:pt x="5398" y="3206"/>
                  </a:lnTo>
                  <a:lnTo>
                    <a:pt x="5393" y="3222"/>
                  </a:lnTo>
                  <a:lnTo>
                    <a:pt x="5398" y="3206"/>
                  </a:lnTo>
                  <a:lnTo>
                    <a:pt x="5419" y="3222"/>
                  </a:lnTo>
                  <a:lnTo>
                    <a:pt x="5415" y="3227"/>
                  </a:lnTo>
                  <a:lnTo>
                    <a:pt x="5398" y="3234"/>
                  </a:lnTo>
                  <a:lnTo>
                    <a:pt x="5415" y="3234"/>
                  </a:lnTo>
                  <a:lnTo>
                    <a:pt x="5415" y="3246"/>
                  </a:lnTo>
                  <a:lnTo>
                    <a:pt x="5431" y="3234"/>
                  </a:lnTo>
                  <a:lnTo>
                    <a:pt x="5448" y="3251"/>
                  </a:lnTo>
                  <a:lnTo>
                    <a:pt x="5431" y="3267"/>
                  </a:lnTo>
                  <a:lnTo>
                    <a:pt x="5398" y="3267"/>
                  </a:lnTo>
                  <a:lnTo>
                    <a:pt x="5462" y="3267"/>
                  </a:lnTo>
                  <a:lnTo>
                    <a:pt x="5448" y="3267"/>
                  </a:lnTo>
                  <a:lnTo>
                    <a:pt x="5462" y="3284"/>
                  </a:lnTo>
                  <a:lnTo>
                    <a:pt x="5448" y="3296"/>
                  </a:lnTo>
                  <a:lnTo>
                    <a:pt x="5469" y="3284"/>
                  </a:lnTo>
                  <a:lnTo>
                    <a:pt x="5485" y="3305"/>
                  </a:lnTo>
                  <a:lnTo>
                    <a:pt x="5431" y="3350"/>
                  </a:lnTo>
                  <a:lnTo>
                    <a:pt x="5452" y="3333"/>
                  </a:lnTo>
                  <a:lnTo>
                    <a:pt x="5500" y="3333"/>
                  </a:lnTo>
                  <a:lnTo>
                    <a:pt x="5500" y="3350"/>
                  </a:lnTo>
                  <a:lnTo>
                    <a:pt x="5485" y="3355"/>
                  </a:lnTo>
                  <a:lnTo>
                    <a:pt x="5500" y="3355"/>
                  </a:lnTo>
                  <a:lnTo>
                    <a:pt x="5474" y="3362"/>
                  </a:lnTo>
                  <a:lnTo>
                    <a:pt x="5448" y="3378"/>
                  </a:lnTo>
                  <a:lnTo>
                    <a:pt x="5462" y="3378"/>
                  </a:lnTo>
                  <a:lnTo>
                    <a:pt x="5474" y="3362"/>
                  </a:lnTo>
                  <a:lnTo>
                    <a:pt x="5507" y="3362"/>
                  </a:lnTo>
                  <a:lnTo>
                    <a:pt x="5507" y="3374"/>
                  </a:lnTo>
                  <a:lnTo>
                    <a:pt x="5516" y="3362"/>
                  </a:lnTo>
                  <a:lnTo>
                    <a:pt x="5523" y="3378"/>
                  </a:lnTo>
                  <a:lnTo>
                    <a:pt x="5490" y="3390"/>
                  </a:lnTo>
                  <a:lnTo>
                    <a:pt x="5528" y="3378"/>
                  </a:lnTo>
                  <a:lnTo>
                    <a:pt x="5537" y="3390"/>
                  </a:lnTo>
                  <a:lnTo>
                    <a:pt x="5528" y="3407"/>
                  </a:lnTo>
                  <a:lnTo>
                    <a:pt x="5544" y="3416"/>
                  </a:lnTo>
                  <a:lnTo>
                    <a:pt x="5523" y="3433"/>
                  </a:lnTo>
                  <a:lnTo>
                    <a:pt x="5500" y="3433"/>
                  </a:lnTo>
                  <a:lnTo>
                    <a:pt x="5516" y="3444"/>
                  </a:lnTo>
                  <a:lnTo>
                    <a:pt x="5544" y="3444"/>
                  </a:lnTo>
                  <a:lnTo>
                    <a:pt x="5554" y="3444"/>
                  </a:lnTo>
                  <a:lnTo>
                    <a:pt x="5537" y="3461"/>
                  </a:lnTo>
                  <a:lnTo>
                    <a:pt x="5582" y="3473"/>
                  </a:lnTo>
                  <a:lnTo>
                    <a:pt x="5582" y="3482"/>
                  </a:lnTo>
                  <a:lnTo>
                    <a:pt x="5575" y="3489"/>
                  </a:lnTo>
                  <a:lnTo>
                    <a:pt x="5561" y="3506"/>
                  </a:lnTo>
                  <a:lnTo>
                    <a:pt x="5544" y="3506"/>
                  </a:lnTo>
                  <a:lnTo>
                    <a:pt x="5544" y="3518"/>
                  </a:lnTo>
                  <a:lnTo>
                    <a:pt x="5561" y="3518"/>
                  </a:lnTo>
                  <a:lnTo>
                    <a:pt x="5554" y="3518"/>
                  </a:lnTo>
                  <a:lnTo>
                    <a:pt x="5561" y="3522"/>
                  </a:lnTo>
                  <a:lnTo>
                    <a:pt x="5507" y="3506"/>
                  </a:lnTo>
                  <a:lnTo>
                    <a:pt x="5537" y="3499"/>
                  </a:lnTo>
                  <a:lnTo>
                    <a:pt x="5500" y="3506"/>
                  </a:lnTo>
                  <a:lnTo>
                    <a:pt x="5537" y="3522"/>
                  </a:lnTo>
                  <a:lnTo>
                    <a:pt x="5523" y="3522"/>
                  </a:lnTo>
                  <a:lnTo>
                    <a:pt x="5561" y="3527"/>
                  </a:lnTo>
                  <a:lnTo>
                    <a:pt x="5528" y="3539"/>
                  </a:lnTo>
                  <a:lnTo>
                    <a:pt x="5554" y="3544"/>
                  </a:lnTo>
                  <a:lnTo>
                    <a:pt x="5561" y="3560"/>
                  </a:lnTo>
                  <a:lnTo>
                    <a:pt x="5537" y="3555"/>
                  </a:lnTo>
                  <a:lnTo>
                    <a:pt x="5537" y="3560"/>
                  </a:lnTo>
                  <a:lnTo>
                    <a:pt x="5582" y="3560"/>
                  </a:lnTo>
                  <a:lnTo>
                    <a:pt x="5575" y="3577"/>
                  </a:lnTo>
                  <a:lnTo>
                    <a:pt x="5592" y="3577"/>
                  </a:lnTo>
                  <a:lnTo>
                    <a:pt x="5575" y="3584"/>
                  </a:lnTo>
                  <a:lnTo>
                    <a:pt x="5599" y="3584"/>
                  </a:lnTo>
                  <a:lnTo>
                    <a:pt x="5608" y="3593"/>
                  </a:lnTo>
                  <a:lnTo>
                    <a:pt x="5599" y="3593"/>
                  </a:lnTo>
                  <a:lnTo>
                    <a:pt x="5608" y="3600"/>
                  </a:lnTo>
                  <a:lnTo>
                    <a:pt x="5629" y="3600"/>
                  </a:lnTo>
                  <a:lnTo>
                    <a:pt x="5625" y="3610"/>
                  </a:lnTo>
                  <a:lnTo>
                    <a:pt x="5637" y="3600"/>
                  </a:lnTo>
                  <a:lnTo>
                    <a:pt x="5629" y="3626"/>
                  </a:lnTo>
                  <a:lnTo>
                    <a:pt x="5646" y="3600"/>
                  </a:lnTo>
                  <a:lnTo>
                    <a:pt x="5663" y="3610"/>
                  </a:lnTo>
                  <a:lnTo>
                    <a:pt x="5646" y="3626"/>
                  </a:lnTo>
                  <a:lnTo>
                    <a:pt x="5663" y="3626"/>
                  </a:lnTo>
                  <a:lnTo>
                    <a:pt x="5646" y="3650"/>
                  </a:lnTo>
                  <a:lnTo>
                    <a:pt x="5663" y="3633"/>
                  </a:lnTo>
                  <a:lnTo>
                    <a:pt x="5667" y="3638"/>
                  </a:lnTo>
                  <a:lnTo>
                    <a:pt x="5651" y="3650"/>
                  </a:lnTo>
                  <a:lnTo>
                    <a:pt x="5646" y="3666"/>
                  </a:lnTo>
                  <a:lnTo>
                    <a:pt x="5651" y="3655"/>
                  </a:lnTo>
                  <a:lnTo>
                    <a:pt x="5629" y="3688"/>
                  </a:lnTo>
                  <a:lnTo>
                    <a:pt x="5663" y="3666"/>
                  </a:lnTo>
                  <a:lnTo>
                    <a:pt x="5679" y="3666"/>
                  </a:lnTo>
                  <a:lnTo>
                    <a:pt x="5663" y="3683"/>
                  </a:lnTo>
                  <a:lnTo>
                    <a:pt x="5700" y="3655"/>
                  </a:lnTo>
                  <a:lnTo>
                    <a:pt x="5700" y="3666"/>
                  </a:lnTo>
                  <a:lnTo>
                    <a:pt x="5684" y="3671"/>
                  </a:lnTo>
                  <a:lnTo>
                    <a:pt x="5722" y="3671"/>
                  </a:lnTo>
                  <a:lnTo>
                    <a:pt x="5684" y="3711"/>
                  </a:lnTo>
                  <a:lnTo>
                    <a:pt x="5738" y="3666"/>
                  </a:lnTo>
                  <a:lnTo>
                    <a:pt x="5722" y="3688"/>
                  </a:lnTo>
                  <a:lnTo>
                    <a:pt x="5743" y="3671"/>
                  </a:lnTo>
                  <a:lnTo>
                    <a:pt x="5755" y="3671"/>
                  </a:lnTo>
                  <a:lnTo>
                    <a:pt x="5755" y="3683"/>
                  </a:lnTo>
                  <a:lnTo>
                    <a:pt x="5759" y="3688"/>
                  </a:lnTo>
                  <a:lnTo>
                    <a:pt x="5743" y="3695"/>
                  </a:lnTo>
                  <a:lnTo>
                    <a:pt x="5755" y="3704"/>
                  </a:lnTo>
                  <a:lnTo>
                    <a:pt x="5830" y="3711"/>
                  </a:lnTo>
                  <a:lnTo>
                    <a:pt x="5868" y="3728"/>
                  </a:lnTo>
                  <a:lnTo>
                    <a:pt x="5863" y="3737"/>
                  </a:lnTo>
                  <a:lnTo>
                    <a:pt x="5840" y="3737"/>
                  </a:lnTo>
                  <a:lnTo>
                    <a:pt x="5863" y="3744"/>
                  </a:lnTo>
                  <a:lnTo>
                    <a:pt x="5847" y="3749"/>
                  </a:lnTo>
                  <a:lnTo>
                    <a:pt x="5809" y="3749"/>
                  </a:lnTo>
                  <a:lnTo>
                    <a:pt x="5797" y="3749"/>
                  </a:lnTo>
                  <a:lnTo>
                    <a:pt x="5814" y="3749"/>
                  </a:lnTo>
                  <a:lnTo>
                    <a:pt x="5809" y="3761"/>
                  </a:lnTo>
                  <a:lnTo>
                    <a:pt x="5771" y="3766"/>
                  </a:lnTo>
                  <a:lnTo>
                    <a:pt x="5705" y="3782"/>
                  </a:lnTo>
                  <a:lnTo>
                    <a:pt x="5733" y="3782"/>
                  </a:lnTo>
                  <a:lnTo>
                    <a:pt x="5792" y="3761"/>
                  </a:lnTo>
                  <a:lnTo>
                    <a:pt x="5776" y="3782"/>
                  </a:lnTo>
                  <a:lnTo>
                    <a:pt x="5743" y="3782"/>
                  </a:lnTo>
                  <a:lnTo>
                    <a:pt x="5755" y="3782"/>
                  </a:lnTo>
                  <a:lnTo>
                    <a:pt x="5717" y="3799"/>
                  </a:lnTo>
                  <a:lnTo>
                    <a:pt x="5679" y="3806"/>
                  </a:lnTo>
                  <a:lnTo>
                    <a:pt x="5679" y="3832"/>
                  </a:lnTo>
                  <a:lnTo>
                    <a:pt x="5667" y="3832"/>
                  </a:lnTo>
                  <a:lnTo>
                    <a:pt x="5625" y="3806"/>
                  </a:lnTo>
                  <a:lnTo>
                    <a:pt x="5625" y="3815"/>
                  </a:lnTo>
                  <a:lnTo>
                    <a:pt x="5646" y="3815"/>
                  </a:lnTo>
                  <a:lnTo>
                    <a:pt x="5679" y="3832"/>
                  </a:lnTo>
                  <a:lnTo>
                    <a:pt x="5651" y="3848"/>
                  </a:lnTo>
                  <a:lnTo>
                    <a:pt x="5667" y="3855"/>
                  </a:lnTo>
                  <a:lnTo>
                    <a:pt x="5651" y="3855"/>
                  </a:lnTo>
                  <a:lnTo>
                    <a:pt x="5667" y="3855"/>
                  </a:lnTo>
                  <a:lnTo>
                    <a:pt x="5700" y="3839"/>
                  </a:lnTo>
                  <a:lnTo>
                    <a:pt x="5689" y="3832"/>
                  </a:lnTo>
                  <a:lnTo>
                    <a:pt x="5743" y="3815"/>
                  </a:lnTo>
                  <a:lnTo>
                    <a:pt x="5743" y="3806"/>
                  </a:lnTo>
                  <a:lnTo>
                    <a:pt x="5788" y="3782"/>
                  </a:lnTo>
                  <a:lnTo>
                    <a:pt x="5840" y="3777"/>
                  </a:lnTo>
                  <a:lnTo>
                    <a:pt x="5792" y="3777"/>
                  </a:lnTo>
                  <a:lnTo>
                    <a:pt x="5792" y="3766"/>
                  </a:lnTo>
                  <a:lnTo>
                    <a:pt x="5863" y="3766"/>
                  </a:lnTo>
                  <a:lnTo>
                    <a:pt x="5885" y="3799"/>
                  </a:lnTo>
                  <a:lnTo>
                    <a:pt x="5852" y="3822"/>
                  </a:lnTo>
                  <a:lnTo>
                    <a:pt x="5868" y="3832"/>
                  </a:lnTo>
                  <a:lnTo>
                    <a:pt x="5868" y="3839"/>
                  </a:lnTo>
                  <a:lnTo>
                    <a:pt x="5894" y="3815"/>
                  </a:lnTo>
                  <a:lnTo>
                    <a:pt x="5932" y="3806"/>
                  </a:lnTo>
                  <a:lnTo>
                    <a:pt x="5932" y="3815"/>
                  </a:lnTo>
                  <a:lnTo>
                    <a:pt x="5915" y="3815"/>
                  </a:lnTo>
                  <a:lnTo>
                    <a:pt x="5960" y="3832"/>
                  </a:lnTo>
                  <a:lnTo>
                    <a:pt x="5939" y="3832"/>
                  </a:lnTo>
                  <a:lnTo>
                    <a:pt x="5960" y="3848"/>
                  </a:lnTo>
                  <a:lnTo>
                    <a:pt x="5977" y="3848"/>
                  </a:lnTo>
                  <a:lnTo>
                    <a:pt x="5977" y="3872"/>
                  </a:lnTo>
                  <a:lnTo>
                    <a:pt x="5970" y="3877"/>
                  </a:lnTo>
                  <a:lnTo>
                    <a:pt x="5948" y="3877"/>
                  </a:lnTo>
                  <a:lnTo>
                    <a:pt x="5970" y="3893"/>
                  </a:lnTo>
                  <a:lnTo>
                    <a:pt x="5977" y="3905"/>
                  </a:lnTo>
                  <a:lnTo>
                    <a:pt x="5953" y="3910"/>
                  </a:lnTo>
                  <a:lnTo>
                    <a:pt x="5977" y="3917"/>
                  </a:lnTo>
                  <a:lnTo>
                    <a:pt x="5953" y="3917"/>
                  </a:lnTo>
                  <a:lnTo>
                    <a:pt x="5960" y="3917"/>
                  </a:lnTo>
                  <a:lnTo>
                    <a:pt x="5948" y="3926"/>
                  </a:lnTo>
                  <a:lnTo>
                    <a:pt x="5922" y="3926"/>
                  </a:lnTo>
                  <a:lnTo>
                    <a:pt x="5986" y="3943"/>
                  </a:lnTo>
                  <a:lnTo>
                    <a:pt x="5986" y="3950"/>
                  </a:lnTo>
                  <a:lnTo>
                    <a:pt x="5977" y="3950"/>
                  </a:lnTo>
                  <a:lnTo>
                    <a:pt x="5948" y="3943"/>
                  </a:lnTo>
                  <a:lnTo>
                    <a:pt x="5986" y="3959"/>
                  </a:lnTo>
                  <a:lnTo>
                    <a:pt x="5986" y="3971"/>
                  </a:lnTo>
                  <a:lnTo>
                    <a:pt x="5894" y="4037"/>
                  </a:lnTo>
                  <a:lnTo>
                    <a:pt x="5878" y="4025"/>
                  </a:lnTo>
                  <a:lnTo>
                    <a:pt x="5840" y="4025"/>
                  </a:lnTo>
                  <a:lnTo>
                    <a:pt x="5826" y="4044"/>
                  </a:lnTo>
                  <a:lnTo>
                    <a:pt x="5776" y="4054"/>
                  </a:lnTo>
                  <a:lnTo>
                    <a:pt x="5776" y="4061"/>
                  </a:lnTo>
                  <a:lnTo>
                    <a:pt x="5755" y="4077"/>
                  </a:lnTo>
                  <a:lnTo>
                    <a:pt x="5755" y="4094"/>
                  </a:lnTo>
                  <a:lnTo>
                    <a:pt x="5743" y="4099"/>
                  </a:lnTo>
                  <a:lnTo>
                    <a:pt x="5743" y="4094"/>
                  </a:lnTo>
                  <a:lnTo>
                    <a:pt x="5705" y="4127"/>
                  </a:lnTo>
                  <a:lnTo>
                    <a:pt x="5689" y="4132"/>
                  </a:lnTo>
                  <a:lnTo>
                    <a:pt x="5689" y="4137"/>
                  </a:lnTo>
                  <a:lnTo>
                    <a:pt x="5684" y="4148"/>
                  </a:lnTo>
                  <a:lnTo>
                    <a:pt x="5592" y="4153"/>
                  </a:lnTo>
                  <a:lnTo>
                    <a:pt x="5561" y="4165"/>
                  </a:lnTo>
                  <a:lnTo>
                    <a:pt x="5570" y="4153"/>
                  </a:lnTo>
                  <a:lnTo>
                    <a:pt x="5561" y="4153"/>
                  </a:lnTo>
                  <a:lnTo>
                    <a:pt x="5554" y="4148"/>
                  </a:lnTo>
                  <a:lnTo>
                    <a:pt x="5516" y="4137"/>
                  </a:lnTo>
                  <a:lnTo>
                    <a:pt x="5452" y="4148"/>
                  </a:lnTo>
                  <a:lnTo>
                    <a:pt x="5415" y="4137"/>
                  </a:lnTo>
                  <a:lnTo>
                    <a:pt x="5313" y="4137"/>
                  </a:lnTo>
                  <a:lnTo>
                    <a:pt x="5259" y="4137"/>
                  </a:lnTo>
                  <a:lnTo>
                    <a:pt x="5252" y="4153"/>
                  </a:lnTo>
                  <a:lnTo>
                    <a:pt x="5230" y="4148"/>
                  </a:lnTo>
                  <a:lnTo>
                    <a:pt x="5183" y="4188"/>
                  </a:lnTo>
                  <a:lnTo>
                    <a:pt x="5176" y="4222"/>
                  </a:lnTo>
                  <a:lnTo>
                    <a:pt x="5162" y="4238"/>
                  </a:lnTo>
                  <a:lnTo>
                    <a:pt x="5112" y="4243"/>
                  </a:lnTo>
                  <a:lnTo>
                    <a:pt x="5107" y="4248"/>
                  </a:lnTo>
                  <a:lnTo>
                    <a:pt x="5074" y="4259"/>
                  </a:lnTo>
                  <a:lnTo>
                    <a:pt x="5041" y="4281"/>
                  </a:lnTo>
                  <a:lnTo>
                    <a:pt x="5037" y="4297"/>
                  </a:lnTo>
                  <a:lnTo>
                    <a:pt x="5004" y="4349"/>
                  </a:lnTo>
                  <a:lnTo>
                    <a:pt x="4982" y="4333"/>
                  </a:lnTo>
                  <a:lnTo>
                    <a:pt x="4907" y="4316"/>
                  </a:lnTo>
                  <a:lnTo>
                    <a:pt x="4982" y="4337"/>
                  </a:lnTo>
                  <a:lnTo>
                    <a:pt x="4999" y="4349"/>
                  </a:lnTo>
                  <a:lnTo>
                    <a:pt x="4982" y="4375"/>
                  </a:lnTo>
                  <a:lnTo>
                    <a:pt x="4966" y="4403"/>
                  </a:lnTo>
                  <a:lnTo>
                    <a:pt x="4944" y="4408"/>
                  </a:lnTo>
                  <a:lnTo>
                    <a:pt x="4928" y="4441"/>
                  </a:lnTo>
                  <a:lnTo>
                    <a:pt x="4890" y="4470"/>
                  </a:lnTo>
                  <a:lnTo>
                    <a:pt x="4944" y="4448"/>
                  </a:lnTo>
                  <a:lnTo>
                    <a:pt x="5020" y="4354"/>
                  </a:lnTo>
                  <a:lnTo>
                    <a:pt x="5107" y="4297"/>
                  </a:lnTo>
                  <a:lnTo>
                    <a:pt x="5247" y="4243"/>
                  </a:lnTo>
                  <a:lnTo>
                    <a:pt x="5301" y="4243"/>
                  </a:lnTo>
                  <a:lnTo>
                    <a:pt x="5344" y="4248"/>
                  </a:lnTo>
                  <a:lnTo>
                    <a:pt x="5381" y="4276"/>
                  </a:lnTo>
                  <a:lnTo>
                    <a:pt x="5393" y="4292"/>
                  </a:lnTo>
                  <a:lnTo>
                    <a:pt x="5360" y="4276"/>
                  </a:lnTo>
                  <a:lnTo>
                    <a:pt x="5393" y="4297"/>
                  </a:lnTo>
                  <a:lnTo>
                    <a:pt x="5381" y="4297"/>
                  </a:lnTo>
                  <a:lnTo>
                    <a:pt x="5381" y="4316"/>
                  </a:lnTo>
                  <a:lnTo>
                    <a:pt x="5306" y="4354"/>
                  </a:lnTo>
                  <a:lnTo>
                    <a:pt x="5268" y="4337"/>
                  </a:lnTo>
                  <a:lnTo>
                    <a:pt x="5200" y="4354"/>
                  </a:lnTo>
                  <a:lnTo>
                    <a:pt x="5237" y="4354"/>
                  </a:lnTo>
                  <a:lnTo>
                    <a:pt x="5275" y="4370"/>
                  </a:lnTo>
                  <a:lnTo>
                    <a:pt x="5285" y="4392"/>
                  </a:lnTo>
                  <a:lnTo>
                    <a:pt x="5313" y="4370"/>
                  </a:lnTo>
                  <a:lnTo>
                    <a:pt x="5344" y="4375"/>
                  </a:lnTo>
                  <a:lnTo>
                    <a:pt x="5355" y="4387"/>
                  </a:lnTo>
                  <a:lnTo>
                    <a:pt x="5339" y="4392"/>
                  </a:lnTo>
                  <a:lnTo>
                    <a:pt x="5339" y="4415"/>
                  </a:lnTo>
                  <a:lnTo>
                    <a:pt x="5306" y="4441"/>
                  </a:lnTo>
                  <a:lnTo>
                    <a:pt x="5344" y="4441"/>
                  </a:lnTo>
                  <a:lnTo>
                    <a:pt x="5339" y="4465"/>
                  </a:lnTo>
                  <a:lnTo>
                    <a:pt x="5355" y="4481"/>
                  </a:lnTo>
                  <a:lnTo>
                    <a:pt x="5365" y="4519"/>
                  </a:lnTo>
                  <a:lnTo>
                    <a:pt x="5415" y="4526"/>
                  </a:lnTo>
                  <a:lnTo>
                    <a:pt x="5393" y="4536"/>
                  </a:lnTo>
                  <a:lnTo>
                    <a:pt x="5419" y="4552"/>
                  </a:lnTo>
                  <a:lnTo>
                    <a:pt x="5436" y="4552"/>
                  </a:lnTo>
                  <a:lnTo>
                    <a:pt x="5448" y="4552"/>
                  </a:lnTo>
                  <a:lnTo>
                    <a:pt x="5431" y="4552"/>
                  </a:lnTo>
                  <a:lnTo>
                    <a:pt x="5452" y="4559"/>
                  </a:lnTo>
                  <a:lnTo>
                    <a:pt x="5448" y="4559"/>
                  </a:lnTo>
                  <a:lnTo>
                    <a:pt x="5490" y="4559"/>
                  </a:lnTo>
                  <a:lnTo>
                    <a:pt x="5507" y="4576"/>
                  </a:lnTo>
                  <a:lnTo>
                    <a:pt x="5544" y="4552"/>
                  </a:lnTo>
                  <a:lnTo>
                    <a:pt x="5544" y="4569"/>
                  </a:lnTo>
                  <a:lnTo>
                    <a:pt x="5570" y="4576"/>
                  </a:lnTo>
                  <a:lnTo>
                    <a:pt x="5575" y="4569"/>
                  </a:lnTo>
                  <a:lnTo>
                    <a:pt x="5592" y="4581"/>
                  </a:lnTo>
                  <a:lnTo>
                    <a:pt x="5575" y="4597"/>
                  </a:lnTo>
                  <a:lnTo>
                    <a:pt x="5613" y="4597"/>
                  </a:lnTo>
                  <a:lnTo>
                    <a:pt x="5608" y="4609"/>
                  </a:lnTo>
                  <a:lnTo>
                    <a:pt x="5592" y="4609"/>
                  </a:lnTo>
                  <a:lnTo>
                    <a:pt x="5582" y="4614"/>
                  </a:lnTo>
                  <a:lnTo>
                    <a:pt x="5507" y="4637"/>
                  </a:lnTo>
                  <a:lnTo>
                    <a:pt x="5485" y="4654"/>
                  </a:lnTo>
                  <a:lnTo>
                    <a:pt x="5469" y="4647"/>
                  </a:lnTo>
                  <a:lnTo>
                    <a:pt x="5469" y="4654"/>
                  </a:lnTo>
                  <a:lnTo>
                    <a:pt x="5462" y="4647"/>
                  </a:lnTo>
                  <a:lnTo>
                    <a:pt x="5436" y="4663"/>
                  </a:lnTo>
                  <a:lnTo>
                    <a:pt x="5419" y="4654"/>
                  </a:lnTo>
                  <a:lnTo>
                    <a:pt x="5436" y="4670"/>
                  </a:lnTo>
                  <a:lnTo>
                    <a:pt x="5431" y="4680"/>
                  </a:lnTo>
                  <a:lnTo>
                    <a:pt x="5410" y="4670"/>
                  </a:lnTo>
                  <a:lnTo>
                    <a:pt x="5410" y="4654"/>
                  </a:lnTo>
                  <a:lnTo>
                    <a:pt x="5398" y="4663"/>
                  </a:lnTo>
                  <a:lnTo>
                    <a:pt x="5398" y="4670"/>
                  </a:lnTo>
                  <a:lnTo>
                    <a:pt x="5393" y="4680"/>
                  </a:lnTo>
                  <a:lnTo>
                    <a:pt x="5381" y="4663"/>
                  </a:lnTo>
                  <a:lnTo>
                    <a:pt x="5377" y="4680"/>
                  </a:lnTo>
                  <a:lnTo>
                    <a:pt x="5381" y="4692"/>
                  </a:lnTo>
                  <a:lnTo>
                    <a:pt x="5360" y="4703"/>
                  </a:lnTo>
                  <a:lnTo>
                    <a:pt x="5355" y="4720"/>
                  </a:lnTo>
                  <a:lnTo>
                    <a:pt x="5344" y="4720"/>
                  </a:lnTo>
                  <a:lnTo>
                    <a:pt x="5327" y="4741"/>
                  </a:lnTo>
                  <a:lnTo>
                    <a:pt x="5306" y="4741"/>
                  </a:lnTo>
                  <a:lnTo>
                    <a:pt x="5301" y="4765"/>
                  </a:lnTo>
                  <a:lnTo>
                    <a:pt x="5289" y="4758"/>
                  </a:lnTo>
                  <a:lnTo>
                    <a:pt x="5275" y="4758"/>
                  </a:lnTo>
                  <a:lnTo>
                    <a:pt x="5268" y="4736"/>
                  </a:lnTo>
                  <a:lnTo>
                    <a:pt x="5259" y="4741"/>
                  </a:lnTo>
                  <a:lnTo>
                    <a:pt x="5247" y="4725"/>
                  </a:lnTo>
                  <a:lnTo>
                    <a:pt x="5247" y="4708"/>
                  </a:lnTo>
                  <a:lnTo>
                    <a:pt x="5252" y="4687"/>
                  </a:lnTo>
                  <a:lnTo>
                    <a:pt x="5268" y="4663"/>
                  </a:lnTo>
                  <a:lnTo>
                    <a:pt x="5247" y="4680"/>
                  </a:lnTo>
                  <a:lnTo>
                    <a:pt x="5259" y="4663"/>
                  </a:lnTo>
                  <a:lnTo>
                    <a:pt x="5285" y="4663"/>
                  </a:lnTo>
                  <a:lnTo>
                    <a:pt x="5289" y="4654"/>
                  </a:lnTo>
                  <a:lnTo>
                    <a:pt x="5285" y="4654"/>
                  </a:lnTo>
                  <a:lnTo>
                    <a:pt x="5285" y="4647"/>
                  </a:lnTo>
                  <a:lnTo>
                    <a:pt x="5377" y="4597"/>
                  </a:lnTo>
                  <a:lnTo>
                    <a:pt x="5365" y="4597"/>
                  </a:lnTo>
                  <a:lnTo>
                    <a:pt x="5377" y="4597"/>
                  </a:lnTo>
                  <a:lnTo>
                    <a:pt x="5377" y="4614"/>
                  </a:lnTo>
                  <a:lnTo>
                    <a:pt x="5381" y="4614"/>
                  </a:lnTo>
                  <a:lnTo>
                    <a:pt x="5393" y="4630"/>
                  </a:lnTo>
                  <a:lnTo>
                    <a:pt x="5393" y="4609"/>
                  </a:lnTo>
                  <a:lnTo>
                    <a:pt x="5448" y="4597"/>
                  </a:lnTo>
                  <a:lnTo>
                    <a:pt x="5360" y="4592"/>
                  </a:lnTo>
                  <a:lnTo>
                    <a:pt x="5339" y="4597"/>
                  </a:lnTo>
                  <a:lnTo>
                    <a:pt x="5344" y="4581"/>
                  </a:lnTo>
                  <a:lnTo>
                    <a:pt x="5381" y="4559"/>
                  </a:lnTo>
                  <a:lnTo>
                    <a:pt x="5377" y="4552"/>
                  </a:lnTo>
                  <a:lnTo>
                    <a:pt x="5365" y="4559"/>
                  </a:lnTo>
                  <a:lnTo>
                    <a:pt x="5344" y="4526"/>
                  </a:lnTo>
                  <a:lnTo>
                    <a:pt x="5360" y="4552"/>
                  </a:lnTo>
                  <a:lnTo>
                    <a:pt x="5344" y="4576"/>
                  </a:lnTo>
                  <a:lnTo>
                    <a:pt x="5339" y="4576"/>
                  </a:lnTo>
                  <a:lnTo>
                    <a:pt x="5268" y="4609"/>
                  </a:lnTo>
                  <a:lnTo>
                    <a:pt x="5252" y="4597"/>
                  </a:lnTo>
                  <a:lnTo>
                    <a:pt x="5259" y="4581"/>
                  </a:lnTo>
                  <a:lnTo>
                    <a:pt x="5247" y="4597"/>
                  </a:lnTo>
                  <a:lnTo>
                    <a:pt x="5252" y="4609"/>
                  </a:lnTo>
                  <a:lnTo>
                    <a:pt x="5230" y="4625"/>
                  </a:lnTo>
                  <a:lnTo>
                    <a:pt x="5221" y="4614"/>
                  </a:lnTo>
                  <a:lnTo>
                    <a:pt x="5204" y="4625"/>
                  </a:lnTo>
                  <a:lnTo>
                    <a:pt x="5192" y="4614"/>
                  </a:lnTo>
                  <a:lnTo>
                    <a:pt x="5176" y="4614"/>
                  </a:lnTo>
                  <a:lnTo>
                    <a:pt x="5176" y="4614"/>
                  </a:lnTo>
                  <a:lnTo>
                    <a:pt x="5176" y="4614"/>
                  </a:lnTo>
                  <a:close/>
                  <a:moveTo>
                    <a:pt x="3201" y="1748"/>
                  </a:moveTo>
                  <a:lnTo>
                    <a:pt x="3208" y="1753"/>
                  </a:lnTo>
                  <a:lnTo>
                    <a:pt x="3208" y="1765"/>
                  </a:lnTo>
                  <a:lnTo>
                    <a:pt x="3192" y="1765"/>
                  </a:lnTo>
                  <a:lnTo>
                    <a:pt x="3201" y="1748"/>
                  </a:lnTo>
                  <a:lnTo>
                    <a:pt x="3201" y="1748"/>
                  </a:lnTo>
                  <a:lnTo>
                    <a:pt x="3201" y="1748"/>
                  </a:lnTo>
                  <a:close/>
                  <a:moveTo>
                    <a:pt x="3095" y="1765"/>
                  </a:moveTo>
                  <a:lnTo>
                    <a:pt x="3100" y="1765"/>
                  </a:lnTo>
                  <a:lnTo>
                    <a:pt x="3083" y="1770"/>
                  </a:lnTo>
                  <a:lnTo>
                    <a:pt x="3095" y="1765"/>
                  </a:lnTo>
                  <a:lnTo>
                    <a:pt x="3095" y="1765"/>
                  </a:lnTo>
                  <a:lnTo>
                    <a:pt x="3095" y="1765"/>
                  </a:lnTo>
                  <a:close/>
                  <a:moveTo>
                    <a:pt x="4751" y="1770"/>
                  </a:moveTo>
                  <a:lnTo>
                    <a:pt x="4755" y="1770"/>
                  </a:lnTo>
                  <a:lnTo>
                    <a:pt x="4734" y="1786"/>
                  </a:lnTo>
                  <a:lnTo>
                    <a:pt x="4751" y="1770"/>
                  </a:lnTo>
                  <a:lnTo>
                    <a:pt x="4751" y="1770"/>
                  </a:lnTo>
                  <a:lnTo>
                    <a:pt x="4751" y="1770"/>
                  </a:lnTo>
                  <a:close/>
                  <a:moveTo>
                    <a:pt x="4772" y="1781"/>
                  </a:moveTo>
                  <a:lnTo>
                    <a:pt x="4789" y="1786"/>
                  </a:lnTo>
                  <a:lnTo>
                    <a:pt x="4784" y="1793"/>
                  </a:lnTo>
                  <a:lnTo>
                    <a:pt x="4767" y="1786"/>
                  </a:lnTo>
                  <a:lnTo>
                    <a:pt x="4772" y="1781"/>
                  </a:lnTo>
                  <a:lnTo>
                    <a:pt x="4772" y="1781"/>
                  </a:lnTo>
                  <a:lnTo>
                    <a:pt x="4772" y="1781"/>
                  </a:lnTo>
                  <a:close/>
                  <a:moveTo>
                    <a:pt x="4767" y="1826"/>
                  </a:moveTo>
                  <a:lnTo>
                    <a:pt x="4751" y="1819"/>
                  </a:lnTo>
                  <a:lnTo>
                    <a:pt x="4746" y="1793"/>
                  </a:lnTo>
                  <a:lnTo>
                    <a:pt x="4755" y="1786"/>
                  </a:lnTo>
                  <a:lnTo>
                    <a:pt x="4767" y="1793"/>
                  </a:lnTo>
                  <a:lnTo>
                    <a:pt x="4755" y="1803"/>
                  </a:lnTo>
                  <a:lnTo>
                    <a:pt x="4772" y="1793"/>
                  </a:lnTo>
                  <a:lnTo>
                    <a:pt x="4784" y="1803"/>
                  </a:lnTo>
                  <a:lnTo>
                    <a:pt x="4767" y="1810"/>
                  </a:lnTo>
                  <a:lnTo>
                    <a:pt x="4772" y="1819"/>
                  </a:lnTo>
                  <a:lnTo>
                    <a:pt x="4767" y="1826"/>
                  </a:lnTo>
                  <a:lnTo>
                    <a:pt x="4767" y="1826"/>
                  </a:lnTo>
                  <a:lnTo>
                    <a:pt x="4767" y="1826"/>
                  </a:lnTo>
                  <a:close/>
                  <a:moveTo>
                    <a:pt x="2953" y="1826"/>
                  </a:moveTo>
                  <a:lnTo>
                    <a:pt x="2948" y="1819"/>
                  </a:lnTo>
                  <a:lnTo>
                    <a:pt x="2953" y="1819"/>
                  </a:lnTo>
                  <a:lnTo>
                    <a:pt x="2953" y="1826"/>
                  </a:lnTo>
                  <a:lnTo>
                    <a:pt x="2953" y="1826"/>
                  </a:lnTo>
                  <a:lnTo>
                    <a:pt x="2953" y="1826"/>
                  </a:lnTo>
                  <a:close/>
                  <a:moveTo>
                    <a:pt x="3116" y="1826"/>
                  </a:moveTo>
                  <a:lnTo>
                    <a:pt x="3126" y="1836"/>
                  </a:lnTo>
                  <a:lnTo>
                    <a:pt x="3116" y="1836"/>
                  </a:lnTo>
                  <a:lnTo>
                    <a:pt x="3116" y="1826"/>
                  </a:lnTo>
                  <a:lnTo>
                    <a:pt x="3116" y="1826"/>
                  </a:lnTo>
                  <a:lnTo>
                    <a:pt x="3116" y="1826"/>
                  </a:lnTo>
                  <a:close/>
                  <a:moveTo>
                    <a:pt x="4852" y="1859"/>
                  </a:moveTo>
                  <a:lnTo>
                    <a:pt x="4881" y="1864"/>
                  </a:lnTo>
                  <a:lnTo>
                    <a:pt x="4881" y="1876"/>
                  </a:lnTo>
                  <a:lnTo>
                    <a:pt x="4843" y="1892"/>
                  </a:lnTo>
                  <a:lnTo>
                    <a:pt x="4822" y="1876"/>
                  </a:lnTo>
                  <a:lnTo>
                    <a:pt x="4836" y="1876"/>
                  </a:lnTo>
                  <a:lnTo>
                    <a:pt x="4836" y="1859"/>
                  </a:lnTo>
                  <a:lnTo>
                    <a:pt x="4852" y="1859"/>
                  </a:lnTo>
                  <a:lnTo>
                    <a:pt x="4852" y="1859"/>
                  </a:lnTo>
                  <a:lnTo>
                    <a:pt x="4852" y="1859"/>
                  </a:lnTo>
                  <a:close/>
                  <a:moveTo>
                    <a:pt x="2844" y="1904"/>
                  </a:moveTo>
                  <a:lnTo>
                    <a:pt x="2861" y="1921"/>
                  </a:lnTo>
                  <a:lnTo>
                    <a:pt x="2861" y="1937"/>
                  </a:lnTo>
                  <a:lnTo>
                    <a:pt x="2830" y="1921"/>
                  </a:lnTo>
                  <a:lnTo>
                    <a:pt x="2830" y="1904"/>
                  </a:lnTo>
                  <a:lnTo>
                    <a:pt x="2844" y="1904"/>
                  </a:lnTo>
                  <a:lnTo>
                    <a:pt x="2844" y="1904"/>
                  </a:lnTo>
                  <a:lnTo>
                    <a:pt x="2844" y="1904"/>
                  </a:lnTo>
                  <a:close/>
                  <a:moveTo>
                    <a:pt x="903" y="1914"/>
                  </a:moveTo>
                  <a:lnTo>
                    <a:pt x="886" y="1921"/>
                  </a:lnTo>
                  <a:lnTo>
                    <a:pt x="898" y="1904"/>
                  </a:lnTo>
                  <a:lnTo>
                    <a:pt x="903" y="1914"/>
                  </a:lnTo>
                  <a:lnTo>
                    <a:pt x="903" y="1914"/>
                  </a:lnTo>
                  <a:lnTo>
                    <a:pt x="903" y="1914"/>
                  </a:lnTo>
                  <a:close/>
                  <a:moveTo>
                    <a:pt x="1675" y="1921"/>
                  </a:moveTo>
                  <a:lnTo>
                    <a:pt x="1663" y="1921"/>
                  </a:lnTo>
                  <a:lnTo>
                    <a:pt x="1692" y="1921"/>
                  </a:lnTo>
                  <a:lnTo>
                    <a:pt x="1675" y="1921"/>
                  </a:lnTo>
                  <a:lnTo>
                    <a:pt x="1675" y="1921"/>
                  </a:lnTo>
                  <a:lnTo>
                    <a:pt x="1675" y="1921"/>
                  </a:lnTo>
                  <a:close/>
                  <a:moveTo>
                    <a:pt x="1760" y="1921"/>
                  </a:moveTo>
                  <a:lnTo>
                    <a:pt x="1765" y="1921"/>
                  </a:lnTo>
                  <a:lnTo>
                    <a:pt x="1751" y="1921"/>
                  </a:lnTo>
                  <a:lnTo>
                    <a:pt x="1760" y="1921"/>
                  </a:lnTo>
                  <a:lnTo>
                    <a:pt x="1760" y="1921"/>
                  </a:lnTo>
                  <a:lnTo>
                    <a:pt x="1760" y="1921"/>
                  </a:lnTo>
                  <a:close/>
                  <a:moveTo>
                    <a:pt x="1734" y="1921"/>
                  </a:moveTo>
                  <a:lnTo>
                    <a:pt x="1744" y="1921"/>
                  </a:lnTo>
                  <a:lnTo>
                    <a:pt x="1718" y="1921"/>
                  </a:lnTo>
                  <a:lnTo>
                    <a:pt x="1734" y="1921"/>
                  </a:lnTo>
                  <a:lnTo>
                    <a:pt x="1734" y="1921"/>
                  </a:lnTo>
                  <a:lnTo>
                    <a:pt x="1734" y="1921"/>
                  </a:lnTo>
                  <a:close/>
                  <a:moveTo>
                    <a:pt x="2823" y="1954"/>
                  </a:moveTo>
                  <a:lnTo>
                    <a:pt x="2823" y="1959"/>
                  </a:lnTo>
                  <a:lnTo>
                    <a:pt x="2814" y="1954"/>
                  </a:lnTo>
                  <a:lnTo>
                    <a:pt x="2823" y="1954"/>
                  </a:lnTo>
                  <a:lnTo>
                    <a:pt x="2823" y="1954"/>
                  </a:lnTo>
                  <a:lnTo>
                    <a:pt x="2823" y="1954"/>
                  </a:lnTo>
                  <a:close/>
                  <a:moveTo>
                    <a:pt x="1966" y="1954"/>
                  </a:moveTo>
                  <a:lnTo>
                    <a:pt x="1949" y="1954"/>
                  </a:lnTo>
                  <a:lnTo>
                    <a:pt x="1966" y="1954"/>
                  </a:lnTo>
                  <a:lnTo>
                    <a:pt x="1966" y="1954"/>
                  </a:lnTo>
                  <a:lnTo>
                    <a:pt x="1966" y="1954"/>
                  </a:lnTo>
                  <a:close/>
                  <a:moveTo>
                    <a:pt x="3773" y="1975"/>
                  </a:moveTo>
                  <a:lnTo>
                    <a:pt x="3811" y="1975"/>
                  </a:lnTo>
                  <a:lnTo>
                    <a:pt x="3827" y="1992"/>
                  </a:lnTo>
                  <a:lnTo>
                    <a:pt x="3780" y="1992"/>
                  </a:lnTo>
                  <a:lnTo>
                    <a:pt x="3763" y="1975"/>
                  </a:lnTo>
                  <a:lnTo>
                    <a:pt x="3773" y="1975"/>
                  </a:lnTo>
                  <a:lnTo>
                    <a:pt x="3773" y="1975"/>
                  </a:lnTo>
                  <a:lnTo>
                    <a:pt x="3773" y="1975"/>
                  </a:lnTo>
                  <a:close/>
                  <a:moveTo>
                    <a:pt x="3062" y="2003"/>
                  </a:moveTo>
                  <a:lnTo>
                    <a:pt x="3071" y="2008"/>
                  </a:lnTo>
                  <a:lnTo>
                    <a:pt x="3057" y="2003"/>
                  </a:lnTo>
                  <a:lnTo>
                    <a:pt x="3062" y="2003"/>
                  </a:lnTo>
                  <a:lnTo>
                    <a:pt x="3062" y="2003"/>
                  </a:lnTo>
                  <a:lnTo>
                    <a:pt x="3062" y="2003"/>
                  </a:lnTo>
                  <a:close/>
                  <a:moveTo>
                    <a:pt x="2932" y="2140"/>
                  </a:moveTo>
                  <a:lnTo>
                    <a:pt x="2911" y="2119"/>
                  </a:lnTo>
                  <a:lnTo>
                    <a:pt x="2915" y="2103"/>
                  </a:lnTo>
                  <a:lnTo>
                    <a:pt x="2948" y="2103"/>
                  </a:lnTo>
                  <a:lnTo>
                    <a:pt x="2991" y="2081"/>
                  </a:lnTo>
                  <a:lnTo>
                    <a:pt x="2974" y="2065"/>
                  </a:lnTo>
                  <a:lnTo>
                    <a:pt x="2986" y="2065"/>
                  </a:lnTo>
                  <a:lnTo>
                    <a:pt x="2974" y="2058"/>
                  </a:lnTo>
                  <a:lnTo>
                    <a:pt x="2974" y="2048"/>
                  </a:lnTo>
                  <a:lnTo>
                    <a:pt x="3019" y="2065"/>
                  </a:lnTo>
                  <a:lnTo>
                    <a:pt x="2991" y="2041"/>
                  </a:lnTo>
                  <a:lnTo>
                    <a:pt x="3003" y="2013"/>
                  </a:lnTo>
                  <a:lnTo>
                    <a:pt x="3024" y="2008"/>
                  </a:lnTo>
                  <a:lnTo>
                    <a:pt x="3062" y="2029"/>
                  </a:lnTo>
                  <a:lnTo>
                    <a:pt x="3057" y="2029"/>
                  </a:lnTo>
                  <a:lnTo>
                    <a:pt x="3062" y="2048"/>
                  </a:lnTo>
                  <a:lnTo>
                    <a:pt x="3071" y="2029"/>
                  </a:lnTo>
                  <a:lnTo>
                    <a:pt x="3095" y="2058"/>
                  </a:lnTo>
                  <a:lnTo>
                    <a:pt x="3137" y="2081"/>
                  </a:lnTo>
                  <a:lnTo>
                    <a:pt x="3137" y="2115"/>
                  </a:lnTo>
                  <a:lnTo>
                    <a:pt x="3147" y="2119"/>
                  </a:lnTo>
                  <a:lnTo>
                    <a:pt x="3147" y="2098"/>
                  </a:lnTo>
                  <a:lnTo>
                    <a:pt x="3154" y="2086"/>
                  </a:lnTo>
                  <a:lnTo>
                    <a:pt x="3170" y="2136"/>
                  </a:lnTo>
                  <a:lnTo>
                    <a:pt x="3208" y="2140"/>
                  </a:lnTo>
                  <a:lnTo>
                    <a:pt x="3192" y="2157"/>
                  </a:lnTo>
                  <a:lnTo>
                    <a:pt x="3170" y="2152"/>
                  </a:lnTo>
                  <a:lnTo>
                    <a:pt x="3137" y="2181"/>
                  </a:lnTo>
                  <a:lnTo>
                    <a:pt x="3116" y="2192"/>
                  </a:lnTo>
                  <a:lnTo>
                    <a:pt x="3007" y="2157"/>
                  </a:lnTo>
                  <a:lnTo>
                    <a:pt x="2991" y="2136"/>
                  </a:lnTo>
                  <a:lnTo>
                    <a:pt x="2986" y="2152"/>
                  </a:lnTo>
                  <a:lnTo>
                    <a:pt x="2974" y="2152"/>
                  </a:lnTo>
                  <a:lnTo>
                    <a:pt x="2953" y="2140"/>
                  </a:lnTo>
                  <a:lnTo>
                    <a:pt x="2953" y="2124"/>
                  </a:lnTo>
                  <a:lnTo>
                    <a:pt x="2932" y="2140"/>
                  </a:lnTo>
                  <a:lnTo>
                    <a:pt x="2932" y="2140"/>
                  </a:lnTo>
                  <a:lnTo>
                    <a:pt x="2932" y="2140"/>
                  </a:lnTo>
                  <a:close/>
                  <a:moveTo>
                    <a:pt x="3470" y="2025"/>
                  </a:moveTo>
                  <a:lnTo>
                    <a:pt x="3456" y="2013"/>
                  </a:lnTo>
                  <a:lnTo>
                    <a:pt x="3478" y="2008"/>
                  </a:lnTo>
                  <a:lnTo>
                    <a:pt x="3470" y="2025"/>
                  </a:lnTo>
                  <a:lnTo>
                    <a:pt x="3470" y="2025"/>
                  </a:lnTo>
                  <a:lnTo>
                    <a:pt x="3470" y="2025"/>
                  </a:lnTo>
                  <a:close/>
                  <a:moveTo>
                    <a:pt x="4096" y="2008"/>
                  </a:moveTo>
                  <a:lnTo>
                    <a:pt x="4108" y="2013"/>
                  </a:lnTo>
                  <a:lnTo>
                    <a:pt x="4087" y="2008"/>
                  </a:lnTo>
                  <a:lnTo>
                    <a:pt x="4096" y="2008"/>
                  </a:lnTo>
                  <a:lnTo>
                    <a:pt x="4096" y="2008"/>
                  </a:lnTo>
                  <a:lnTo>
                    <a:pt x="4096" y="2008"/>
                  </a:lnTo>
                  <a:close/>
                  <a:moveTo>
                    <a:pt x="4028" y="2025"/>
                  </a:moveTo>
                  <a:lnTo>
                    <a:pt x="4016" y="2029"/>
                  </a:lnTo>
                  <a:lnTo>
                    <a:pt x="4000" y="2025"/>
                  </a:lnTo>
                  <a:lnTo>
                    <a:pt x="4028" y="2025"/>
                  </a:lnTo>
                  <a:lnTo>
                    <a:pt x="4028" y="2025"/>
                  </a:lnTo>
                  <a:lnTo>
                    <a:pt x="4028" y="2025"/>
                  </a:lnTo>
                  <a:close/>
                  <a:moveTo>
                    <a:pt x="4297" y="2025"/>
                  </a:moveTo>
                  <a:lnTo>
                    <a:pt x="4314" y="2013"/>
                  </a:lnTo>
                  <a:lnTo>
                    <a:pt x="4323" y="2029"/>
                  </a:lnTo>
                  <a:lnTo>
                    <a:pt x="4302" y="2041"/>
                  </a:lnTo>
                  <a:lnTo>
                    <a:pt x="4271" y="2041"/>
                  </a:lnTo>
                  <a:lnTo>
                    <a:pt x="4281" y="2058"/>
                  </a:lnTo>
                  <a:lnTo>
                    <a:pt x="4243" y="2029"/>
                  </a:lnTo>
                  <a:lnTo>
                    <a:pt x="4217" y="2029"/>
                  </a:lnTo>
                  <a:lnTo>
                    <a:pt x="4248" y="2013"/>
                  </a:lnTo>
                  <a:lnTo>
                    <a:pt x="4297" y="2025"/>
                  </a:lnTo>
                  <a:lnTo>
                    <a:pt x="4297" y="2025"/>
                  </a:lnTo>
                  <a:lnTo>
                    <a:pt x="4297" y="2025"/>
                  </a:lnTo>
                  <a:close/>
                  <a:moveTo>
                    <a:pt x="4082" y="2013"/>
                  </a:moveTo>
                  <a:lnTo>
                    <a:pt x="4104" y="2029"/>
                  </a:lnTo>
                  <a:lnTo>
                    <a:pt x="4082" y="2025"/>
                  </a:lnTo>
                  <a:lnTo>
                    <a:pt x="4082" y="2013"/>
                  </a:lnTo>
                  <a:lnTo>
                    <a:pt x="4082" y="2013"/>
                  </a:lnTo>
                  <a:lnTo>
                    <a:pt x="4082" y="2013"/>
                  </a:lnTo>
                  <a:close/>
                  <a:moveTo>
                    <a:pt x="4411" y="2025"/>
                  </a:moveTo>
                  <a:lnTo>
                    <a:pt x="4422" y="2041"/>
                  </a:lnTo>
                  <a:lnTo>
                    <a:pt x="4356" y="2065"/>
                  </a:lnTo>
                  <a:lnTo>
                    <a:pt x="4411" y="2025"/>
                  </a:lnTo>
                  <a:lnTo>
                    <a:pt x="4411" y="2025"/>
                  </a:lnTo>
                  <a:lnTo>
                    <a:pt x="4411" y="2025"/>
                  </a:lnTo>
                  <a:close/>
                  <a:moveTo>
                    <a:pt x="2731" y="2029"/>
                  </a:moveTo>
                  <a:lnTo>
                    <a:pt x="2731" y="2041"/>
                  </a:lnTo>
                  <a:lnTo>
                    <a:pt x="2722" y="2029"/>
                  </a:lnTo>
                  <a:lnTo>
                    <a:pt x="2731" y="2029"/>
                  </a:lnTo>
                  <a:lnTo>
                    <a:pt x="2731" y="2029"/>
                  </a:lnTo>
                  <a:lnTo>
                    <a:pt x="2731" y="2029"/>
                  </a:lnTo>
                  <a:close/>
                  <a:moveTo>
                    <a:pt x="378" y="2119"/>
                  </a:moveTo>
                  <a:lnTo>
                    <a:pt x="385" y="2119"/>
                  </a:lnTo>
                  <a:lnTo>
                    <a:pt x="357" y="2115"/>
                  </a:lnTo>
                  <a:lnTo>
                    <a:pt x="357" y="2086"/>
                  </a:lnTo>
                  <a:lnTo>
                    <a:pt x="385" y="2103"/>
                  </a:lnTo>
                  <a:lnTo>
                    <a:pt x="362" y="2086"/>
                  </a:lnTo>
                  <a:lnTo>
                    <a:pt x="385" y="2081"/>
                  </a:lnTo>
                  <a:lnTo>
                    <a:pt x="411" y="2086"/>
                  </a:lnTo>
                  <a:lnTo>
                    <a:pt x="400" y="2065"/>
                  </a:lnTo>
                  <a:lnTo>
                    <a:pt x="411" y="2065"/>
                  </a:lnTo>
                  <a:lnTo>
                    <a:pt x="466" y="2065"/>
                  </a:lnTo>
                  <a:lnTo>
                    <a:pt x="466" y="2041"/>
                  </a:lnTo>
                  <a:lnTo>
                    <a:pt x="454" y="2029"/>
                  </a:lnTo>
                  <a:lnTo>
                    <a:pt x="475" y="2029"/>
                  </a:lnTo>
                  <a:lnTo>
                    <a:pt x="475" y="2048"/>
                  </a:lnTo>
                  <a:lnTo>
                    <a:pt x="508" y="2048"/>
                  </a:lnTo>
                  <a:lnTo>
                    <a:pt x="466" y="2103"/>
                  </a:lnTo>
                  <a:lnTo>
                    <a:pt x="449" y="2119"/>
                  </a:lnTo>
                  <a:lnTo>
                    <a:pt x="475" y="2157"/>
                  </a:lnTo>
                  <a:lnTo>
                    <a:pt x="466" y="2157"/>
                  </a:lnTo>
                  <a:lnTo>
                    <a:pt x="433" y="2119"/>
                  </a:lnTo>
                  <a:lnTo>
                    <a:pt x="423" y="2136"/>
                  </a:lnTo>
                  <a:lnTo>
                    <a:pt x="357" y="2124"/>
                  </a:lnTo>
                  <a:lnTo>
                    <a:pt x="357" y="2115"/>
                  </a:lnTo>
                  <a:lnTo>
                    <a:pt x="378" y="2119"/>
                  </a:lnTo>
                  <a:lnTo>
                    <a:pt x="378" y="2119"/>
                  </a:lnTo>
                  <a:lnTo>
                    <a:pt x="378" y="2119"/>
                  </a:lnTo>
                  <a:close/>
                  <a:moveTo>
                    <a:pt x="5129" y="2029"/>
                  </a:moveTo>
                  <a:lnTo>
                    <a:pt x="5129" y="2041"/>
                  </a:lnTo>
                  <a:lnTo>
                    <a:pt x="5129" y="2058"/>
                  </a:lnTo>
                  <a:lnTo>
                    <a:pt x="5107" y="2048"/>
                  </a:lnTo>
                  <a:lnTo>
                    <a:pt x="5129" y="2029"/>
                  </a:lnTo>
                  <a:lnTo>
                    <a:pt x="5129" y="2029"/>
                  </a:lnTo>
                  <a:lnTo>
                    <a:pt x="5129" y="2029"/>
                  </a:lnTo>
                  <a:close/>
                  <a:moveTo>
                    <a:pt x="130" y="2058"/>
                  </a:moveTo>
                  <a:lnTo>
                    <a:pt x="114" y="2048"/>
                  </a:lnTo>
                  <a:lnTo>
                    <a:pt x="130" y="2041"/>
                  </a:lnTo>
                  <a:lnTo>
                    <a:pt x="152" y="2048"/>
                  </a:lnTo>
                  <a:lnTo>
                    <a:pt x="130" y="2058"/>
                  </a:lnTo>
                  <a:lnTo>
                    <a:pt x="130" y="2058"/>
                  </a:lnTo>
                  <a:lnTo>
                    <a:pt x="130" y="2058"/>
                  </a:lnTo>
                  <a:close/>
                  <a:moveTo>
                    <a:pt x="3192" y="2048"/>
                  </a:moveTo>
                  <a:lnTo>
                    <a:pt x="3201" y="2058"/>
                  </a:lnTo>
                  <a:lnTo>
                    <a:pt x="3192" y="2081"/>
                  </a:lnTo>
                  <a:lnTo>
                    <a:pt x="3180" y="2081"/>
                  </a:lnTo>
                  <a:lnTo>
                    <a:pt x="3180" y="2070"/>
                  </a:lnTo>
                  <a:lnTo>
                    <a:pt x="3180" y="2058"/>
                  </a:lnTo>
                  <a:lnTo>
                    <a:pt x="3170" y="2048"/>
                  </a:lnTo>
                  <a:lnTo>
                    <a:pt x="3163" y="2081"/>
                  </a:lnTo>
                  <a:lnTo>
                    <a:pt x="3154" y="2070"/>
                  </a:lnTo>
                  <a:lnTo>
                    <a:pt x="3154" y="2058"/>
                  </a:lnTo>
                  <a:lnTo>
                    <a:pt x="3163" y="2048"/>
                  </a:lnTo>
                  <a:lnTo>
                    <a:pt x="3192" y="2048"/>
                  </a:lnTo>
                  <a:lnTo>
                    <a:pt x="3192" y="2048"/>
                  </a:lnTo>
                  <a:lnTo>
                    <a:pt x="3192" y="2048"/>
                  </a:lnTo>
                  <a:close/>
                  <a:moveTo>
                    <a:pt x="5150" y="2058"/>
                  </a:moveTo>
                  <a:lnTo>
                    <a:pt x="5138" y="2058"/>
                  </a:lnTo>
                  <a:lnTo>
                    <a:pt x="5167" y="2048"/>
                  </a:lnTo>
                  <a:lnTo>
                    <a:pt x="5150" y="2058"/>
                  </a:lnTo>
                  <a:lnTo>
                    <a:pt x="5150" y="2058"/>
                  </a:lnTo>
                  <a:lnTo>
                    <a:pt x="5150" y="2058"/>
                  </a:lnTo>
                  <a:close/>
                  <a:moveTo>
                    <a:pt x="3147" y="2048"/>
                  </a:moveTo>
                  <a:lnTo>
                    <a:pt x="3147" y="2081"/>
                  </a:lnTo>
                  <a:lnTo>
                    <a:pt x="3109" y="2048"/>
                  </a:lnTo>
                  <a:lnTo>
                    <a:pt x="3147" y="2048"/>
                  </a:lnTo>
                  <a:lnTo>
                    <a:pt x="3147" y="2048"/>
                  </a:lnTo>
                  <a:lnTo>
                    <a:pt x="3147" y="2048"/>
                  </a:lnTo>
                  <a:close/>
                  <a:moveTo>
                    <a:pt x="2802" y="2058"/>
                  </a:moveTo>
                  <a:lnTo>
                    <a:pt x="2807" y="2065"/>
                  </a:lnTo>
                  <a:lnTo>
                    <a:pt x="2793" y="2070"/>
                  </a:lnTo>
                  <a:lnTo>
                    <a:pt x="2793" y="2065"/>
                  </a:lnTo>
                  <a:lnTo>
                    <a:pt x="2776" y="2058"/>
                  </a:lnTo>
                  <a:lnTo>
                    <a:pt x="2785" y="2048"/>
                  </a:lnTo>
                  <a:lnTo>
                    <a:pt x="2802" y="2058"/>
                  </a:lnTo>
                  <a:lnTo>
                    <a:pt x="2802" y="2058"/>
                  </a:lnTo>
                  <a:lnTo>
                    <a:pt x="2802" y="2058"/>
                  </a:lnTo>
                  <a:close/>
                  <a:moveTo>
                    <a:pt x="3563" y="2065"/>
                  </a:moveTo>
                  <a:lnTo>
                    <a:pt x="3563" y="2081"/>
                  </a:lnTo>
                  <a:lnTo>
                    <a:pt x="3558" y="2086"/>
                  </a:lnTo>
                  <a:lnTo>
                    <a:pt x="3541" y="2081"/>
                  </a:lnTo>
                  <a:lnTo>
                    <a:pt x="3563" y="2065"/>
                  </a:lnTo>
                  <a:lnTo>
                    <a:pt x="3563" y="2065"/>
                  </a:lnTo>
                  <a:lnTo>
                    <a:pt x="3563" y="2065"/>
                  </a:lnTo>
                  <a:close/>
                  <a:moveTo>
                    <a:pt x="4481" y="2065"/>
                  </a:moveTo>
                  <a:lnTo>
                    <a:pt x="4512" y="2065"/>
                  </a:lnTo>
                  <a:lnTo>
                    <a:pt x="4512" y="2081"/>
                  </a:lnTo>
                  <a:lnTo>
                    <a:pt x="4486" y="2103"/>
                  </a:lnTo>
                  <a:lnTo>
                    <a:pt x="4465" y="2103"/>
                  </a:lnTo>
                  <a:lnTo>
                    <a:pt x="4460" y="2086"/>
                  </a:lnTo>
                  <a:lnTo>
                    <a:pt x="4465" y="2070"/>
                  </a:lnTo>
                  <a:lnTo>
                    <a:pt x="4481" y="2065"/>
                  </a:lnTo>
                  <a:lnTo>
                    <a:pt x="4481" y="2065"/>
                  </a:lnTo>
                  <a:lnTo>
                    <a:pt x="4481" y="2065"/>
                  </a:lnTo>
                  <a:close/>
                  <a:moveTo>
                    <a:pt x="400" y="2081"/>
                  </a:moveTo>
                  <a:lnTo>
                    <a:pt x="385" y="2070"/>
                  </a:lnTo>
                  <a:lnTo>
                    <a:pt x="400" y="2070"/>
                  </a:lnTo>
                  <a:lnTo>
                    <a:pt x="400" y="2081"/>
                  </a:lnTo>
                  <a:lnTo>
                    <a:pt x="400" y="2081"/>
                  </a:lnTo>
                  <a:lnTo>
                    <a:pt x="400" y="2081"/>
                  </a:lnTo>
                  <a:close/>
                  <a:moveTo>
                    <a:pt x="4389" y="2070"/>
                  </a:moveTo>
                  <a:lnTo>
                    <a:pt x="4406" y="2081"/>
                  </a:lnTo>
                  <a:lnTo>
                    <a:pt x="4356" y="2136"/>
                  </a:lnTo>
                  <a:lnTo>
                    <a:pt x="4335" y="2140"/>
                  </a:lnTo>
                  <a:lnTo>
                    <a:pt x="4318" y="2136"/>
                  </a:lnTo>
                  <a:lnTo>
                    <a:pt x="4335" y="2115"/>
                  </a:lnTo>
                  <a:lnTo>
                    <a:pt x="4356" y="2103"/>
                  </a:lnTo>
                  <a:lnTo>
                    <a:pt x="4368" y="2081"/>
                  </a:lnTo>
                  <a:lnTo>
                    <a:pt x="4389" y="2070"/>
                  </a:lnTo>
                  <a:lnTo>
                    <a:pt x="4389" y="2070"/>
                  </a:lnTo>
                  <a:lnTo>
                    <a:pt x="4389" y="2070"/>
                  </a:lnTo>
                  <a:close/>
                  <a:moveTo>
                    <a:pt x="3541" y="2098"/>
                  </a:moveTo>
                  <a:lnTo>
                    <a:pt x="3525" y="2081"/>
                  </a:lnTo>
                  <a:lnTo>
                    <a:pt x="3532" y="2070"/>
                  </a:lnTo>
                  <a:lnTo>
                    <a:pt x="3546" y="2086"/>
                  </a:lnTo>
                  <a:lnTo>
                    <a:pt x="3541" y="2098"/>
                  </a:lnTo>
                  <a:lnTo>
                    <a:pt x="3541" y="2098"/>
                  </a:lnTo>
                  <a:lnTo>
                    <a:pt x="3541" y="2098"/>
                  </a:lnTo>
                  <a:close/>
                  <a:moveTo>
                    <a:pt x="2769" y="2098"/>
                  </a:moveTo>
                  <a:lnTo>
                    <a:pt x="2769" y="2115"/>
                  </a:lnTo>
                  <a:lnTo>
                    <a:pt x="2755" y="2115"/>
                  </a:lnTo>
                  <a:lnTo>
                    <a:pt x="2759" y="2098"/>
                  </a:lnTo>
                  <a:lnTo>
                    <a:pt x="2769" y="2098"/>
                  </a:lnTo>
                  <a:lnTo>
                    <a:pt x="2769" y="2098"/>
                  </a:lnTo>
                  <a:lnTo>
                    <a:pt x="2769" y="2098"/>
                  </a:lnTo>
                  <a:close/>
                  <a:moveTo>
                    <a:pt x="3563" y="2115"/>
                  </a:moveTo>
                  <a:lnTo>
                    <a:pt x="3570" y="2115"/>
                  </a:lnTo>
                  <a:lnTo>
                    <a:pt x="3558" y="2115"/>
                  </a:lnTo>
                  <a:lnTo>
                    <a:pt x="3563" y="2115"/>
                  </a:lnTo>
                  <a:lnTo>
                    <a:pt x="3563" y="2115"/>
                  </a:lnTo>
                  <a:lnTo>
                    <a:pt x="3563" y="2115"/>
                  </a:lnTo>
                  <a:close/>
                  <a:moveTo>
                    <a:pt x="2868" y="2103"/>
                  </a:moveTo>
                  <a:lnTo>
                    <a:pt x="2878" y="2119"/>
                  </a:lnTo>
                  <a:lnTo>
                    <a:pt x="2878" y="2124"/>
                  </a:lnTo>
                  <a:lnTo>
                    <a:pt x="2861" y="2119"/>
                  </a:lnTo>
                  <a:lnTo>
                    <a:pt x="2868" y="2103"/>
                  </a:lnTo>
                  <a:lnTo>
                    <a:pt x="2868" y="2103"/>
                  </a:lnTo>
                  <a:lnTo>
                    <a:pt x="2868" y="2103"/>
                  </a:lnTo>
                  <a:close/>
                  <a:moveTo>
                    <a:pt x="2856" y="2119"/>
                  </a:moveTo>
                  <a:lnTo>
                    <a:pt x="2868" y="2136"/>
                  </a:lnTo>
                  <a:lnTo>
                    <a:pt x="2861" y="2140"/>
                  </a:lnTo>
                  <a:lnTo>
                    <a:pt x="2856" y="2157"/>
                  </a:lnTo>
                  <a:lnTo>
                    <a:pt x="2830" y="2152"/>
                  </a:lnTo>
                  <a:lnTo>
                    <a:pt x="2830" y="2119"/>
                  </a:lnTo>
                  <a:lnTo>
                    <a:pt x="2856" y="2119"/>
                  </a:lnTo>
                  <a:lnTo>
                    <a:pt x="2856" y="2119"/>
                  </a:lnTo>
                  <a:lnTo>
                    <a:pt x="2856" y="2119"/>
                  </a:lnTo>
                  <a:close/>
                  <a:moveTo>
                    <a:pt x="3584" y="2124"/>
                  </a:moveTo>
                  <a:lnTo>
                    <a:pt x="3570" y="2119"/>
                  </a:lnTo>
                  <a:lnTo>
                    <a:pt x="3584" y="2119"/>
                  </a:lnTo>
                  <a:lnTo>
                    <a:pt x="3584" y="2124"/>
                  </a:lnTo>
                  <a:lnTo>
                    <a:pt x="3584" y="2124"/>
                  </a:lnTo>
                  <a:lnTo>
                    <a:pt x="3584" y="2124"/>
                  </a:lnTo>
                  <a:close/>
                  <a:moveTo>
                    <a:pt x="5129" y="2124"/>
                  </a:moveTo>
                  <a:lnTo>
                    <a:pt x="5129" y="2136"/>
                  </a:lnTo>
                  <a:lnTo>
                    <a:pt x="5124" y="2124"/>
                  </a:lnTo>
                  <a:lnTo>
                    <a:pt x="5129" y="2124"/>
                  </a:lnTo>
                  <a:lnTo>
                    <a:pt x="5129" y="2124"/>
                  </a:lnTo>
                  <a:lnTo>
                    <a:pt x="5129" y="2124"/>
                  </a:lnTo>
                  <a:close/>
                  <a:moveTo>
                    <a:pt x="3579" y="2157"/>
                  </a:moveTo>
                  <a:lnTo>
                    <a:pt x="3579" y="2152"/>
                  </a:lnTo>
                  <a:lnTo>
                    <a:pt x="3579" y="2140"/>
                  </a:lnTo>
                  <a:lnTo>
                    <a:pt x="3596" y="2152"/>
                  </a:lnTo>
                  <a:lnTo>
                    <a:pt x="3579" y="2157"/>
                  </a:lnTo>
                  <a:lnTo>
                    <a:pt x="3579" y="2157"/>
                  </a:lnTo>
                  <a:lnTo>
                    <a:pt x="3579" y="2157"/>
                  </a:lnTo>
                  <a:close/>
                  <a:moveTo>
                    <a:pt x="2759" y="2152"/>
                  </a:moveTo>
                  <a:lnTo>
                    <a:pt x="2759" y="2157"/>
                  </a:lnTo>
                  <a:lnTo>
                    <a:pt x="2748" y="2176"/>
                  </a:lnTo>
                  <a:lnTo>
                    <a:pt x="2717" y="2157"/>
                  </a:lnTo>
                  <a:lnTo>
                    <a:pt x="2738" y="2140"/>
                  </a:lnTo>
                  <a:lnTo>
                    <a:pt x="2759" y="2152"/>
                  </a:lnTo>
                  <a:lnTo>
                    <a:pt x="2759" y="2152"/>
                  </a:lnTo>
                  <a:lnTo>
                    <a:pt x="2759" y="2152"/>
                  </a:lnTo>
                  <a:close/>
                  <a:moveTo>
                    <a:pt x="4626" y="2157"/>
                  </a:moveTo>
                  <a:lnTo>
                    <a:pt x="4642" y="2181"/>
                  </a:lnTo>
                  <a:lnTo>
                    <a:pt x="4642" y="2209"/>
                  </a:lnTo>
                  <a:lnTo>
                    <a:pt x="4595" y="2181"/>
                  </a:lnTo>
                  <a:lnTo>
                    <a:pt x="4611" y="2157"/>
                  </a:lnTo>
                  <a:lnTo>
                    <a:pt x="4626" y="2157"/>
                  </a:lnTo>
                  <a:lnTo>
                    <a:pt x="4626" y="2157"/>
                  </a:lnTo>
                  <a:lnTo>
                    <a:pt x="4626" y="2157"/>
                  </a:lnTo>
                  <a:close/>
                  <a:moveTo>
                    <a:pt x="4642" y="2157"/>
                  </a:moveTo>
                  <a:lnTo>
                    <a:pt x="4663" y="2176"/>
                  </a:lnTo>
                  <a:lnTo>
                    <a:pt x="4637" y="2169"/>
                  </a:lnTo>
                  <a:lnTo>
                    <a:pt x="4642" y="2157"/>
                  </a:lnTo>
                  <a:lnTo>
                    <a:pt x="4642" y="2157"/>
                  </a:lnTo>
                  <a:lnTo>
                    <a:pt x="4642" y="2157"/>
                  </a:lnTo>
                  <a:close/>
                  <a:moveTo>
                    <a:pt x="4368" y="2192"/>
                  </a:moveTo>
                  <a:lnTo>
                    <a:pt x="4352" y="2181"/>
                  </a:lnTo>
                  <a:lnTo>
                    <a:pt x="4373" y="2176"/>
                  </a:lnTo>
                  <a:lnTo>
                    <a:pt x="4356" y="2169"/>
                  </a:lnTo>
                  <a:lnTo>
                    <a:pt x="4389" y="2169"/>
                  </a:lnTo>
                  <a:lnTo>
                    <a:pt x="4368" y="2192"/>
                  </a:lnTo>
                  <a:lnTo>
                    <a:pt x="4368" y="2192"/>
                  </a:lnTo>
                  <a:lnTo>
                    <a:pt x="4368" y="2192"/>
                  </a:lnTo>
                  <a:close/>
                  <a:moveTo>
                    <a:pt x="2516" y="2176"/>
                  </a:moveTo>
                  <a:lnTo>
                    <a:pt x="2521" y="2181"/>
                  </a:lnTo>
                  <a:lnTo>
                    <a:pt x="2504" y="2176"/>
                  </a:lnTo>
                  <a:lnTo>
                    <a:pt x="2516" y="2176"/>
                  </a:lnTo>
                  <a:lnTo>
                    <a:pt x="2516" y="2176"/>
                  </a:lnTo>
                  <a:lnTo>
                    <a:pt x="2516" y="2176"/>
                  </a:lnTo>
                  <a:close/>
                  <a:moveTo>
                    <a:pt x="2542" y="2176"/>
                  </a:moveTo>
                  <a:lnTo>
                    <a:pt x="2570" y="2192"/>
                  </a:lnTo>
                  <a:lnTo>
                    <a:pt x="2542" y="2197"/>
                  </a:lnTo>
                  <a:lnTo>
                    <a:pt x="2521" y="2176"/>
                  </a:lnTo>
                  <a:lnTo>
                    <a:pt x="2542" y="2176"/>
                  </a:lnTo>
                  <a:lnTo>
                    <a:pt x="2542" y="2176"/>
                  </a:lnTo>
                  <a:lnTo>
                    <a:pt x="2542" y="2176"/>
                  </a:lnTo>
                  <a:close/>
                  <a:moveTo>
                    <a:pt x="2129" y="2176"/>
                  </a:moveTo>
                  <a:lnTo>
                    <a:pt x="2138" y="2176"/>
                  </a:lnTo>
                  <a:lnTo>
                    <a:pt x="2122" y="2176"/>
                  </a:lnTo>
                  <a:lnTo>
                    <a:pt x="2129" y="2176"/>
                  </a:lnTo>
                  <a:lnTo>
                    <a:pt x="2129" y="2176"/>
                  </a:lnTo>
                  <a:lnTo>
                    <a:pt x="2129" y="2176"/>
                  </a:lnTo>
                  <a:close/>
                  <a:moveTo>
                    <a:pt x="2122" y="2181"/>
                  </a:moveTo>
                  <a:lnTo>
                    <a:pt x="2100" y="2181"/>
                  </a:lnTo>
                  <a:lnTo>
                    <a:pt x="2122" y="2176"/>
                  </a:lnTo>
                  <a:lnTo>
                    <a:pt x="2122" y="2181"/>
                  </a:lnTo>
                  <a:lnTo>
                    <a:pt x="2122" y="2181"/>
                  </a:lnTo>
                  <a:lnTo>
                    <a:pt x="2122" y="2181"/>
                  </a:lnTo>
                  <a:close/>
                  <a:moveTo>
                    <a:pt x="4675" y="2192"/>
                  </a:moveTo>
                  <a:lnTo>
                    <a:pt x="4696" y="2209"/>
                  </a:lnTo>
                  <a:lnTo>
                    <a:pt x="4680" y="2214"/>
                  </a:lnTo>
                  <a:lnTo>
                    <a:pt x="4675" y="2197"/>
                  </a:lnTo>
                  <a:lnTo>
                    <a:pt x="4675" y="2192"/>
                  </a:lnTo>
                  <a:lnTo>
                    <a:pt x="4675" y="2192"/>
                  </a:lnTo>
                  <a:lnTo>
                    <a:pt x="4675" y="2192"/>
                  </a:lnTo>
                  <a:close/>
                  <a:moveTo>
                    <a:pt x="2868" y="2197"/>
                  </a:moveTo>
                  <a:lnTo>
                    <a:pt x="2868" y="2214"/>
                  </a:lnTo>
                  <a:lnTo>
                    <a:pt x="2861" y="2209"/>
                  </a:lnTo>
                  <a:lnTo>
                    <a:pt x="2868" y="2197"/>
                  </a:lnTo>
                  <a:lnTo>
                    <a:pt x="2868" y="2197"/>
                  </a:lnTo>
                  <a:lnTo>
                    <a:pt x="2868" y="2197"/>
                  </a:lnTo>
                  <a:close/>
                  <a:moveTo>
                    <a:pt x="4340" y="2197"/>
                  </a:moveTo>
                  <a:lnTo>
                    <a:pt x="4368" y="2214"/>
                  </a:lnTo>
                  <a:lnTo>
                    <a:pt x="4340" y="2226"/>
                  </a:lnTo>
                  <a:lnTo>
                    <a:pt x="4335" y="2214"/>
                  </a:lnTo>
                  <a:lnTo>
                    <a:pt x="4340" y="2197"/>
                  </a:lnTo>
                  <a:lnTo>
                    <a:pt x="4340" y="2197"/>
                  </a:lnTo>
                  <a:lnTo>
                    <a:pt x="4340" y="2197"/>
                  </a:lnTo>
                  <a:close/>
                  <a:moveTo>
                    <a:pt x="4512" y="2341"/>
                  </a:moveTo>
                  <a:lnTo>
                    <a:pt x="4481" y="2337"/>
                  </a:lnTo>
                  <a:lnTo>
                    <a:pt x="4474" y="2308"/>
                  </a:lnTo>
                  <a:lnTo>
                    <a:pt x="4465" y="2285"/>
                  </a:lnTo>
                  <a:lnTo>
                    <a:pt x="4503" y="2214"/>
                  </a:lnTo>
                  <a:lnTo>
                    <a:pt x="4574" y="2209"/>
                  </a:lnTo>
                  <a:lnTo>
                    <a:pt x="4621" y="2214"/>
                  </a:lnTo>
                  <a:lnTo>
                    <a:pt x="4626" y="2230"/>
                  </a:lnTo>
                  <a:lnTo>
                    <a:pt x="4621" y="2252"/>
                  </a:lnTo>
                  <a:lnTo>
                    <a:pt x="4626" y="2292"/>
                  </a:lnTo>
                  <a:lnTo>
                    <a:pt x="4621" y="2308"/>
                  </a:lnTo>
                  <a:lnTo>
                    <a:pt x="4567" y="2337"/>
                  </a:lnTo>
                  <a:lnTo>
                    <a:pt x="4512" y="2341"/>
                  </a:lnTo>
                  <a:lnTo>
                    <a:pt x="4512" y="2341"/>
                  </a:lnTo>
                  <a:lnTo>
                    <a:pt x="4512" y="2341"/>
                  </a:lnTo>
                  <a:close/>
                  <a:moveTo>
                    <a:pt x="3827" y="2226"/>
                  </a:moveTo>
                  <a:lnTo>
                    <a:pt x="3834" y="2263"/>
                  </a:lnTo>
                  <a:lnTo>
                    <a:pt x="3818" y="2280"/>
                  </a:lnTo>
                  <a:lnTo>
                    <a:pt x="3796" y="2268"/>
                  </a:lnTo>
                  <a:lnTo>
                    <a:pt x="3796" y="2252"/>
                  </a:lnTo>
                  <a:lnTo>
                    <a:pt x="3801" y="2247"/>
                  </a:lnTo>
                  <a:lnTo>
                    <a:pt x="3785" y="2235"/>
                  </a:lnTo>
                  <a:lnTo>
                    <a:pt x="3811" y="2209"/>
                  </a:lnTo>
                  <a:lnTo>
                    <a:pt x="3827" y="2214"/>
                  </a:lnTo>
                  <a:lnTo>
                    <a:pt x="3827" y="2226"/>
                  </a:lnTo>
                  <a:lnTo>
                    <a:pt x="3827" y="2226"/>
                  </a:lnTo>
                  <a:lnTo>
                    <a:pt x="3827" y="2226"/>
                  </a:lnTo>
                  <a:close/>
                  <a:moveTo>
                    <a:pt x="5237" y="2230"/>
                  </a:moveTo>
                  <a:lnTo>
                    <a:pt x="5214" y="2226"/>
                  </a:lnTo>
                  <a:lnTo>
                    <a:pt x="5247" y="2214"/>
                  </a:lnTo>
                  <a:lnTo>
                    <a:pt x="5237" y="2230"/>
                  </a:lnTo>
                  <a:lnTo>
                    <a:pt x="5237" y="2230"/>
                  </a:lnTo>
                  <a:lnTo>
                    <a:pt x="5237" y="2230"/>
                  </a:lnTo>
                  <a:close/>
                  <a:moveTo>
                    <a:pt x="4696" y="2214"/>
                  </a:moveTo>
                  <a:lnTo>
                    <a:pt x="4696" y="2230"/>
                  </a:lnTo>
                  <a:lnTo>
                    <a:pt x="4692" y="2226"/>
                  </a:lnTo>
                  <a:lnTo>
                    <a:pt x="4696" y="2214"/>
                  </a:lnTo>
                  <a:lnTo>
                    <a:pt x="4696" y="2214"/>
                  </a:lnTo>
                  <a:lnTo>
                    <a:pt x="4696" y="2214"/>
                  </a:lnTo>
                  <a:close/>
                  <a:moveTo>
                    <a:pt x="2570" y="2226"/>
                  </a:moveTo>
                  <a:lnTo>
                    <a:pt x="2559" y="2235"/>
                  </a:lnTo>
                  <a:lnTo>
                    <a:pt x="2554" y="2230"/>
                  </a:lnTo>
                  <a:lnTo>
                    <a:pt x="2570" y="2226"/>
                  </a:lnTo>
                  <a:lnTo>
                    <a:pt x="2570" y="2226"/>
                  </a:lnTo>
                  <a:lnTo>
                    <a:pt x="2570" y="2226"/>
                  </a:lnTo>
                  <a:close/>
                  <a:moveTo>
                    <a:pt x="5285" y="2226"/>
                  </a:moveTo>
                  <a:lnTo>
                    <a:pt x="5301" y="2230"/>
                  </a:lnTo>
                  <a:lnTo>
                    <a:pt x="5285" y="2230"/>
                  </a:lnTo>
                  <a:lnTo>
                    <a:pt x="5285" y="2226"/>
                  </a:lnTo>
                  <a:lnTo>
                    <a:pt x="5285" y="2226"/>
                  </a:lnTo>
                  <a:lnTo>
                    <a:pt x="5285" y="2226"/>
                  </a:lnTo>
                  <a:close/>
                  <a:moveTo>
                    <a:pt x="4718" y="2247"/>
                  </a:moveTo>
                  <a:lnTo>
                    <a:pt x="4746" y="2247"/>
                  </a:lnTo>
                  <a:lnTo>
                    <a:pt x="4746" y="2268"/>
                  </a:lnTo>
                  <a:lnTo>
                    <a:pt x="4734" y="2280"/>
                  </a:lnTo>
                  <a:lnTo>
                    <a:pt x="4675" y="2268"/>
                  </a:lnTo>
                  <a:lnTo>
                    <a:pt x="4649" y="2263"/>
                  </a:lnTo>
                  <a:lnTo>
                    <a:pt x="4642" y="2247"/>
                  </a:lnTo>
                  <a:lnTo>
                    <a:pt x="4675" y="2226"/>
                  </a:lnTo>
                  <a:lnTo>
                    <a:pt x="4692" y="2235"/>
                  </a:lnTo>
                  <a:lnTo>
                    <a:pt x="4718" y="2247"/>
                  </a:lnTo>
                  <a:lnTo>
                    <a:pt x="4718" y="2247"/>
                  </a:lnTo>
                  <a:lnTo>
                    <a:pt x="4718" y="2247"/>
                  </a:lnTo>
                  <a:close/>
                  <a:moveTo>
                    <a:pt x="2214" y="2230"/>
                  </a:moveTo>
                  <a:lnTo>
                    <a:pt x="2219" y="2247"/>
                  </a:lnTo>
                  <a:lnTo>
                    <a:pt x="2209" y="2235"/>
                  </a:lnTo>
                  <a:lnTo>
                    <a:pt x="2214" y="2230"/>
                  </a:lnTo>
                  <a:lnTo>
                    <a:pt x="2214" y="2230"/>
                  </a:lnTo>
                  <a:lnTo>
                    <a:pt x="2214" y="2230"/>
                  </a:lnTo>
                  <a:close/>
                  <a:moveTo>
                    <a:pt x="2948" y="2235"/>
                  </a:moveTo>
                  <a:lnTo>
                    <a:pt x="2948" y="2247"/>
                  </a:lnTo>
                  <a:lnTo>
                    <a:pt x="2937" y="2235"/>
                  </a:lnTo>
                  <a:lnTo>
                    <a:pt x="2948" y="2235"/>
                  </a:lnTo>
                  <a:lnTo>
                    <a:pt x="2948" y="2235"/>
                  </a:lnTo>
                  <a:lnTo>
                    <a:pt x="2948" y="2235"/>
                  </a:lnTo>
                  <a:close/>
                  <a:moveTo>
                    <a:pt x="2252" y="2247"/>
                  </a:moveTo>
                  <a:lnTo>
                    <a:pt x="2252" y="2263"/>
                  </a:lnTo>
                  <a:lnTo>
                    <a:pt x="2230" y="2247"/>
                  </a:lnTo>
                  <a:lnTo>
                    <a:pt x="2252" y="2247"/>
                  </a:lnTo>
                  <a:lnTo>
                    <a:pt x="2252" y="2247"/>
                  </a:lnTo>
                  <a:lnTo>
                    <a:pt x="2252" y="2247"/>
                  </a:lnTo>
                  <a:close/>
                  <a:moveTo>
                    <a:pt x="3024" y="2263"/>
                  </a:moveTo>
                  <a:lnTo>
                    <a:pt x="3019" y="2263"/>
                  </a:lnTo>
                  <a:lnTo>
                    <a:pt x="3024" y="2263"/>
                  </a:lnTo>
                  <a:lnTo>
                    <a:pt x="3024" y="2263"/>
                  </a:lnTo>
                  <a:lnTo>
                    <a:pt x="3024" y="2263"/>
                  </a:lnTo>
                  <a:close/>
                  <a:moveTo>
                    <a:pt x="1895" y="2263"/>
                  </a:moveTo>
                  <a:lnTo>
                    <a:pt x="1874" y="2263"/>
                  </a:lnTo>
                  <a:lnTo>
                    <a:pt x="1895" y="2263"/>
                  </a:lnTo>
                  <a:lnTo>
                    <a:pt x="1895" y="2263"/>
                  </a:lnTo>
                  <a:lnTo>
                    <a:pt x="1895" y="2263"/>
                  </a:lnTo>
                  <a:close/>
                  <a:moveTo>
                    <a:pt x="2306" y="2308"/>
                  </a:moveTo>
                  <a:lnTo>
                    <a:pt x="2306" y="2285"/>
                  </a:lnTo>
                  <a:lnTo>
                    <a:pt x="2318" y="2285"/>
                  </a:lnTo>
                  <a:lnTo>
                    <a:pt x="2322" y="2303"/>
                  </a:lnTo>
                  <a:lnTo>
                    <a:pt x="2306" y="2308"/>
                  </a:lnTo>
                  <a:lnTo>
                    <a:pt x="2306" y="2308"/>
                  </a:lnTo>
                  <a:lnTo>
                    <a:pt x="2306" y="2308"/>
                  </a:lnTo>
                  <a:close/>
                  <a:moveTo>
                    <a:pt x="5410" y="2292"/>
                  </a:moveTo>
                  <a:lnTo>
                    <a:pt x="5415" y="2303"/>
                  </a:lnTo>
                  <a:lnTo>
                    <a:pt x="5398" y="2303"/>
                  </a:lnTo>
                  <a:lnTo>
                    <a:pt x="5410" y="2292"/>
                  </a:lnTo>
                  <a:lnTo>
                    <a:pt x="5410" y="2292"/>
                  </a:lnTo>
                  <a:lnTo>
                    <a:pt x="5410" y="2292"/>
                  </a:lnTo>
                  <a:close/>
                  <a:moveTo>
                    <a:pt x="2285" y="2292"/>
                  </a:moveTo>
                  <a:lnTo>
                    <a:pt x="2289" y="2292"/>
                  </a:lnTo>
                  <a:lnTo>
                    <a:pt x="2285" y="2292"/>
                  </a:lnTo>
                  <a:lnTo>
                    <a:pt x="2285" y="2292"/>
                  </a:lnTo>
                  <a:lnTo>
                    <a:pt x="2285" y="2292"/>
                  </a:lnTo>
                  <a:close/>
                  <a:moveTo>
                    <a:pt x="2306" y="2308"/>
                  </a:moveTo>
                  <a:lnTo>
                    <a:pt x="2301" y="2308"/>
                  </a:lnTo>
                  <a:lnTo>
                    <a:pt x="2301" y="2303"/>
                  </a:lnTo>
                  <a:lnTo>
                    <a:pt x="2306" y="2308"/>
                  </a:lnTo>
                  <a:lnTo>
                    <a:pt x="2306" y="2308"/>
                  </a:lnTo>
                  <a:lnTo>
                    <a:pt x="2306" y="2308"/>
                  </a:lnTo>
                  <a:close/>
                  <a:moveTo>
                    <a:pt x="2289" y="2308"/>
                  </a:moveTo>
                  <a:lnTo>
                    <a:pt x="2285" y="2303"/>
                  </a:lnTo>
                  <a:lnTo>
                    <a:pt x="2289" y="2303"/>
                  </a:lnTo>
                  <a:lnTo>
                    <a:pt x="2289" y="2308"/>
                  </a:lnTo>
                  <a:lnTo>
                    <a:pt x="2289" y="2308"/>
                  </a:lnTo>
                  <a:lnTo>
                    <a:pt x="2289" y="2308"/>
                  </a:lnTo>
                  <a:close/>
                  <a:moveTo>
                    <a:pt x="2322" y="2308"/>
                  </a:moveTo>
                  <a:lnTo>
                    <a:pt x="2322" y="2337"/>
                  </a:lnTo>
                  <a:lnTo>
                    <a:pt x="2306" y="2320"/>
                  </a:lnTo>
                  <a:lnTo>
                    <a:pt x="2322" y="2308"/>
                  </a:lnTo>
                  <a:lnTo>
                    <a:pt x="2322" y="2308"/>
                  </a:lnTo>
                  <a:lnTo>
                    <a:pt x="2322" y="2308"/>
                  </a:lnTo>
                  <a:close/>
                  <a:moveTo>
                    <a:pt x="5436" y="2337"/>
                  </a:moveTo>
                  <a:lnTo>
                    <a:pt x="5415" y="2337"/>
                  </a:lnTo>
                  <a:lnTo>
                    <a:pt x="5431" y="2325"/>
                  </a:lnTo>
                  <a:lnTo>
                    <a:pt x="5448" y="2337"/>
                  </a:lnTo>
                  <a:lnTo>
                    <a:pt x="5436" y="2337"/>
                  </a:lnTo>
                  <a:lnTo>
                    <a:pt x="5436" y="2337"/>
                  </a:lnTo>
                  <a:lnTo>
                    <a:pt x="5436" y="2337"/>
                  </a:lnTo>
                  <a:close/>
                  <a:moveTo>
                    <a:pt x="2339" y="2337"/>
                  </a:moveTo>
                  <a:lnTo>
                    <a:pt x="2339" y="2341"/>
                  </a:lnTo>
                  <a:lnTo>
                    <a:pt x="2339" y="2337"/>
                  </a:lnTo>
                  <a:lnTo>
                    <a:pt x="2339" y="2337"/>
                  </a:lnTo>
                  <a:lnTo>
                    <a:pt x="2339" y="2337"/>
                  </a:lnTo>
                  <a:close/>
                  <a:moveTo>
                    <a:pt x="2344" y="2341"/>
                  </a:moveTo>
                  <a:lnTo>
                    <a:pt x="2360" y="2358"/>
                  </a:lnTo>
                  <a:lnTo>
                    <a:pt x="2344" y="2358"/>
                  </a:lnTo>
                  <a:lnTo>
                    <a:pt x="2344" y="2341"/>
                  </a:lnTo>
                  <a:lnTo>
                    <a:pt x="2344" y="2341"/>
                  </a:lnTo>
                  <a:lnTo>
                    <a:pt x="2344" y="2341"/>
                  </a:lnTo>
                  <a:close/>
                  <a:moveTo>
                    <a:pt x="5474" y="2358"/>
                  </a:moveTo>
                  <a:lnTo>
                    <a:pt x="5500" y="2346"/>
                  </a:lnTo>
                  <a:lnTo>
                    <a:pt x="5516" y="2346"/>
                  </a:lnTo>
                  <a:lnTo>
                    <a:pt x="5490" y="2363"/>
                  </a:lnTo>
                  <a:lnTo>
                    <a:pt x="5474" y="2358"/>
                  </a:lnTo>
                  <a:lnTo>
                    <a:pt x="5474" y="2358"/>
                  </a:lnTo>
                  <a:lnTo>
                    <a:pt x="5474" y="2358"/>
                  </a:lnTo>
                  <a:close/>
                  <a:moveTo>
                    <a:pt x="5474" y="2363"/>
                  </a:moveTo>
                  <a:lnTo>
                    <a:pt x="5462" y="2358"/>
                  </a:lnTo>
                  <a:lnTo>
                    <a:pt x="5474" y="2363"/>
                  </a:lnTo>
                  <a:lnTo>
                    <a:pt x="5474" y="2363"/>
                  </a:lnTo>
                  <a:lnTo>
                    <a:pt x="5474" y="2363"/>
                  </a:lnTo>
                  <a:close/>
                  <a:moveTo>
                    <a:pt x="5462" y="2363"/>
                  </a:moveTo>
                  <a:lnTo>
                    <a:pt x="5469" y="2374"/>
                  </a:lnTo>
                  <a:lnTo>
                    <a:pt x="5462" y="2363"/>
                  </a:lnTo>
                  <a:lnTo>
                    <a:pt x="5462" y="2363"/>
                  </a:lnTo>
                  <a:lnTo>
                    <a:pt x="5462" y="2363"/>
                  </a:lnTo>
                  <a:close/>
                  <a:moveTo>
                    <a:pt x="2306" y="2363"/>
                  </a:moveTo>
                  <a:lnTo>
                    <a:pt x="2322" y="2374"/>
                  </a:lnTo>
                  <a:lnTo>
                    <a:pt x="2318" y="2379"/>
                  </a:lnTo>
                  <a:lnTo>
                    <a:pt x="2306" y="2363"/>
                  </a:lnTo>
                  <a:lnTo>
                    <a:pt x="2306" y="2363"/>
                  </a:lnTo>
                  <a:lnTo>
                    <a:pt x="2306" y="2363"/>
                  </a:lnTo>
                  <a:close/>
                  <a:moveTo>
                    <a:pt x="5192" y="2429"/>
                  </a:moveTo>
                  <a:lnTo>
                    <a:pt x="5200" y="2436"/>
                  </a:lnTo>
                  <a:lnTo>
                    <a:pt x="5192" y="2436"/>
                  </a:lnTo>
                  <a:lnTo>
                    <a:pt x="5192" y="2429"/>
                  </a:lnTo>
                  <a:lnTo>
                    <a:pt x="5192" y="2429"/>
                  </a:lnTo>
                  <a:lnTo>
                    <a:pt x="5192" y="2429"/>
                  </a:lnTo>
                  <a:close/>
                  <a:moveTo>
                    <a:pt x="5204" y="2448"/>
                  </a:moveTo>
                  <a:lnTo>
                    <a:pt x="5221" y="2452"/>
                  </a:lnTo>
                  <a:lnTo>
                    <a:pt x="5192" y="2436"/>
                  </a:lnTo>
                  <a:lnTo>
                    <a:pt x="5204" y="2448"/>
                  </a:lnTo>
                  <a:lnTo>
                    <a:pt x="5204" y="2448"/>
                  </a:lnTo>
                  <a:lnTo>
                    <a:pt x="5204" y="2448"/>
                  </a:lnTo>
                  <a:close/>
                  <a:moveTo>
                    <a:pt x="4070" y="2457"/>
                  </a:moveTo>
                  <a:lnTo>
                    <a:pt x="4066" y="2469"/>
                  </a:lnTo>
                  <a:lnTo>
                    <a:pt x="4049" y="2452"/>
                  </a:lnTo>
                  <a:lnTo>
                    <a:pt x="4070" y="2457"/>
                  </a:lnTo>
                  <a:lnTo>
                    <a:pt x="4070" y="2457"/>
                  </a:lnTo>
                  <a:lnTo>
                    <a:pt x="4070" y="2457"/>
                  </a:lnTo>
                  <a:close/>
                  <a:moveTo>
                    <a:pt x="5523" y="2457"/>
                  </a:moveTo>
                  <a:lnTo>
                    <a:pt x="5528" y="2457"/>
                  </a:lnTo>
                  <a:lnTo>
                    <a:pt x="5507" y="2457"/>
                  </a:lnTo>
                  <a:lnTo>
                    <a:pt x="5523" y="2457"/>
                  </a:lnTo>
                  <a:lnTo>
                    <a:pt x="5523" y="2457"/>
                  </a:lnTo>
                  <a:lnTo>
                    <a:pt x="5523" y="2457"/>
                  </a:lnTo>
                  <a:close/>
                  <a:moveTo>
                    <a:pt x="4000" y="2485"/>
                  </a:moveTo>
                  <a:lnTo>
                    <a:pt x="4016" y="2502"/>
                  </a:lnTo>
                  <a:lnTo>
                    <a:pt x="4016" y="2514"/>
                  </a:lnTo>
                  <a:lnTo>
                    <a:pt x="4054" y="2523"/>
                  </a:lnTo>
                  <a:lnTo>
                    <a:pt x="4044" y="2530"/>
                  </a:lnTo>
                  <a:lnTo>
                    <a:pt x="4011" y="2530"/>
                  </a:lnTo>
                  <a:lnTo>
                    <a:pt x="4016" y="2514"/>
                  </a:lnTo>
                  <a:lnTo>
                    <a:pt x="3990" y="2514"/>
                  </a:lnTo>
                  <a:lnTo>
                    <a:pt x="3990" y="2502"/>
                  </a:lnTo>
                  <a:lnTo>
                    <a:pt x="3974" y="2485"/>
                  </a:lnTo>
                  <a:lnTo>
                    <a:pt x="3962" y="2474"/>
                  </a:lnTo>
                  <a:lnTo>
                    <a:pt x="4000" y="2485"/>
                  </a:lnTo>
                  <a:lnTo>
                    <a:pt x="4000" y="2485"/>
                  </a:lnTo>
                  <a:lnTo>
                    <a:pt x="4000" y="2485"/>
                  </a:lnTo>
                  <a:close/>
                  <a:moveTo>
                    <a:pt x="3936" y="2490"/>
                  </a:moveTo>
                  <a:lnTo>
                    <a:pt x="3957" y="2523"/>
                  </a:lnTo>
                  <a:lnTo>
                    <a:pt x="3945" y="2540"/>
                  </a:lnTo>
                  <a:lnTo>
                    <a:pt x="3919" y="2514"/>
                  </a:lnTo>
                  <a:lnTo>
                    <a:pt x="3919" y="2490"/>
                  </a:lnTo>
                  <a:lnTo>
                    <a:pt x="3936" y="2490"/>
                  </a:lnTo>
                  <a:lnTo>
                    <a:pt x="3936" y="2490"/>
                  </a:lnTo>
                  <a:lnTo>
                    <a:pt x="3936" y="2490"/>
                  </a:lnTo>
                  <a:close/>
                  <a:moveTo>
                    <a:pt x="5528" y="2502"/>
                  </a:moveTo>
                  <a:lnTo>
                    <a:pt x="5528" y="2507"/>
                  </a:lnTo>
                  <a:lnTo>
                    <a:pt x="5523" y="2490"/>
                  </a:lnTo>
                  <a:lnTo>
                    <a:pt x="5528" y="2502"/>
                  </a:lnTo>
                  <a:lnTo>
                    <a:pt x="5528" y="2502"/>
                  </a:lnTo>
                  <a:lnTo>
                    <a:pt x="5528" y="2502"/>
                  </a:lnTo>
                  <a:close/>
                  <a:moveTo>
                    <a:pt x="4264" y="2745"/>
                  </a:moveTo>
                  <a:lnTo>
                    <a:pt x="4205" y="2785"/>
                  </a:lnTo>
                  <a:lnTo>
                    <a:pt x="4134" y="2762"/>
                  </a:lnTo>
                  <a:lnTo>
                    <a:pt x="4104" y="2762"/>
                  </a:lnTo>
                  <a:lnTo>
                    <a:pt x="4104" y="2752"/>
                  </a:lnTo>
                  <a:lnTo>
                    <a:pt x="4108" y="2745"/>
                  </a:lnTo>
                  <a:lnTo>
                    <a:pt x="4108" y="2729"/>
                  </a:lnTo>
                  <a:lnTo>
                    <a:pt x="4066" y="2729"/>
                  </a:lnTo>
                  <a:lnTo>
                    <a:pt x="4054" y="2724"/>
                  </a:lnTo>
                  <a:lnTo>
                    <a:pt x="4070" y="2707"/>
                  </a:lnTo>
                  <a:lnTo>
                    <a:pt x="4066" y="2696"/>
                  </a:lnTo>
                  <a:lnTo>
                    <a:pt x="4028" y="2712"/>
                  </a:lnTo>
                  <a:lnTo>
                    <a:pt x="4016" y="2724"/>
                  </a:lnTo>
                  <a:lnTo>
                    <a:pt x="4028" y="2729"/>
                  </a:lnTo>
                  <a:lnTo>
                    <a:pt x="4028" y="2745"/>
                  </a:lnTo>
                  <a:lnTo>
                    <a:pt x="3978" y="2769"/>
                  </a:lnTo>
                  <a:lnTo>
                    <a:pt x="3957" y="2802"/>
                  </a:lnTo>
                  <a:lnTo>
                    <a:pt x="3910" y="2823"/>
                  </a:lnTo>
                  <a:lnTo>
                    <a:pt x="3886" y="2818"/>
                  </a:lnTo>
                  <a:lnTo>
                    <a:pt x="3881" y="2790"/>
                  </a:lnTo>
                  <a:lnTo>
                    <a:pt x="3886" y="2762"/>
                  </a:lnTo>
                  <a:lnTo>
                    <a:pt x="3881" y="2752"/>
                  </a:lnTo>
                  <a:lnTo>
                    <a:pt x="3818" y="2762"/>
                  </a:lnTo>
                  <a:lnTo>
                    <a:pt x="3796" y="2778"/>
                  </a:lnTo>
                  <a:lnTo>
                    <a:pt x="3773" y="2762"/>
                  </a:lnTo>
                  <a:lnTo>
                    <a:pt x="3796" y="2729"/>
                  </a:lnTo>
                  <a:lnTo>
                    <a:pt x="3839" y="2712"/>
                  </a:lnTo>
                  <a:lnTo>
                    <a:pt x="3834" y="2674"/>
                  </a:lnTo>
                  <a:lnTo>
                    <a:pt x="3834" y="2651"/>
                  </a:lnTo>
                  <a:lnTo>
                    <a:pt x="3848" y="2625"/>
                  </a:lnTo>
                  <a:lnTo>
                    <a:pt x="3839" y="2613"/>
                  </a:lnTo>
                  <a:lnTo>
                    <a:pt x="3848" y="2596"/>
                  </a:lnTo>
                  <a:lnTo>
                    <a:pt x="3848" y="2563"/>
                  </a:lnTo>
                  <a:lnTo>
                    <a:pt x="3855" y="2514"/>
                  </a:lnTo>
                  <a:lnTo>
                    <a:pt x="3893" y="2502"/>
                  </a:lnTo>
                  <a:lnTo>
                    <a:pt x="3893" y="2514"/>
                  </a:lnTo>
                  <a:lnTo>
                    <a:pt x="3919" y="2514"/>
                  </a:lnTo>
                  <a:lnTo>
                    <a:pt x="3924" y="2530"/>
                  </a:lnTo>
                  <a:lnTo>
                    <a:pt x="3903" y="2540"/>
                  </a:lnTo>
                  <a:lnTo>
                    <a:pt x="3924" y="2556"/>
                  </a:lnTo>
                  <a:lnTo>
                    <a:pt x="3936" y="2580"/>
                  </a:lnTo>
                  <a:lnTo>
                    <a:pt x="3941" y="2580"/>
                  </a:lnTo>
                  <a:lnTo>
                    <a:pt x="3957" y="2547"/>
                  </a:lnTo>
                  <a:lnTo>
                    <a:pt x="3962" y="2556"/>
                  </a:lnTo>
                  <a:lnTo>
                    <a:pt x="3990" y="2563"/>
                  </a:lnTo>
                  <a:lnTo>
                    <a:pt x="3978" y="2568"/>
                  </a:lnTo>
                  <a:lnTo>
                    <a:pt x="3990" y="2580"/>
                  </a:lnTo>
                  <a:lnTo>
                    <a:pt x="4044" y="2585"/>
                  </a:lnTo>
                  <a:lnTo>
                    <a:pt x="4054" y="2613"/>
                  </a:lnTo>
                  <a:lnTo>
                    <a:pt x="4125" y="2641"/>
                  </a:lnTo>
                  <a:lnTo>
                    <a:pt x="4158" y="2667"/>
                  </a:lnTo>
                  <a:lnTo>
                    <a:pt x="4158" y="2691"/>
                  </a:lnTo>
                  <a:lnTo>
                    <a:pt x="4163" y="2707"/>
                  </a:lnTo>
                  <a:lnTo>
                    <a:pt x="4141" y="2724"/>
                  </a:lnTo>
                  <a:lnTo>
                    <a:pt x="4179" y="2712"/>
                  </a:lnTo>
                  <a:lnTo>
                    <a:pt x="4210" y="2724"/>
                  </a:lnTo>
                  <a:lnTo>
                    <a:pt x="4210" y="2712"/>
                  </a:lnTo>
                  <a:lnTo>
                    <a:pt x="4217" y="2707"/>
                  </a:lnTo>
                  <a:lnTo>
                    <a:pt x="4243" y="2724"/>
                  </a:lnTo>
                  <a:lnTo>
                    <a:pt x="4243" y="2729"/>
                  </a:lnTo>
                  <a:lnTo>
                    <a:pt x="4243" y="2736"/>
                  </a:lnTo>
                  <a:lnTo>
                    <a:pt x="4264" y="2745"/>
                  </a:lnTo>
                  <a:lnTo>
                    <a:pt x="4264" y="2745"/>
                  </a:lnTo>
                  <a:lnTo>
                    <a:pt x="4264" y="2745"/>
                  </a:lnTo>
                  <a:close/>
                  <a:moveTo>
                    <a:pt x="4044" y="2507"/>
                  </a:moveTo>
                  <a:lnTo>
                    <a:pt x="4028" y="2507"/>
                  </a:lnTo>
                  <a:lnTo>
                    <a:pt x="4049" y="2507"/>
                  </a:lnTo>
                  <a:lnTo>
                    <a:pt x="4044" y="2507"/>
                  </a:lnTo>
                  <a:lnTo>
                    <a:pt x="4044" y="2507"/>
                  </a:lnTo>
                  <a:lnTo>
                    <a:pt x="4044" y="2507"/>
                  </a:lnTo>
                  <a:close/>
                  <a:moveTo>
                    <a:pt x="5523" y="2523"/>
                  </a:moveTo>
                  <a:lnTo>
                    <a:pt x="5528" y="2530"/>
                  </a:lnTo>
                  <a:lnTo>
                    <a:pt x="5523" y="2530"/>
                  </a:lnTo>
                  <a:lnTo>
                    <a:pt x="5507" y="2523"/>
                  </a:lnTo>
                  <a:lnTo>
                    <a:pt x="5523" y="2523"/>
                  </a:lnTo>
                  <a:lnTo>
                    <a:pt x="5523" y="2523"/>
                  </a:lnTo>
                  <a:lnTo>
                    <a:pt x="5523" y="2523"/>
                  </a:lnTo>
                  <a:close/>
                  <a:moveTo>
                    <a:pt x="5485" y="2530"/>
                  </a:moveTo>
                  <a:lnTo>
                    <a:pt x="5490" y="2540"/>
                  </a:lnTo>
                  <a:lnTo>
                    <a:pt x="5474" y="2540"/>
                  </a:lnTo>
                  <a:lnTo>
                    <a:pt x="5485" y="2530"/>
                  </a:lnTo>
                  <a:lnTo>
                    <a:pt x="5485" y="2530"/>
                  </a:lnTo>
                  <a:lnTo>
                    <a:pt x="5485" y="2530"/>
                  </a:lnTo>
                  <a:close/>
                  <a:moveTo>
                    <a:pt x="5452" y="2568"/>
                  </a:moveTo>
                  <a:lnTo>
                    <a:pt x="5462" y="2568"/>
                  </a:lnTo>
                  <a:lnTo>
                    <a:pt x="5448" y="2568"/>
                  </a:lnTo>
                  <a:lnTo>
                    <a:pt x="5452" y="2568"/>
                  </a:lnTo>
                  <a:lnTo>
                    <a:pt x="5452" y="2568"/>
                  </a:lnTo>
                  <a:lnTo>
                    <a:pt x="5452" y="2568"/>
                  </a:lnTo>
                  <a:close/>
                  <a:moveTo>
                    <a:pt x="5448" y="2613"/>
                  </a:moveTo>
                  <a:lnTo>
                    <a:pt x="5452" y="2618"/>
                  </a:lnTo>
                  <a:lnTo>
                    <a:pt x="5436" y="2613"/>
                  </a:lnTo>
                  <a:lnTo>
                    <a:pt x="5448" y="2613"/>
                  </a:lnTo>
                  <a:lnTo>
                    <a:pt x="5448" y="2613"/>
                  </a:lnTo>
                  <a:lnTo>
                    <a:pt x="5448" y="2613"/>
                  </a:lnTo>
                  <a:close/>
                  <a:moveTo>
                    <a:pt x="5313" y="2641"/>
                  </a:moveTo>
                  <a:lnTo>
                    <a:pt x="5313" y="2651"/>
                  </a:lnTo>
                  <a:lnTo>
                    <a:pt x="5301" y="2667"/>
                  </a:lnTo>
                  <a:lnTo>
                    <a:pt x="5285" y="2667"/>
                  </a:lnTo>
                  <a:lnTo>
                    <a:pt x="5301" y="2641"/>
                  </a:lnTo>
                  <a:lnTo>
                    <a:pt x="5313" y="2641"/>
                  </a:lnTo>
                  <a:lnTo>
                    <a:pt x="5313" y="2641"/>
                  </a:lnTo>
                  <a:lnTo>
                    <a:pt x="5313" y="2641"/>
                  </a:lnTo>
                  <a:close/>
                  <a:moveTo>
                    <a:pt x="4734" y="2658"/>
                  </a:moveTo>
                  <a:lnTo>
                    <a:pt x="4729" y="2679"/>
                  </a:lnTo>
                  <a:lnTo>
                    <a:pt x="4718" y="2679"/>
                  </a:lnTo>
                  <a:lnTo>
                    <a:pt x="4729" y="2667"/>
                  </a:lnTo>
                  <a:lnTo>
                    <a:pt x="4718" y="2658"/>
                  </a:lnTo>
                  <a:lnTo>
                    <a:pt x="4734" y="2658"/>
                  </a:lnTo>
                  <a:lnTo>
                    <a:pt x="4734" y="2658"/>
                  </a:lnTo>
                  <a:lnTo>
                    <a:pt x="4734" y="2658"/>
                  </a:lnTo>
                  <a:close/>
                  <a:moveTo>
                    <a:pt x="4680" y="2658"/>
                  </a:moveTo>
                  <a:lnTo>
                    <a:pt x="4692" y="2667"/>
                  </a:lnTo>
                  <a:lnTo>
                    <a:pt x="4675" y="2658"/>
                  </a:lnTo>
                  <a:lnTo>
                    <a:pt x="4680" y="2658"/>
                  </a:lnTo>
                  <a:lnTo>
                    <a:pt x="4680" y="2658"/>
                  </a:lnTo>
                  <a:lnTo>
                    <a:pt x="4680" y="2658"/>
                  </a:lnTo>
                  <a:close/>
                  <a:moveTo>
                    <a:pt x="4718" y="2667"/>
                  </a:moveTo>
                  <a:lnTo>
                    <a:pt x="4713" y="2674"/>
                  </a:lnTo>
                  <a:lnTo>
                    <a:pt x="4718" y="2667"/>
                  </a:lnTo>
                  <a:lnTo>
                    <a:pt x="4718" y="2667"/>
                  </a:lnTo>
                  <a:lnTo>
                    <a:pt x="4718" y="2667"/>
                  </a:lnTo>
                  <a:close/>
                  <a:moveTo>
                    <a:pt x="4675" y="2667"/>
                  </a:moveTo>
                  <a:lnTo>
                    <a:pt x="4692" y="2674"/>
                  </a:lnTo>
                  <a:lnTo>
                    <a:pt x="4663" y="2667"/>
                  </a:lnTo>
                  <a:lnTo>
                    <a:pt x="4675" y="2667"/>
                  </a:lnTo>
                  <a:lnTo>
                    <a:pt x="4675" y="2667"/>
                  </a:lnTo>
                  <a:lnTo>
                    <a:pt x="4675" y="2667"/>
                  </a:lnTo>
                  <a:close/>
                  <a:moveTo>
                    <a:pt x="5339" y="2674"/>
                  </a:moveTo>
                  <a:lnTo>
                    <a:pt x="5344" y="2679"/>
                  </a:lnTo>
                  <a:lnTo>
                    <a:pt x="5339" y="2691"/>
                  </a:lnTo>
                  <a:lnTo>
                    <a:pt x="5327" y="2674"/>
                  </a:lnTo>
                  <a:lnTo>
                    <a:pt x="5339" y="2674"/>
                  </a:lnTo>
                  <a:lnTo>
                    <a:pt x="5339" y="2674"/>
                  </a:lnTo>
                  <a:lnTo>
                    <a:pt x="5339" y="2674"/>
                  </a:lnTo>
                  <a:close/>
                  <a:moveTo>
                    <a:pt x="4718" y="2674"/>
                  </a:moveTo>
                  <a:lnTo>
                    <a:pt x="4718" y="2691"/>
                  </a:lnTo>
                  <a:lnTo>
                    <a:pt x="4713" y="2679"/>
                  </a:lnTo>
                  <a:lnTo>
                    <a:pt x="4718" y="2674"/>
                  </a:lnTo>
                  <a:lnTo>
                    <a:pt x="4718" y="2674"/>
                  </a:lnTo>
                  <a:lnTo>
                    <a:pt x="4718" y="2674"/>
                  </a:lnTo>
                  <a:close/>
                  <a:moveTo>
                    <a:pt x="4701" y="2679"/>
                  </a:moveTo>
                  <a:lnTo>
                    <a:pt x="4701" y="2691"/>
                  </a:lnTo>
                  <a:lnTo>
                    <a:pt x="4701" y="2679"/>
                  </a:lnTo>
                  <a:lnTo>
                    <a:pt x="4701" y="2679"/>
                  </a:lnTo>
                  <a:lnTo>
                    <a:pt x="4701" y="2679"/>
                  </a:lnTo>
                  <a:close/>
                  <a:moveTo>
                    <a:pt x="5327" y="2679"/>
                  </a:moveTo>
                  <a:lnTo>
                    <a:pt x="5339" y="2691"/>
                  </a:lnTo>
                  <a:lnTo>
                    <a:pt x="5327" y="2696"/>
                  </a:lnTo>
                  <a:lnTo>
                    <a:pt x="5322" y="2679"/>
                  </a:lnTo>
                  <a:lnTo>
                    <a:pt x="5327" y="2679"/>
                  </a:lnTo>
                  <a:lnTo>
                    <a:pt x="5327" y="2679"/>
                  </a:lnTo>
                  <a:lnTo>
                    <a:pt x="5327" y="2679"/>
                  </a:lnTo>
                  <a:close/>
                  <a:moveTo>
                    <a:pt x="4583" y="2679"/>
                  </a:moveTo>
                  <a:lnTo>
                    <a:pt x="4595" y="2679"/>
                  </a:lnTo>
                  <a:lnTo>
                    <a:pt x="4583" y="2691"/>
                  </a:lnTo>
                  <a:lnTo>
                    <a:pt x="4583" y="2679"/>
                  </a:lnTo>
                  <a:lnTo>
                    <a:pt x="4583" y="2679"/>
                  </a:lnTo>
                  <a:lnTo>
                    <a:pt x="4583" y="2679"/>
                  </a:lnTo>
                  <a:close/>
                  <a:moveTo>
                    <a:pt x="5360" y="2691"/>
                  </a:moveTo>
                  <a:lnTo>
                    <a:pt x="5365" y="2696"/>
                  </a:lnTo>
                  <a:lnTo>
                    <a:pt x="5355" y="2691"/>
                  </a:lnTo>
                  <a:lnTo>
                    <a:pt x="5360" y="2691"/>
                  </a:lnTo>
                  <a:lnTo>
                    <a:pt x="5360" y="2691"/>
                  </a:lnTo>
                  <a:lnTo>
                    <a:pt x="5360" y="2691"/>
                  </a:lnTo>
                  <a:close/>
                  <a:moveTo>
                    <a:pt x="5365" y="2707"/>
                  </a:moveTo>
                  <a:lnTo>
                    <a:pt x="5360" y="2707"/>
                  </a:lnTo>
                  <a:lnTo>
                    <a:pt x="5365" y="2707"/>
                  </a:lnTo>
                  <a:lnTo>
                    <a:pt x="5365" y="2707"/>
                  </a:lnTo>
                  <a:lnTo>
                    <a:pt x="5365" y="2707"/>
                  </a:lnTo>
                  <a:close/>
                  <a:moveTo>
                    <a:pt x="5327" y="2707"/>
                  </a:moveTo>
                  <a:lnTo>
                    <a:pt x="5339" y="2712"/>
                  </a:lnTo>
                  <a:lnTo>
                    <a:pt x="5327" y="2707"/>
                  </a:lnTo>
                  <a:lnTo>
                    <a:pt x="5327" y="2707"/>
                  </a:lnTo>
                  <a:lnTo>
                    <a:pt x="5327" y="2707"/>
                  </a:lnTo>
                  <a:close/>
                  <a:moveTo>
                    <a:pt x="4444" y="2724"/>
                  </a:moveTo>
                  <a:lnTo>
                    <a:pt x="4432" y="2729"/>
                  </a:lnTo>
                  <a:lnTo>
                    <a:pt x="4422" y="2724"/>
                  </a:lnTo>
                  <a:lnTo>
                    <a:pt x="4448" y="2724"/>
                  </a:lnTo>
                  <a:lnTo>
                    <a:pt x="4444" y="2724"/>
                  </a:lnTo>
                  <a:lnTo>
                    <a:pt x="4444" y="2724"/>
                  </a:lnTo>
                  <a:lnTo>
                    <a:pt x="4444" y="2724"/>
                  </a:lnTo>
                  <a:close/>
                  <a:moveTo>
                    <a:pt x="5360" y="2736"/>
                  </a:moveTo>
                  <a:lnTo>
                    <a:pt x="5360" y="2745"/>
                  </a:lnTo>
                  <a:lnTo>
                    <a:pt x="5365" y="2745"/>
                  </a:lnTo>
                  <a:lnTo>
                    <a:pt x="5377" y="2752"/>
                  </a:lnTo>
                  <a:lnTo>
                    <a:pt x="5339" y="2745"/>
                  </a:lnTo>
                  <a:lnTo>
                    <a:pt x="5360" y="2736"/>
                  </a:lnTo>
                  <a:lnTo>
                    <a:pt x="5360" y="2736"/>
                  </a:lnTo>
                  <a:lnTo>
                    <a:pt x="5360" y="2736"/>
                  </a:lnTo>
                  <a:close/>
                  <a:moveTo>
                    <a:pt x="5377" y="2736"/>
                  </a:moveTo>
                  <a:lnTo>
                    <a:pt x="5393" y="2736"/>
                  </a:lnTo>
                  <a:lnTo>
                    <a:pt x="5393" y="2745"/>
                  </a:lnTo>
                  <a:lnTo>
                    <a:pt x="5377" y="2736"/>
                  </a:lnTo>
                  <a:lnTo>
                    <a:pt x="5377" y="2736"/>
                  </a:lnTo>
                  <a:lnTo>
                    <a:pt x="5377" y="2736"/>
                  </a:lnTo>
                  <a:close/>
                  <a:moveTo>
                    <a:pt x="5377" y="2745"/>
                  </a:moveTo>
                  <a:lnTo>
                    <a:pt x="5381" y="2752"/>
                  </a:lnTo>
                  <a:lnTo>
                    <a:pt x="5377" y="2752"/>
                  </a:lnTo>
                  <a:lnTo>
                    <a:pt x="5377" y="2745"/>
                  </a:lnTo>
                  <a:lnTo>
                    <a:pt x="5377" y="2745"/>
                  </a:lnTo>
                  <a:lnTo>
                    <a:pt x="5377" y="2745"/>
                  </a:lnTo>
                  <a:close/>
                  <a:moveTo>
                    <a:pt x="4789" y="2752"/>
                  </a:moveTo>
                  <a:lnTo>
                    <a:pt x="4798" y="2752"/>
                  </a:lnTo>
                  <a:lnTo>
                    <a:pt x="4789" y="2752"/>
                  </a:lnTo>
                  <a:lnTo>
                    <a:pt x="4789" y="2752"/>
                  </a:lnTo>
                  <a:lnTo>
                    <a:pt x="4789" y="2752"/>
                  </a:lnTo>
                  <a:close/>
                  <a:moveTo>
                    <a:pt x="4512" y="2785"/>
                  </a:moveTo>
                  <a:lnTo>
                    <a:pt x="4519" y="2785"/>
                  </a:lnTo>
                  <a:lnTo>
                    <a:pt x="4512" y="2790"/>
                  </a:lnTo>
                  <a:lnTo>
                    <a:pt x="4486" y="2790"/>
                  </a:lnTo>
                  <a:lnTo>
                    <a:pt x="4460" y="2762"/>
                  </a:lnTo>
                  <a:lnTo>
                    <a:pt x="4481" y="2762"/>
                  </a:lnTo>
                  <a:lnTo>
                    <a:pt x="4512" y="2769"/>
                  </a:lnTo>
                  <a:lnTo>
                    <a:pt x="4512" y="2785"/>
                  </a:lnTo>
                  <a:lnTo>
                    <a:pt x="4512" y="2785"/>
                  </a:lnTo>
                  <a:lnTo>
                    <a:pt x="4512" y="2785"/>
                  </a:lnTo>
                  <a:close/>
                  <a:moveTo>
                    <a:pt x="5377" y="2762"/>
                  </a:moveTo>
                  <a:lnTo>
                    <a:pt x="5381" y="2785"/>
                  </a:lnTo>
                  <a:lnTo>
                    <a:pt x="5398" y="2807"/>
                  </a:lnTo>
                  <a:lnTo>
                    <a:pt x="5365" y="2785"/>
                  </a:lnTo>
                  <a:lnTo>
                    <a:pt x="5365" y="2769"/>
                  </a:lnTo>
                  <a:lnTo>
                    <a:pt x="5377" y="2762"/>
                  </a:lnTo>
                  <a:lnTo>
                    <a:pt x="5377" y="2762"/>
                  </a:lnTo>
                  <a:lnTo>
                    <a:pt x="5377" y="2762"/>
                  </a:lnTo>
                  <a:close/>
                  <a:moveTo>
                    <a:pt x="5393" y="2762"/>
                  </a:moveTo>
                  <a:lnTo>
                    <a:pt x="5393" y="2785"/>
                  </a:lnTo>
                  <a:lnTo>
                    <a:pt x="5381" y="2769"/>
                  </a:lnTo>
                  <a:lnTo>
                    <a:pt x="5393" y="2762"/>
                  </a:lnTo>
                  <a:lnTo>
                    <a:pt x="5393" y="2762"/>
                  </a:lnTo>
                  <a:lnTo>
                    <a:pt x="5393" y="2762"/>
                  </a:lnTo>
                  <a:close/>
                  <a:moveTo>
                    <a:pt x="3470" y="2769"/>
                  </a:moveTo>
                  <a:lnTo>
                    <a:pt x="3487" y="2769"/>
                  </a:lnTo>
                  <a:lnTo>
                    <a:pt x="3470" y="2769"/>
                  </a:lnTo>
                  <a:lnTo>
                    <a:pt x="3470" y="2769"/>
                  </a:lnTo>
                  <a:lnTo>
                    <a:pt x="3470" y="2769"/>
                  </a:lnTo>
                  <a:close/>
                  <a:moveTo>
                    <a:pt x="4822" y="2769"/>
                  </a:moveTo>
                  <a:lnTo>
                    <a:pt x="4826" y="2778"/>
                  </a:lnTo>
                  <a:lnTo>
                    <a:pt x="4822" y="2778"/>
                  </a:lnTo>
                  <a:lnTo>
                    <a:pt x="4822" y="2769"/>
                  </a:lnTo>
                  <a:lnTo>
                    <a:pt x="4822" y="2769"/>
                  </a:lnTo>
                  <a:lnTo>
                    <a:pt x="4822" y="2769"/>
                  </a:lnTo>
                  <a:close/>
                  <a:moveTo>
                    <a:pt x="5339" y="2778"/>
                  </a:moveTo>
                  <a:lnTo>
                    <a:pt x="5339" y="2790"/>
                  </a:lnTo>
                  <a:lnTo>
                    <a:pt x="5327" y="2778"/>
                  </a:lnTo>
                  <a:lnTo>
                    <a:pt x="5339" y="2778"/>
                  </a:lnTo>
                  <a:lnTo>
                    <a:pt x="5339" y="2778"/>
                  </a:lnTo>
                  <a:lnTo>
                    <a:pt x="5339" y="2778"/>
                  </a:lnTo>
                  <a:close/>
                  <a:moveTo>
                    <a:pt x="4406" y="2778"/>
                  </a:moveTo>
                  <a:lnTo>
                    <a:pt x="4444" y="2785"/>
                  </a:lnTo>
                  <a:lnTo>
                    <a:pt x="4448" y="2807"/>
                  </a:lnTo>
                  <a:lnTo>
                    <a:pt x="4422" y="2823"/>
                  </a:lnTo>
                  <a:lnTo>
                    <a:pt x="4378" y="2785"/>
                  </a:lnTo>
                  <a:lnTo>
                    <a:pt x="4406" y="2778"/>
                  </a:lnTo>
                  <a:lnTo>
                    <a:pt x="4406" y="2778"/>
                  </a:lnTo>
                  <a:lnTo>
                    <a:pt x="4406" y="2778"/>
                  </a:lnTo>
                  <a:close/>
                  <a:moveTo>
                    <a:pt x="5129" y="2807"/>
                  </a:moveTo>
                  <a:lnTo>
                    <a:pt x="5138" y="2818"/>
                  </a:lnTo>
                  <a:lnTo>
                    <a:pt x="5129" y="2807"/>
                  </a:lnTo>
                  <a:lnTo>
                    <a:pt x="5129" y="2807"/>
                  </a:lnTo>
                  <a:lnTo>
                    <a:pt x="5129" y="2807"/>
                  </a:lnTo>
                  <a:close/>
                  <a:moveTo>
                    <a:pt x="5192" y="2823"/>
                  </a:moveTo>
                  <a:lnTo>
                    <a:pt x="5200" y="2840"/>
                  </a:lnTo>
                  <a:lnTo>
                    <a:pt x="5183" y="2823"/>
                  </a:lnTo>
                  <a:lnTo>
                    <a:pt x="5192" y="2823"/>
                  </a:lnTo>
                  <a:lnTo>
                    <a:pt x="5192" y="2823"/>
                  </a:lnTo>
                  <a:lnTo>
                    <a:pt x="5192" y="2823"/>
                  </a:lnTo>
                  <a:close/>
                  <a:moveTo>
                    <a:pt x="4125" y="2840"/>
                  </a:moveTo>
                  <a:lnTo>
                    <a:pt x="4151" y="2847"/>
                  </a:lnTo>
                  <a:lnTo>
                    <a:pt x="4141" y="2873"/>
                  </a:lnTo>
                  <a:lnTo>
                    <a:pt x="4066" y="2929"/>
                  </a:lnTo>
                  <a:lnTo>
                    <a:pt x="4044" y="2918"/>
                  </a:lnTo>
                  <a:lnTo>
                    <a:pt x="4016" y="2934"/>
                  </a:lnTo>
                  <a:lnTo>
                    <a:pt x="4016" y="2913"/>
                  </a:lnTo>
                  <a:lnTo>
                    <a:pt x="4000" y="2901"/>
                  </a:lnTo>
                  <a:lnTo>
                    <a:pt x="4044" y="2847"/>
                  </a:lnTo>
                  <a:lnTo>
                    <a:pt x="4066" y="2856"/>
                  </a:lnTo>
                  <a:lnTo>
                    <a:pt x="4125" y="2840"/>
                  </a:lnTo>
                  <a:lnTo>
                    <a:pt x="4125" y="2840"/>
                  </a:lnTo>
                  <a:lnTo>
                    <a:pt x="4125" y="2840"/>
                  </a:lnTo>
                  <a:close/>
                  <a:moveTo>
                    <a:pt x="5221" y="2847"/>
                  </a:moveTo>
                  <a:lnTo>
                    <a:pt x="5237" y="2856"/>
                  </a:lnTo>
                  <a:lnTo>
                    <a:pt x="5221" y="2847"/>
                  </a:lnTo>
                  <a:lnTo>
                    <a:pt x="5221" y="2847"/>
                  </a:lnTo>
                  <a:lnTo>
                    <a:pt x="5221" y="2847"/>
                  </a:lnTo>
                  <a:close/>
                  <a:moveTo>
                    <a:pt x="4935" y="2863"/>
                  </a:moveTo>
                  <a:lnTo>
                    <a:pt x="4966" y="2880"/>
                  </a:lnTo>
                  <a:lnTo>
                    <a:pt x="4928" y="2889"/>
                  </a:lnTo>
                  <a:lnTo>
                    <a:pt x="4918" y="2863"/>
                  </a:lnTo>
                  <a:lnTo>
                    <a:pt x="4897" y="2856"/>
                  </a:lnTo>
                  <a:lnTo>
                    <a:pt x="4890" y="2847"/>
                  </a:lnTo>
                  <a:lnTo>
                    <a:pt x="4935" y="2863"/>
                  </a:lnTo>
                  <a:lnTo>
                    <a:pt x="4935" y="2863"/>
                  </a:lnTo>
                  <a:lnTo>
                    <a:pt x="4935" y="2863"/>
                  </a:lnTo>
                  <a:close/>
                  <a:moveTo>
                    <a:pt x="4663" y="2863"/>
                  </a:moveTo>
                  <a:lnTo>
                    <a:pt x="4701" y="2880"/>
                  </a:lnTo>
                  <a:lnTo>
                    <a:pt x="4649" y="2863"/>
                  </a:lnTo>
                  <a:lnTo>
                    <a:pt x="4663" y="2863"/>
                  </a:lnTo>
                  <a:lnTo>
                    <a:pt x="4663" y="2863"/>
                  </a:lnTo>
                  <a:lnTo>
                    <a:pt x="4663" y="2863"/>
                  </a:lnTo>
                  <a:close/>
                  <a:moveTo>
                    <a:pt x="4432" y="2880"/>
                  </a:moveTo>
                  <a:lnTo>
                    <a:pt x="4444" y="2880"/>
                  </a:lnTo>
                  <a:lnTo>
                    <a:pt x="4432" y="2889"/>
                  </a:lnTo>
                  <a:lnTo>
                    <a:pt x="4432" y="2880"/>
                  </a:lnTo>
                  <a:lnTo>
                    <a:pt x="4432" y="2880"/>
                  </a:lnTo>
                  <a:lnTo>
                    <a:pt x="4432" y="2880"/>
                  </a:lnTo>
                  <a:close/>
                  <a:moveTo>
                    <a:pt x="4422" y="2880"/>
                  </a:moveTo>
                  <a:lnTo>
                    <a:pt x="4427" y="2889"/>
                  </a:lnTo>
                  <a:lnTo>
                    <a:pt x="4411" y="2889"/>
                  </a:lnTo>
                  <a:lnTo>
                    <a:pt x="4422" y="2880"/>
                  </a:lnTo>
                  <a:lnTo>
                    <a:pt x="4422" y="2880"/>
                  </a:lnTo>
                  <a:lnTo>
                    <a:pt x="4422" y="2880"/>
                  </a:lnTo>
                  <a:close/>
                  <a:moveTo>
                    <a:pt x="5377" y="2889"/>
                  </a:moveTo>
                  <a:lnTo>
                    <a:pt x="5360" y="2901"/>
                  </a:lnTo>
                  <a:lnTo>
                    <a:pt x="5327" y="2896"/>
                  </a:lnTo>
                  <a:lnTo>
                    <a:pt x="5344" y="2889"/>
                  </a:lnTo>
                  <a:lnTo>
                    <a:pt x="5377" y="2889"/>
                  </a:lnTo>
                  <a:lnTo>
                    <a:pt x="5377" y="2889"/>
                  </a:lnTo>
                  <a:lnTo>
                    <a:pt x="5377" y="2889"/>
                  </a:lnTo>
                  <a:close/>
                  <a:moveTo>
                    <a:pt x="4314" y="2967"/>
                  </a:moveTo>
                  <a:lnTo>
                    <a:pt x="4302" y="2991"/>
                  </a:lnTo>
                  <a:lnTo>
                    <a:pt x="4285" y="3000"/>
                  </a:lnTo>
                  <a:lnTo>
                    <a:pt x="4259" y="2967"/>
                  </a:lnTo>
                  <a:lnTo>
                    <a:pt x="4259" y="2934"/>
                  </a:lnTo>
                  <a:lnTo>
                    <a:pt x="4281" y="2901"/>
                  </a:lnTo>
                  <a:lnTo>
                    <a:pt x="4318" y="2901"/>
                  </a:lnTo>
                  <a:lnTo>
                    <a:pt x="4323" y="2918"/>
                  </a:lnTo>
                  <a:lnTo>
                    <a:pt x="4323" y="2929"/>
                  </a:lnTo>
                  <a:lnTo>
                    <a:pt x="4314" y="2967"/>
                  </a:lnTo>
                  <a:lnTo>
                    <a:pt x="4314" y="2967"/>
                  </a:lnTo>
                  <a:lnTo>
                    <a:pt x="4314" y="2967"/>
                  </a:lnTo>
                  <a:close/>
                  <a:moveTo>
                    <a:pt x="5268" y="2934"/>
                  </a:moveTo>
                  <a:lnTo>
                    <a:pt x="5259" y="2934"/>
                  </a:lnTo>
                  <a:lnTo>
                    <a:pt x="5268" y="2929"/>
                  </a:lnTo>
                  <a:lnTo>
                    <a:pt x="5268" y="2934"/>
                  </a:lnTo>
                  <a:lnTo>
                    <a:pt x="5268" y="2934"/>
                  </a:lnTo>
                  <a:lnTo>
                    <a:pt x="5268" y="2934"/>
                  </a:lnTo>
                  <a:close/>
                  <a:moveTo>
                    <a:pt x="5322" y="2955"/>
                  </a:moveTo>
                  <a:lnTo>
                    <a:pt x="5344" y="2974"/>
                  </a:lnTo>
                  <a:lnTo>
                    <a:pt x="5339" y="2974"/>
                  </a:lnTo>
                  <a:lnTo>
                    <a:pt x="5313" y="2955"/>
                  </a:lnTo>
                  <a:lnTo>
                    <a:pt x="5313" y="2951"/>
                  </a:lnTo>
                  <a:lnTo>
                    <a:pt x="5322" y="2955"/>
                  </a:lnTo>
                  <a:lnTo>
                    <a:pt x="5322" y="2955"/>
                  </a:lnTo>
                  <a:lnTo>
                    <a:pt x="5322" y="2955"/>
                  </a:lnTo>
                  <a:close/>
                  <a:moveTo>
                    <a:pt x="3364" y="2967"/>
                  </a:moveTo>
                  <a:lnTo>
                    <a:pt x="3352" y="2955"/>
                  </a:lnTo>
                  <a:lnTo>
                    <a:pt x="3369" y="2955"/>
                  </a:lnTo>
                  <a:lnTo>
                    <a:pt x="3364" y="2967"/>
                  </a:lnTo>
                  <a:lnTo>
                    <a:pt x="3364" y="2967"/>
                  </a:lnTo>
                  <a:lnTo>
                    <a:pt x="3364" y="2967"/>
                  </a:lnTo>
                  <a:close/>
                  <a:moveTo>
                    <a:pt x="5285" y="2967"/>
                  </a:moveTo>
                  <a:lnTo>
                    <a:pt x="5285" y="2974"/>
                  </a:lnTo>
                  <a:lnTo>
                    <a:pt x="5259" y="2974"/>
                  </a:lnTo>
                  <a:lnTo>
                    <a:pt x="5285" y="2967"/>
                  </a:lnTo>
                  <a:lnTo>
                    <a:pt x="5285" y="2967"/>
                  </a:lnTo>
                  <a:lnTo>
                    <a:pt x="5285" y="2967"/>
                  </a:lnTo>
                  <a:close/>
                  <a:moveTo>
                    <a:pt x="5355" y="2991"/>
                  </a:moveTo>
                  <a:lnTo>
                    <a:pt x="5355" y="3000"/>
                  </a:lnTo>
                  <a:lnTo>
                    <a:pt x="5355" y="3007"/>
                  </a:lnTo>
                  <a:lnTo>
                    <a:pt x="5339" y="3024"/>
                  </a:lnTo>
                  <a:lnTo>
                    <a:pt x="5301" y="2991"/>
                  </a:lnTo>
                  <a:lnTo>
                    <a:pt x="5327" y="2984"/>
                  </a:lnTo>
                  <a:lnTo>
                    <a:pt x="5355" y="2991"/>
                  </a:lnTo>
                  <a:lnTo>
                    <a:pt x="5355" y="2991"/>
                  </a:lnTo>
                  <a:lnTo>
                    <a:pt x="5355" y="2991"/>
                  </a:lnTo>
                  <a:close/>
                  <a:moveTo>
                    <a:pt x="4982" y="3057"/>
                  </a:moveTo>
                  <a:lnTo>
                    <a:pt x="4982" y="3062"/>
                  </a:lnTo>
                  <a:lnTo>
                    <a:pt x="4973" y="3057"/>
                  </a:lnTo>
                  <a:lnTo>
                    <a:pt x="4982" y="3057"/>
                  </a:lnTo>
                  <a:lnTo>
                    <a:pt x="4982" y="3057"/>
                  </a:lnTo>
                  <a:lnTo>
                    <a:pt x="4982" y="3057"/>
                  </a:lnTo>
                  <a:close/>
                  <a:moveTo>
                    <a:pt x="5124" y="3111"/>
                  </a:moveTo>
                  <a:lnTo>
                    <a:pt x="5138" y="3118"/>
                  </a:lnTo>
                  <a:lnTo>
                    <a:pt x="5129" y="3123"/>
                  </a:lnTo>
                  <a:lnTo>
                    <a:pt x="5091" y="3140"/>
                  </a:lnTo>
                  <a:lnTo>
                    <a:pt x="5112" y="3100"/>
                  </a:lnTo>
                  <a:lnTo>
                    <a:pt x="5124" y="3111"/>
                  </a:lnTo>
                  <a:lnTo>
                    <a:pt x="5124" y="3111"/>
                  </a:lnTo>
                  <a:lnTo>
                    <a:pt x="5124" y="3111"/>
                  </a:lnTo>
                  <a:close/>
                  <a:moveTo>
                    <a:pt x="5365" y="3123"/>
                  </a:moveTo>
                  <a:lnTo>
                    <a:pt x="5365" y="3135"/>
                  </a:lnTo>
                  <a:lnTo>
                    <a:pt x="5339" y="3118"/>
                  </a:lnTo>
                  <a:lnTo>
                    <a:pt x="5355" y="3118"/>
                  </a:lnTo>
                  <a:lnTo>
                    <a:pt x="5365" y="3123"/>
                  </a:lnTo>
                  <a:lnTo>
                    <a:pt x="5365" y="3123"/>
                  </a:lnTo>
                  <a:lnTo>
                    <a:pt x="5365" y="3123"/>
                  </a:lnTo>
                  <a:close/>
                  <a:moveTo>
                    <a:pt x="4281" y="3177"/>
                  </a:moveTo>
                  <a:lnTo>
                    <a:pt x="4281" y="3189"/>
                  </a:lnTo>
                  <a:lnTo>
                    <a:pt x="4264" y="3194"/>
                  </a:lnTo>
                  <a:lnTo>
                    <a:pt x="4281" y="3177"/>
                  </a:lnTo>
                  <a:lnTo>
                    <a:pt x="4281" y="3177"/>
                  </a:lnTo>
                  <a:lnTo>
                    <a:pt x="4281" y="3177"/>
                  </a:lnTo>
                  <a:close/>
                  <a:moveTo>
                    <a:pt x="5398" y="3177"/>
                  </a:moveTo>
                  <a:lnTo>
                    <a:pt x="5398" y="3194"/>
                  </a:lnTo>
                  <a:lnTo>
                    <a:pt x="5381" y="3194"/>
                  </a:lnTo>
                  <a:lnTo>
                    <a:pt x="5398" y="3177"/>
                  </a:lnTo>
                  <a:lnTo>
                    <a:pt x="5398" y="3177"/>
                  </a:lnTo>
                  <a:lnTo>
                    <a:pt x="5398" y="3177"/>
                  </a:lnTo>
                  <a:close/>
                  <a:moveTo>
                    <a:pt x="4264" y="3206"/>
                  </a:moveTo>
                  <a:lnTo>
                    <a:pt x="4259" y="3206"/>
                  </a:lnTo>
                  <a:lnTo>
                    <a:pt x="4264" y="3194"/>
                  </a:lnTo>
                  <a:lnTo>
                    <a:pt x="4264" y="3206"/>
                  </a:lnTo>
                  <a:lnTo>
                    <a:pt x="4264" y="3206"/>
                  </a:lnTo>
                  <a:lnTo>
                    <a:pt x="4264" y="3206"/>
                  </a:lnTo>
                  <a:close/>
                  <a:moveTo>
                    <a:pt x="5037" y="3263"/>
                  </a:moveTo>
                  <a:lnTo>
                    <a:pt x="5037" y="3279"/>
                  </a:lnTo>
                  <a:lnTo>
                    <a:pt x="5025" y="3279"/>
                  </a:lnTo>
                  <a:lnTo>
                    <a:pt x="5020" y="3263"/>
                  </a:lnTo>
                  <a:lnTo>
                    <a:pt x="5037" y="3263"/>
                  </a:lnTo>
                  <a:lnTo>
                    <a:pt x="5037" y="3263"/>
                  </a:lnTo>
                  <a:lnTo>
                    <a:pt x="5037" y="3263"/>
                  </a:lnTo>
                  <a:close/>
                  <a:moveTo>
                    <a:pt x="4373" y="3305"/>
                  </a:moveTo>
                  <a:lnTo>
                    <a:pt x="4389" y="3322"/>
                  </a:lnTo>
                  <a:lnTo>
                    <a:pt x="4373" y="3317"/>
                  </a:lnTo>
                  <a:lnTo>
                    <a:pt x="4373" y="3305"/>
                  </a:lnTo>
                  <a:lnTo>
                    <a:pt x="4373" y="3305"/>
                  </a:lnTo>
                  <a:lnTo>
                    <a:pt x="4373" y="3305"/>
                  </a:lnTo>
                  <a:close/>
                  <a:moveTo>
                    <a:pt x="5150" y="3338"/>
                  </a:moveTo>
                  <a:lnTo>
                    <a:pt x="5150" y="3350"/>
                  </a:lnTo>
                  <a:lnTo>
                    <a:pt x="5145" y="3350"/>
                  </a:lnTo>
                  <a:lnTo>
                    <a:pt x="5150" y="3338"/>
                  </a:lnTo>
                  <a:lnTo>
                    <a:pt x="5150" y="3338"/>
                  </a:lnTo>
                  <a:lnTo>
                    <a:pt x="5150" y="3338"/>
                  </a:lnTo>
                  <a:close/>
                  <a:moveTo>
                    <a:pt x="5544" y="3395"/>
                  </a:moveTo>
                  <a:lnTo>
                    <a:pt x="5544" y="3407"/>
                  </a:lnTo>
                  <a:lnTo>
                    <a:pt x="5528" y="3395"/>
                  </a:lnTo>
                  <a:lnTo>
                    <a:pt x="5537" y="3390"/>
                  </a:lnTo>
                  <a:lnTo>
                    <a:pt x="5544" y="3395"/>
                  </a:lnTo>
                  <a:lnTo>
                    <a:pt x="5544" y="3395"/>
                  </a:lnTo>
                  <a:lnTo>
                    <a:pt x="5544" y="3395"/>
                  </a:lnTo>
                  <a:close/>
                  <a:moveTo>
                    <a:pt x="5570" y="3407"/>
                  </a:moveTo>
                  <a:lnTo>
                    <a:pt x="5561" y="3411"/>
                  </a:lnTo>
                  <a:lnTo>
                    <a:pt x="5544" y="3407"/>
                  </a:lnTo>
                  <a:lnTo>
                    <a:pt x="5554" y="3395"/>
                  </a:lnTo>
                  <a:lnTo>
                    <a:pt x="5570" y="3407"/>
                  </a:lnTo>
                  <a:lnTo>
                    <a:pt x="5570" y="3407"/>
                  </a:lnTo>
                  <a:lnTo>
                    <a:pt x="5570" y="3407"/>
                  </a:lnTo>
                  <a:close/>
                  <a:moveTo>
                    <a:pt x="4297" y="3416"/>
                  </a:moveTo>
                  <a:lnTo>
                    <a:pt x="4285" y="3444"/>
                  </a:lnTo>
                  <a:lnTo>
                    <a:pt x="4285" y="3428"/>
                  </a:lnTo>
                  <a:lnTo>
                    <a:pt x="4297" y="3416"/>
                  </a:lnTo>
                  <a:lnTo>
                    <a:pt x="4297" y="3416"/>
                  </a:lnTo>
                  <a:lnTo>
                    <a:pt x="4297" y="3416"/>
                  </a:lnTo>
                  <a:close/>
                  <a:moveTo>
                    <a:pt x="5544" y="3433"/>
                  </a:moveTo>
                  <a:lnTo>
                    <a:pt x="5537" y="3428"/>
                  </a:lnTo>
                  <a:lnTo>
                    <a:pt x="5544" y="3416"/>
                  </a:lnTo>
                  <a:lnTo>
                    <a:pt x="5554" y="3428"/>
                  </a:lnTo>
                  <a:lnTo>
                    <a:pt x="5544" y="3433"/>
                  </a:lnTo>
                  <a:lnTo>
                    <a:pt x="5544" y="3433"/>
                  </a:lnTo>
                  <a:lnTo>
                    <a:pt x="5544" y="3433"/>
                  </a:lnTo>
                  <a:close/>
                  <a:moveTo>
                    <a:pt x="5570" y="3428"/>
                  </a:moveTo>
                  <a:lnTo>
                    <a:pt x="5570" y="3444"/>
                  </a:lnTo>
                  <a:lnTo>
                    <a:pt x="5544" y="3433"/>
                  </a:lnTo>
                  <a:lnTo>
                    <a:pt x="5570" y="3428"/>
                  </a:lnTo>
                  <a:lnTo>
                    <a:pt x="5570" y="3428"/>
                  </a:lnTo>
                  <a:lnTo>
                    <a:pt x="5570" y="3428"/>
                  </a:lnTo>
                  <a:close/>
                  <a:moveTo>
                    <a:pt x="4503" y="3444"/>
                  </a:moveTo>
                  <a:lnTo>
                    <a:pt x="4512" y="3449"/>
                  </a:lnTo>
                  <a:lnTo>
                    <a:pt x="4503" y="3444"/>
                  </a:lnTo>
                  <a:lnTo>
                    <a:pt x="4503" y="3444"/>
                  </a:lnTo>
                  <a:lnTo>
                    <a:pt x="4503" y="3444"/>
                  </a:lnTo>
                  <a:close/>
                  <a:moveTo>
                    <a:pt x="5561" y="3444"/>
                  </a:moveTo>
                  <a:lnTo>
                    <a:pt x="5570" y="3449"/>
                  </a:lnTo>
                  <a:lnTo>
                    <a:pt x="5554" y="3449"/>
                  </a:lnTo>
                  <a:lnTo>
                    <a:pt x="5561" y="3444"/>
                  </a:lnTo>
                  <a:lnTo>
                    <a:pt x="5561" y="3444"/>
                  </a:lnTo>
                  <a:lnTo>
                    <a:pt x="5561" y="3444"/>
                  </a:lnTo>
                  <a:close/>
                  <a:moveTo>
                    <a:pt x="5582" y="3489"/>
                  </a:moveTo>
                  <a:lnTo>
                    <a:pt x="5570" y="3506"/>
                  </a:lnTo>
                  <a:lnTo>
                    <a:pt x="5582" y="3506"/>
                  </a:lnTo>
                  <a:lnTo>
                    <a:pt x="5582" y="3522"/>
                  </a:lnTo>
                  <a:lnTo>
                    <a:pt x="5570" y="3506"/>
                  </a:lnTo>
                  <a:lnTo>
                    <a:pt x="5575" y="3489"/>
                  </a:lnTo>
                  <a:lnTo>
                    <a:pt x="5582" y="3489"/>
                  </a:lnTo>
                  <a:lnTo>
                    <a:pt x="5582" y="3489"/>
                  </a:lnTo>
                  <a:lnTo>
                    <a:pt x="5582" y="3489"/>
                  </a:lnTo>
                  <a:close/>
                  <a:moveTo>
                    <a:pt x="4297" y="3489"/>
                  </a:moveTo>
                  <a:lnTo>
                    <a:pt x="4297" y="3506"/>
                  </a:lnTo>
                  <a:lnTo>
                    <a:pt x="4285" y="3499"/>
                  </a:lnTo>
                  <a:lnTo>
                    <a:pt x="4297" y="3489"/>
                  </a:lnTo>
                  <a:lnTo>
                    <a:pt x="4297" y="3489"/>
                  </a:lnTo>
                  <a:lnTo>
                    <a:pt x="4297" y="3489"/>
                  </a:lnTo>
                  <a:close/>
                  <a:moveTo>
                    <a:pt x="4285" y="3499"/>
                  </a:moveTo>
                  <a:lnTo>
                    <a:pt x="4285" y="3506"/>
                  </a:lnTo>
                  <a:lnTo>
                    <a:pt x="4281" y="3506"/>
                  </a:lnTo>
                  <a:lnTo>
                    <a:pt x="4285" y="3499"/>
                  </a:lnTo>
                  <a:lnTo>
                    <a:pt x="4285" y="3499"/>
                  </a:lnTo>
                  <a:lnTo>
                    <a:pt x="4285" y="3499"/>
                  </a:lnTo>
                  <a:close/>
                  <a:moveTo>
                    <a:pt x="4314" y="3506"/>
                  </a:moveTo>
                  <a:lnTo>
                    <a:pt x="4314" y="3518"/>
                  </a:lnTo>
                  <a:lnTo>
                    <a:pt x="4314" y="3522"/>
                  </a:lnTo>
                  <a:lnTo>
                    <a:pt x="4314" y="3506"/>
                  </a:lnTo>
                  <a:lnTo>
                    <a:pt x="4314" y="3506"/>
                  </a:lnTo>
                  <a:lnTo>
                    <a:pt x="4314" y="3506"/>
                  </a:lnTo>
                  <a:close/>
                  <a:moveTo>
                    <a:pt x="5599" y="3522"/>
                  </a:moveTo>
                  <a:lnTo>
                    <a:pt x="5599" y="3518"/>
                  </a:lnTo>
                  <a:lnTo>
                    <a:pt x="5608" y="3518"/>
                  </a:lnTo>
                  <a:lnTo>
                    <a:pt x="5599" y="3522"/>
                  </a:lnTo>
                  <a:lnTo>
                    <a:pt x="5599" y="3522"/>
                  </a:lnTo>
                  <a:lnTo>
                    <a:pt x="5599" y="3522"/>
                  </a:lnTo>
                  <a:close/>
                  <a:moveTo>
                    <a:pt x="4335" y="3518"/>
                  </a:moveTo>
                  <a:lnTo>
                    <a:pt x="4340" y="3522"/>
                  </a:lnTo>
                  <a:lnTo>
                    <a:pt x="4323" y="3522"/>
                  </a:lnTo>
                  <a:lnTo>
                    <a:pt x="4335" y="3518"/>
                  </a:lnTo>
                  <a:lnTo>
                    <a:pt x="4335" y="3518"/>
                  </a:lnTo>
                  <a:lnTo>
                    <a:pt x="4335" y="3518"/>
                  </a:lnTo>
                  <a:close/>
                  <a:moveTo>
                    <a:pt x="4297" y="3610"/>
                  </a:moveTo>
                  <a:lnTo>
                    <a:pt x="4314" y="3572"/>
                  </a:lnTo>
                  <a:lnTo>
                    <a:pt x="4285" y="3600"/>
                  </a:lnTo>
                  <a:lnTo>
                    <a:pt x="4281" y="3593"/>
                  </a:lnTo>
                  <a:lnTo>
                    <a:pt x="4281" y="3584"/>
                  </a:lnTo>
                  <a:lnTo>
                    <a:pt x="4302" y="3560"/>
                  </a:lnTo>
                  <a:lnTo>
                    <a:pt x="4318" y="3527"/>
                  </a:lnTo>
                  <a:lnTo>
                    <a:pt x="4318" y="3539"/>
                  </a:lnTo>
                  <a:lnTo>
                    <a:pt x="4314" y="3572"/>
                  </a:lnTo>
                  <a:lnTo>
                    <a:pt x="4318" y="3560"/>
                  </a:lnTo>
                  <a:lnTo>
                    <a:pt x="4323" y="3527"/>
                  </a:lnTo>
                  <a:lnTo>
                    <a:pt x="4352" y="3539"/>
                  </a:lnTo>
                  <a:lnTo>
                    <a:pt x="4335" y="3593"/>
                  </a:lnTo>
                  <a:lnTo>
                    <a:pt x="4352" y="3544"/>
                  </a:lnTo>
                  <a:lnTo>
                    <a:pt x="4323" y="3600"/>
                  </a:lnTo>
                  <a:lnTo>
                    <a:pt x="4335" y="3560"/>
                  </a:lnTo>
                  <a:lnTo>
                    <a:pt x="4318" y="3600"/>
                  </a:lnTo>
                  <a:lnTo>
                    <a:pt x="4297" y="3610"/>
                  </a:lnTo>
                  <a:lnTo>
                    <a:pt x="4297" y="3610"/>
                  </a:lnTo>
                  <a:lnTo>
                    <a:pt x="4297" y="3610"/>
                  </a:lnTo>
                  <a:close/>
                  <a:moveTo>
                    <a:pt x="5570" y="3527"/>
                  </a:moveTo>
                  <a:lnTo>
                    <a:pt x="5599" y="3539"/>
                  </a:lnTo>
                  <a:lnTo>
                    <a:pt x="5570" y="3539"/>
                  </a:lnTo>
                  <a:lnTo>
                    <a:pt x="5582" y="3539"/>
                  </a:lnTo>
                  <a:lnTo>
                    <a:pt x="5570" y="3527"/>
                  </a:lnTo>
                  <a:lnTo>
                    <a:pt x="5570" y="3527"/>
                  </a:lnTo>
                  <a:lnTo>
                    <a:pt x="5570" y="3527"/>
                  </a:lnTo>
                  <a:close/>
                  <a:moveTo>
                    <a:pt x="4271" y="3572"/>
                  </a:moveTo>
                  <a:lnTo>
                    <a:pt x="4271" y="3555"/>
                  </a:lnTo>
                  <a:lnTo>
                    <a:pt x="4297" y="3544"/>
                  </a:lnTo>
                  <a:lnTo>
                    <a:pt x="4314" y="3527"/>
                  </a:lnTo>
                  <a:lnTo>
                    <a:pt x="4302" y="3555"/>
                  </a:lnTo>
                  <a:lnTo>
                    <a:pt x="4271" y="3572"/>
                  </a:lnTo>
                  <a:lnTo>
                    <a:pt x="4271" y="3572"/>
                  </a:lnTo>
                  <a:lnTo>
                    <a:pt x="4271" y="3572"/>
                  </a:lnTo>
                  <a:close/>
                  <a:moveTo>
                    <a:pt x="4352" y="3572"/>
                  </a:moveTo>
                  <a:lnTo>
                    <a:pt x="4356" y="3544"/>
                  </a:lnTo>
                  <a:lnTo>
                    <a:pt x="4373" y="3539"/>
                  </a:lnTo>
                  <a:lnTo>
                    <a:pt x="4373" y="3572"/>
                  </a:lnTo>
                  <a:lnTo>
                    <a:pt x="4352" y="3572"/>
                  </a:lnTo>
                  <a:lnTo>
                    <a:pt x="4352" y="3572"/>
                  </a:lnTo>
                  <a:lnTo>
                    <a:pt x="4352" y="3572"/>
                  </a:lnTo>
                  <a:close/>
                  <a:moveTo>
                    <a:pt x="5570" y="3544"/>
                  </a:moveTo>
                  <a:lnTo>
                    <a:pt x="5582" y="3555"/>
                  </a:lnTo>
                  <a:lnTo>
                    <a:pt x="5554" y="3544"/>
                  </a:lnTo>
                  <a:lnTo>
                    <a:pt x="5570" y="3544"/>
                  </a:lnTo>
                  <a:lnTo>
                    <a:pt x="5570" y="3544"/>
                  </a:lnTo>
                  <a:lnTo>
                    <a:pt x="5570" y="3544"/>
                  </a:lnTo>
                  <a:close/>
                  <a:moveTo>
                    <a:pt x="5608" y="3572"/>
                  </a:moveTo>
                  <a:lnTo>
                    <a:pt x="5613" y="3584"/>
                  </a:lnTo>
                  <a:lnTo>
                    <a:pt x="5592" y="3577"/>
                  </a:lnTo>
                  <a:lnTo>
                    <a:pt x="5608" y="3572"/>
                  </a:lnTo>
                  <a:lnTo>
                    <a:pt x="5608" y="3572"/>
                  </a:lnTo>
                  <a:lnTo>
                    <a:pt x="5608" y="3572"/>
                  </a:lnTo>
                  <a:close/>
                  <a:moveTo>
                    <a:pt x="4352" y="3577"/>
                  </a:moveTo>
                  <a:lnTo>
                    <a:pt x="4352" y="3584"/>
                  </a:lnTo>
                  <a:lnTo>
                    <a:pt x="4340" y="3610"/>
                  </a:lnTo>
                  <a:lnTo>
                    <a:pt x="4352" y="3577"/>
                  </a:lnTo>
                  <a:lnTo>
                    <a:pt x="4352" y="3577"/>
                  </a:lnTo>
                  <a:lnTo>
                    <a:pt x="4352" y="3577"/>
                  </a:lnTo>
                  <a:close/>
                  <a:moveTo>
                    <a:pt x="5629" y="3593"/>
                  </a:moveTo>
                  <a:lnTo>
                    <a:pt x="5613" y="3600"/>
                  </a:lnTo>
                  <a:lnTo>
                    <a:pt x="5625" y="3593"/>
                  </a:lnTo>
                  <a:lnTo>
                    <a:pt x="5629" y="3593"/>
                  </a:lnTo>
                  <a:lnTo>
                    <a:pt x="5629" y="3593"/>
                  </a:lnTo>
                  <a:lnTo>
                    <a:pt x="5629" y="3593"/>
                  </a:lnTo>
                  <a:close/>
                  <a:moveTo>
                    <a:pt x="5613" y="3593"/>
                  </a:moveTo>
                  <a:lnTo>
                    <a:pt x="5608" y="3600"/>
                  </a:lnTo>
                  <a:lnTo>
                    <a:pt x="5608" y="3593"/>
                  </a:lnTo>
                  <a:lnTo>
                    <a:pt x="5613" y="3593"/>
                  </a:lnTo>
                  <a:lnTo>
                    <a:pt x="5613" y="3593"/>
                  </a:lnTo>
                  <a:lnTo>
                    <a:pt x="5613" y="3593"/>
                  </a:lnTo>
                  <a:close/>
                  <a:moveTo>
                    <a:pt x="763" y="3683"/>
                  </a:moveTo>
                  <a:lnTo>
                    <a:pt x="756" y="3704"/>
                  </a:lnTo>
                  <a:lnTo>
                    <a:pt x="747" y="3711"/>
                  </a:lnTo>
                  <a:lnTo>
                    <a:pt x="740" y="3704"/>
                  </a:lnTo>
                  <a:lnTo>
                    <a:pt x="763" y="3683"/>
                  </a:lnTo>
                  <a:lnTo>
                    <a:pt x="763" y="3683"/>
                  </a:lnTo>
                  <a:lnTo>
                    <a:pt x="763" y="3683"/>
                  </a:lnTo>
                  <a:close/>
                  <a:moveTo>
                    <a:pt x="5826" y="3695"/>
                  </a:moveTo>
                  <a:lnTo>
                    <a:pt x="5826" y="3704"/>
                  </a:lnTo>
                  <a:lnTo>
                    <a:pt x="5830" y="3704"/>
                  </a:lnTo>
                  <a:lnTo>
                    <a:pt x="5814" y="3711"/>
                  </a:lnTo>
                  <a:lnTo>
                    <a:pt x="5809" y="3704"/>
                  </a:lnTo>
                  <a:lnTo>
                    <a:pt x="5826" y="3695"/>
                  </a:lnTo>
                  <a:lnTo>
                    <a:pt x="5826" y="3695"/>
                  </a:lnTo>
                  <a:lnTo>
                    <a:pt x="5826" y="3695"/>
                  </a:lnTo>
                  <a:close/>
                  <a:moveTo>
                    <a:pt x="740" y="3704"/>
                  </a:moveTo>
                  <a:lnTo>
                    <a:pt x="740" y="3711"/>
                  </a:lnTo>
                  <a:lnTo>
                    <a:pt x="735" y="3711"/>
                  </a:lnTo>
                  <a:lnTo>
                    <a:pt x="740" y="3704"/>
                  </a:lnTo>
                  <a:lnTo>
                    <a:pt x="740" y="3704"/>
                  </a:lnTo>
                  <a:lnTo>
                    <a:pt x="740" y="3704"/>
                  </a:lnTo>
                  <a:close/>
                  <a:moveTo>
                    <a:pt x="719" y="3728"/>
                  </a:moveTo>
                  <a:lnTo>
                    <a:pt x="702" y="3744"/>
                  </a:lnTo>
                  <a:lnTo>
                    <a:pt x="709" y="3721"/>
                  </a:lnTo>
                  <a:lnTo>
                    <a:pt x="719" y="3728"/>
                  </a:lnTo>
                  <a:lnTo>
                    <a:pt x="719" y="3728"/>
                  </a:lnTo>
                  <a:lnTo>
                    <a:pt x="719" y="3728"/>
                  </a:lnTo>
                  <a:close/>
                  <a:moveTo>
                    <a:pt x="5868" y="3728"/>
                  </a:moveTo>
                  <a:lnTo>
                    <a:pt x="5878" y="3737"/>
                  </a:lnTo>
                  <a:lnTo>
                    <a:pt x="5868" y="3737"/>
                  </a:lnTo>
                  <a:lnTo>
                    <a:pt x="5868" y="3728"/>
                  </a:lnTo>
                  <a:lnTo>
                    <a:pt x="5868" y="3728"/>
                  </a:lnTo>
                  <a:lnTo>
                    <a:pt x="5868" y="3728"/>
                  </a:lnTo>
                  <a:close/>
                  <a:moveTo>
                    <a:pt x="719" y="3766"/>
                  </a:moveTo>
                  <a:lnTo>
                    <a:pt x="726" y="3777"/>
                  </a:lnTo>
                  <a:lnTo>
                    <a:pt x="719" y="3766"/>
                  </a:lnTo>
                  <a:lnTo>
                    <a:pt x="719" y="3766"/>
                  </a:lnTo>
                  <a:lnTo>
                    <a:pt x="719" y="3766"/>
                  </a:lnTo>
                  <a:close/>
                  <a:moveTo>
                    <a:pt x="756" y="3766"/>
                  </a:moveTo>
                  <a:lnTo>
                    <a:pt x="763" y="3766"/>
                  </a:lnTo>
                  <a:lnTo>
                    <a:pt x="756" y="3777"/>
                  </a:lnTo>
                  <a:lnTo>
                    <a:pt x="756" y="3766"/>
                  </a:lnTo>
                  <a:lnTo>
                    <a:pt x="756" y="3766"/>
                  </a:lnTo>
                  <a:lnTo>
                    <a:pt x="756" y="3766"/>
                  </a:lnTo>
                  <a:close/>
                  <a:moveTo>
                    <a:pt x="563" y="3815"/>
                  </a:moveTo>
                  <a:lnTo>
                    <a:pt x="558" y="3799"/>
                  </a:lnTo>
                  <a:lnTo>
                    <a:pt x="558" y="3782"/>
                  </a:lnTo>
                  <a:lnTo>
                    <a:pt x="558" y="3766"/>
                  </a:lnTo>
                  <a:lnTo>
                    <a:pt x="596" y="3777"/>
                  </a:lnTo>
                  <a:lnTo>
                    <a:pt x="584" y="3794"/>
                  </a:lnTo>
                  <a:lnTo>
                    <a:pt x="600" y="3777"/>
                  </a:lnTo>
                  <a:lnTo>
                    <a:pt x="617" y="3777"/>
                  </a:lnTo>
                  <a:lnTo>
                    <a:pt x="626" y="3799"/>
                  </a:lnTo>
                  <a:lnTo>
                    <a:pt x="584" y="3815"/>
                  </a:lnTo>
                  <a:lnTo>
                    <a:pt x="600" y="3822"/>
                  </a:lnTo>
                  <a:lnTo>
                    <a:pt x="626" y="3815"/>
                  </a:lnTo>
                  <a:lnTo>
                    <a:pt x="626" y="3782"/>
                  </a:lnTo>
                  <a:lnTo>
                    <a:pt x="655" y="3766"/>
                  </a:lnTo>
                  <a:lnTo>
                    <a:pt x="638" y="3822"/>
                  </a:lnTo>
                  <a:lnTo>
                    <a:pt x="638" y="3848"/>
                  </a:lnTo>
                  <a:lnTo>
                    <a:pt x="633" y="3860"/>
                  </a:lnTo>
                  <a:lnTo>
                    <a:pt x="612" y="3860"/>
                  </a:lnTo>
                  <a:lnTo>
                    <a:pt x="626" y="3872"/>
                  </a:lnTo>
                  <a:lnTo>
                    <a:pt x="600" y="3872"/>
                  </a:lnTo>
                  <a:lnTo>
                    <a:pt x="584" y="3855"/>
                  </a:lnTo>
                  <a:lnTo>
                    <a:pt x="596" y="3855"/>
                  </a:lnTo>
                  <a:lnTo>
                    <a:pt x="579" y="3855"/>
                  </a:lnTo>
                  <a:lnTo>
                    <a:pt x="584" y="3848"/>
                  </a:lnTo>
                  <a:lnTo>
                    <a:pt x="600" y="3855"/>
                  </a:lnTo>
                  <a:lnTo>
                    <a:pt x="574" y="3839"/>
                  </a:lnTo>
                  <a:lnTo>
                    <a:pt x="563" y="3822"/>
                  </a:lnTo>
                  <a:lnTo>
                    <a:pt x="574" y="3822"/>
                  </a:lnTo>
                  <a:lnTo>
                    <a:pt x="563" y="3815"/>
                  </a:lnTo>
                  <a:lnTo>
                    <a:pt x="563" y="3815"/>
                  </a:lnTo>
                  <a:lnTo>
                    <a:pt x="563" y="3815"/>
                  </a:lnTo>
                  <a:close/>
                  <a:moveTo>
                    <a:pt x="747" y="3777"/>
                  </a:moveTo>
                  <a:lnTo>
                    <a:pt x="756" y="3794"/>
                  </a:lnTo>
                  <a:lnTo>
                    <a:pt x="747" y="3799"/>
                  </a:lnTo>
                  <a:lnTo>
                    <a:pt x="740" y="3799"/>
                  </a:lnTo>
                  <a:lnTo>
                    <a:pt x="747" y="3782"/>
                  </a:lnTo>
                  <a:lnTo>
                    <a:pt x="735" y="3794"/>
                  </a:lnTo>
                  <a:lnTo>
                    <a:pt x="726" y="3794"/>
                  </a:lnTo>
                  <a:lnTo>
                    <a:pt x="735" y="3799"/>
                  </a:lnTo>
                  <a:lnTo>
                    <a:pt x="726" y="3799"/>
                  </a:lnTo>
                  <a:lnTo>
                    <a:pt x="726" y="3782"/>
                  </a:lnTo>
                  <a:lnTo>
                    <a:pt x="747" y="3777"/>
                  </a:lnTo>
                  <a:lnTo>
                    <a:pt x="747" y="3777"/>
                  </a:lnTo>
                  <a:lnTo>
                    <a:pt x="747" y="3777"/>
                  </a:lnTo>
                  <a:close/>
                  <a:moveTo>
                    <a:pt x="801" y="3860"/>
                  </a:moveTo>
                  <a:lnTo>
                    <a:pt x="789" y="3848"/>
                  </a:lnTo>
                  <a:lnTo>
                    <a:pt x="778" y="3832"/>
                  </a:lnTo>
                  <a:lnTo>
                    <a:pt x="773" y="3822"/>
                  </a:lnTo>
                  <a:lnTo>
                    <a:pt x="778" y="3822"/>
                  </a:lnTo>
                  <a:lnTo>
                    <a:pt x="763" y="3815"/>
                  </a:lnTo>
                  <a:lnTo>
                    <a:pt x="756" y="3799"/>
                  </a:lnTo>
                  <a:lnTo>
                    <a:pt x="773" y="3806"/>
                  </a:lnTo>
                  <a:lnTo>
                    <a:pt x="811" y="3848"/>
                  </a:lnTo>
                  <a:lnTo>
                    <a:pt x="811" y="3860"/>
                  </a:lnTo>
                  <a:lnTo>
                    <a:pt x="801" y="3860"/>
                  </a:lnTo>
                  <a:lnTo>
                    <a:pt x="801" y="3860"/>
                  </a:lnTo>
                  <a:lnTo>
                    <a:pt x="801" y="3860"/>
                  </a:lnTo>
                  <a:close/>
                  <a:moveTo>
                    <a:pt x="756" y="3806"/>
                  </a:moveTo>
                  <a:lnTo>
                    <a:pt x="763" y="3832"/>
                  </a:lnTo>
                  <a:lnTo>
                    <a:pt x="747" y="3815"/>
                  </a:lnTo>
                  <a:lnTo>
                    <a:pt x="756" y="3806"/>
                  </a:lnTo>
                  <a:lnTo>
                    <a:pt x="756" y="3806"/>
                  </a:lnTo>
                  <a:lnTo>
                    <a:pt x="756" y="3806"/>
                  </a:lnTo>
                  <a:close/>
                  <a:moveTo>
                    <a:pt x="853" y="3815"/>
                  </a:moveTo>
                  <a:lnTo>
                    <a:pt x="832" y="3848"/>
                  </a:lnTo>
                  <a:lnTo>
                    <a:pt x="832" y="3822"/>
                  </a:lnTo>
                  <a:lnTo>
                    <a:pt x="853" y="3815"/>
                  </a:lnTo>
                  <a:lnTo>
                    <a:pt x="853" y="3815"/>
                  </a:lnTo>
                  <a:lnTo>
                    <a:pt x="853" y="3815"/>
                  </a:lnTo>
                  <a:close/>
                  <a:moveTo>
                    <a:pt x="747" y="3822"/>
                  </a:moveTo>
                  <a:lnTo>
                    <a:pt x="778" y="3839"/>
                  </a:lnTo>
                  <a:lnTo>
                    <a:pt x="794" y="3860"/>
                  </a:lnTo>
                  <a:lnTo>
                    <a:pt x="778" y="3872"/>
                  </a:lnTo>
                  <a:lnTo>
                    <a:pt x="735" y="3832"/>
                  </a:lnTo>
                  <a:lnTo>
                    <a:pt x="740" y="3822"/>
                  </a:lnTo>
                  <a:lnTo>
                    <a:pt x="747" y="3822"/>
                  </a:lnTo>
                  <a:lnTo>
                    <a:pt x="747" y="3822"/>
                  </a:lnTo>
                  <a:lnTo>
                    <a:pt x="747" y="3822"/>
                  </a:lnTo>
                  <a:close/>
                  <a:moveTo>
                    <a:pt x="844" y="3832"/>
                  </a:moveTo>
                  <a:lnTo>
                    <a:pt x="848" y="3855"/>
                  </a:lnTo>
                  <a:lnTo>
                    <a:pt x="832" y="3855"/>
                  </a:lnTo>
                  <a:lnTo>
                    <a:pt x="844" y="3832"/>
                  </a:lnTo>
                  <a:lnTo>
                    <a:pt x="844" y="3832"/>
                  </a:lnTo>
                  <a:lnTo>
                    <a:pt x="844" y="3832"/>
                  </a:lnTo>
                  <a:close/>
                  <a:moveTo>
                    <a:pt x="5970" y="3839"/>
                  </a:moveTo>
                  <a:lnTo>
                    <a:pt x="5977" y="3839"/>
                  </a:lnTo>
                  <a:lnTo>
                    <a:pt x="5977" y="3848"/>
                  </a:lnTo>
                  <a:lnTo>
                    <a:pt x="5960" y="3839"/>
                  </a:lnTo>
                  <a:lnTo>
                    <a:pt x="5970" y="3839"/>
                  </a:lnTo>
                  <a:lnTo>
                    <a:pt x="5970" y="3839"/>
                  </a:lnTo>
                  <a:lnTo>
                    <a:pt x="5970" y="3839"/>
                  </a:lnTo>
                  <a:close/>
                  <a:moveTo>
                    <a:pt x="815" y="3848"/>
                  </a:moveTo>
                  <a:lnTo>
                    <a:pt x="815" y="3855"/>
                  </a:lnTo>
                  <a:lnTo>
                    <a:pt x="811" y="3848"/>
                  </a:lnTo>
                  <a:lnTo>
                    <a:pt x="815" y="3848"/>
                  </a:lnTo>
                  <a:lnTo>
                    <a:pt x="815" y="3848"/>
                  </a:lnTo>
                  <a:lnTo>
                    <a:pt x="815" y="3848"/>
                  </a:lnTo>
                  <a:close/>
                  <a:moveTo>
                    <a:pt x="4281" y="3848"/>
                  </a:moveTo>
                  <a:lnTo>
                    <a:pt x="4281" y="3855"/>
                  </a:lnTo>
                  <a:lnTo>
                    <a:pt x="4271" y="3855"/>
                  </a:lnTo>
                  <a:lnTo>
                    <a:pt x="4281" y="3848"/>
                  </a:lnTo>
                  <a:lnTo>
                    <a:pt x="4281" y="3848"/>
                  </a:lnTo>
                  <a:lnTo>
                    <a:pt x="4281" y="3848"/>
                  </a:lnTo>
                  <a:close/>
                  <a:moveTo>
                    <a:pt x="827" y="3855"/>
                  </a:moveTo>
                  <a:lnTo>
                    <a:pt x="832" y="3872"/>
                  </a:lnTo>
                  <a:lnTo>
                    <a:pt x="815" y="3872"/>
                  </a:lnTo>
                  <a:lnTo>
                    <a:pt x="827" y="3855"/>
                  </a:lnTo>
                  <a:lnTo>
                    <a:pt x="827" y="3855"/>
                  </a:lnTo>
                  <a:lnTo>
                    <a:pt x="827" y="3855"/>
                  </a:lnTo>
                  <a:close/>
                  <a:moveTo>
                    <a:pt x="832" y="3905"/>
                  </a:moveTo>
                  <a:lnTo>
                    <a:pt x="853" y="3877"/>
                  </a:lnTo>
                  <a:lnTo>
                    <a:pt x="844" y="3872"/>
                  </a:lnTo>
                  <a:lnTo>
                    <a:pt x="853" y="3877"/>
                  </a:lnTo>
                  <a:lnTo>
                    <a:pt x="832" y="3893"/>
                  </a:lnTo>
                  <a:lnTo>
                    <a:pt x="844" y="3855"/>
                  </a:lnTo>
                  <a:lnTo>
                    <a:pt x="870" y="3872"/>
                  </a:lnTo>
                  <a:lnTo>
                    <a:pt x="870" y="3877"/>
                  </a:lnTo>
                  <a:lnTo>
                    <a:pt x="870" y="3917"/>
                  </a:lnTo>
                  <a:lnTo>
                    <a:pt x="865" y="3926"/>
                  </a:lnTo>
                  <a:lnTo>
                    <a:pt x="865" y="3888"/>
                  </a:lnTo>
                  <a:lnTo>
                    <a:pt x="853" y="3917"/>
                  </a:lnTo>
                  <a:lnTo>
                    <a:pt x="844" y="3910"/>
                  </a:lnTo>
                  <a:lnTo>
                    <a:pt x="832" y="3905"/>
                  </a:lnTo>
                  <a:lnTo>
                    <a:pt x="832" y="3905"/>
                  </a:lnTo>
                  <a:lnTo>
                    <a:pt x="832" y="3905"/>
                  </a:lnTo>
                  <a:close/>
                  <a:moveTo>
                    <a:pt x="617" y="3893"/>
                  </a:moveTo>
                  <a:lnTo>
                    <a:pt x="626" y="3888"/>
                  </a:lnTo>
                  <a:lnTo>
                    <a:pt x="600" y="3877"/>
                  </a:lnTo>
                  <a:lnTo>
                    <a:pt x="596" y="3872"/>
                  </a:lnTo>
                  <a:lnTo>
                    <a:pt x="626" y="3872"/>
                  </a:lnTo>
                  <a:lnTo>
                    <a:pt x="650" y="3860"/>
                  </a:lnTo>
                  <a:lnTo>
                    <a:pt x="664" y="3877"/>
                  </a:lnTo>
                  <a:lnTo>
                    <a:pt x="633" y="3877"/>
                  </a:lnTo>
                  <a:lnTo>
                    <a:pt x="655" y="3888"/>
                  </a:lnTo>
                  <a:lnTo>
                    <a:pt x="655" y="3893"/>
                  </a:lnTo>
                  <a:lnTo>
                    <a:pt x="633" y="3893"/>
                  </a:lnTo>
                  <a:lnTo>
                    <a:pt x="638" y="3893"/>
                  </a:lnTo>
                  <a:lnTo>
                    <a:pt x="671" y="3943"/>
                  </a:lnTo>
                  <a:lnTo>
                    <a:pt x="688" y="3943"/>
                  </a:lnTo>
                  <a:lnTo>
                    <a:pt x="681" y="3950"/>
                  </a:lnTo>
                  <a:lnTo>
                    <a:pt x="693" y="3950"/>
                  </a:lnTo>
                  <a:lnTo>
                    <a:pt x="702" y="3966"/>
                  </a:lnTo>
                  <a:lnTo>
                    <a:pt x="688" y="3966"/>
                  </a:lnTo>
                  <a:lnTo>
                    <a:pt x="664" y="3950"/>
                  </a:lnTo>
                  <a:lnTo>
                    <a:pt x="664" y="3943"/>
                  </a:lnTo>
                  <a:lnTo>
                    <a:pt x="626" y="3910"/>
                  </a:lnTo>
                  <a:lnTo>
                    <a:pt x="638" y="3910"/>
                  </a:lnTo>
                  <a:lnTo>
                    <a:pt x="633" y="3905"/>
                  </a:lnTo>
                  <a:lnTo>
                    <a:pt x="626" y="3910"/>
                  </a:lnTo>
                  <a:lnTo>
                    <a:pt x="612" y="3888"/>
                  </a:lnTo>
                  <a:lnTo>
                    <a:pt x="617" y="3893"/>
                  </a:lnTo>
                  <a:lnTo>
                    <a:pt x="617" y="3893"/>
                  </a:lnTo>
                  <a:lnTo>
                    <a:pt x="617" y="3893"/>
                  </a:lnTo>
                  <a:close/>
                  <a:moveTo>
                    <a:pt x="4205" y="3860"/>
                  </a:moveTo>
                  <a:lnTo>
                    <a:pt x="4226" y="3893"/>
                  </a:lnTo>
                  <a:lnTo>
                    <a:pt x="4226" y="3910"/>
                  </a:lnTo>
                  <a:lnTo>
                    <a:pt x="4134" y="3877"/>
                  </a:lnTo>
                  <a:lnTo>
                    <a:pt x="4151" y="3860"/>
                  </a:lnTo>
                  <a:lnTo>
                    <a:pt x="4205" y="3860"/>
                  </a:lnTo>
                  <a:lnTo>
                    <a:pt x="4205" y="3860"/>
                  </a:lnTo>
                  <a:lnTo>
                    <a:pt x="4205" y="3860"/>
                  </a:lnTo>
                  <a:close/>
                  <a:moveTo>
                    <a:pt x="811" y="3860"/>
                  </a:moveTo>
                  <a:lnTo>
                    <a:pt x="827" y="3888"/>
                  </a:lnTo>
                  <a:lnTo>
                    <a:pt x="801" y="3872"/>
                  </a:lnTo>
                  <a:lnTo>
                    <a:pt x="811" y="3860"/>
                  </a:lnTo>
                  <a:lnTo>
                    <a:pt x="811" y="3860"/>
                  </a:lnTo>
                  <a:lnTo>
                    <a:pt x="811" y="3860"/>
                  </a:lnTo>
                  <a:close/>
                  <a:moveTo>
                    <a:pt x="4285" y="3872"/>
                  </a:moveTo>
                  <a:lnTo>
                    <a:pt x="4297" y="3872"/>
                  </a:lnTo>
                  <a:lnTo>
                    <a:pt x="4281" y="3877"/>
                  </a:lnTo>
                  <a:lnTo>
                    <a:pt x="4285" y="3872"/>
                  </a:lnTo>
                  <a:lnTo>
                    <a:pt x="4285" y="3872"/>
                  </a:lnTo>
                  <a:lnTo>
                    <a:pt x="4285" y="3872"/>
                  </a:lnTo>
                  <a:close/>
                  <a:moveTo>
                    <a:pt x="794" y="3872"/>
                  </a:moveTo>
                  <a:lnTo>
                    <a:pt x="801" y="3877"/>
                  </a:lnTo>
                  <a:lnTo>
                    <a:pt x="794" y="3872"/>
                  </a:lnTo>
                  <a:lnTo>
                    <a:pt x="794" y="3872"/>
                  </a:lnTo>
                  <a:lnTo>
                    <a:pt x="794" y="3872"/>
                  </a:lnTo>
                  <a:close/>
                  <a:moveTo>
                    <a:pt x="5977" y="3877"/>
                  </a:moveTo>
                  <a:lnTo>
                    <a:pt x="5970" y="3877"/>
                  </a:lnTo>
                  <a:lnTo>
                    <a:pt x="5977" y="3877"/>
                  </a:lnTo>
                  <a:lnTo>
                    <a:pt x="5977" y="3877"/>
                  </a:lnTo>
                  <a:lnTo>
                    <a:pt x="5977" y="3877"/>
                  </a:lnTo>
                  <a:close/>
                  <a:moveTo>
                    <a:pt x="801" y="3877"/>
                  </a:moveTo>
                  <a:lnTo>
                    <a:pt x="811" y="3877"/>
                  </a:lnTo>
                  <a:lnTo>
                    <a:pt x="794" y="3877"/>
                  </a:lnTo>
                  <a:lnTo>
                    <a:pt x="801" y="3877"/>
                  </a:lnTo>
                  <a:lnTo>
                    <a:pt x="801" y="3877"/>
                  </a:lnTo>
                  <a:lnTo>
                    <a:pt x="801" y="3877"/>
                  </a:lnTo>
                  <a:close/>
                  <a:moveTo>
                    <a:pt x="801" y="3888"/>
                  </a:moveTo>
                  <a:lnTo>
                    <a:pt x="794" y="3877"/>
                  </a:lnTo>
                  <a:lnTo>
                    <a:pt x="801" y="3888"/>
                  </a:lnTo>
                  <a:lnTo>
                    <a:pt x="801" y="3888"/>
                  </a:lnTo>
                  <a:lnTo>
                    <a:pt x="801" y="3888"/>
                  </a:lnTo>
                  <a:close/>
                  <a:moveTo>
                    <a:pt x="903" y="3905"/>
                  </a:moveTo>
                  <a:lnTo>
                    <a:pt x="898" y="3926"/>
                  </a:lnTo>
                  <a:lnTo>
                    <a:pt x="886" y="3905"/>
                  </a:lnTo>
                  <a:lnTo>
                    <a:pt x="903" y="3905"/>
                  </a:lnTo>
                  <a:lnTo>
                    <a:pt x="903" y="3905"/>
                  </a:lnTo>
                  <a:lnTo>
                    <a:pt x="903" y="3905"/>
                  </a:lnTo>
                  <a:close/>
                  <a:moveTo>
                    <a:pt x="827" y="3905"/>
                  </a:moveTo>
                  <a:lnTo>
                    <a:pt x="848" y="3917"/>
                  </a:lnTo>
                  <a:lnTo>
                    <a:pt x="848" y="3933"/>
                  </a:lnTo>
                  <a:lnTo>
                    <a:pt x="827" y="3910"/>
                  </a:lnTo>
                  <a:lnTo>
                    <a:pt x="827" y="3905"/>
                  </a:lnTo>
                  <a:lnTo>
                    <a:pt x="827" y="3905"/>
                  </a:lnTo>
                  <a:lnTo>
                    <a:pt x="827" y="3905"/>
                  </a:lnTo>
                  <a:close/>
                  <a:moveTo>
                    <a:pt x="886" y="3905"/>
                  </a:moveTo>
                  <a:lnTo>
                    <a:pt x="898" y="3933"/>
                  </a:lnTo>
                  <a:lnTo>
                    <a:pt x="882" y="3943"/>
                  </a:lnTo>
                  <a:lnTo>
                    <a:pt x="882" y="3910"/>
                  </a:lnTo>
                  <a:lnTo>
                    <a:pt x="886" y="3905"/>
                  </a:lnTo>
                  <a:lnTo>
                    <a:pt x="886" y="3905"/>
                  </a:lnTo>
                  <a:lnTo>
                    <a:pt x="886" y="3905"/>
                  </a:lnTo>
                  <a:close/>
                  <a:moveTo>
                    <a:pt x="671" y="3910"/>
                  </a:moveTo>
                  <a:lnTo>
                    <a:pt x="671" y="3917"/>
                  </a:lnTo>
                  <a:lnTo>
                    <a:pt x="664" y="3926"/>
                  </a:lnTo>
                  <a:lnTo>
                    <a:pt x="655" y="3910"/>
                  </a:lnTo>
                  <a:lnTo>
                    <a:pt x="671" y="3910"/>
                  </a:lnTo>
                  <a:lnTo>
                    <a:pt x="671" y="3910"/>
                  </a:lnTo>
                  <a:lnTo>
                    <a:pt x="671" y="3910"/>
                  </a:lnTo>
                  <a:close/>
                  <a:moveTo>
                    <a:pt x="870" y="3917"/>
                  </a:moveTo>
                  <a:lnTo>
                    <a:pt x="882" y="3943"/>
                  </a:lnTo>
                  <a:lnTo>
                    <a:pt x="853" y="3926"/>
                  </a:lnTo>
                  <a:lnTo>
                    <a:pt x="870" y="3917"/>
                  </a:lnTo>
                  <a:lnTo>
                    <a:pt x="870" y="3917"/>
                  </a:lnTo>
                  <a:lnTo>
                    <a:pt x="870" y="3917"/>
                  </a:lnTo>
                  <a:close/>
                  <a:moveTo>
                    <a:pt x="870" y="3933"/>
                  </a:moveTo>
                  <a:lnTo>
                    <a:pt x="865" y="3959"/>
                  </a:lnTo>
                  <a:lnTo>
                    <a:pt x="853" y="3933"/>
                  </a:lnTo>
                  <a:lnTo>
                    <a:pt x="870" y="3933"/>
                  </a:lnTo>
                  <a:lnTo>
                    <a:pt x="870" y="3933"/>
                  </a:lnTo>
                  <a:lnTo>
                    <a:pt x="870" y="3933"/>
                  </a:lnTo>
                  <a:close/>
                  <a:moveTo>
                    <a:pt x="941" y="3966"/>
                  </a:moveTo>
                  <a:lnTo>
                    <a:pt x="936" y="3983"/>
                  </a:lnTo>
                  <a:lnTo>
                    <a:pt x="919" y="3983"/>
                  </a:lnTo>
                  <a:lnTo>
                    <a:pt x="924" y="3959"/>
                  </a:lnTo>
                  <a:lnTo>
                    <a:pt x="962" y="3943"/>
                  </a:lnTo>
                  <a:lnTo>
                    <a:pt x="962" y="3950"/>
                  </a:lnTo>
                  <a:lnTo>
                    <a:pt x="941" y="3966"/>
                  </a:lnTo>
                  <a:lnTo>
                    <a:pt x="941" y="3966"/>
                  </a:lnTo>
                  <a:lnTo>
                    <a:pt x="941" y="3966"/>
                  </a:lnTo>
                  <a:close/>
                  <a:moveTo>
                    <a:pt x="903" y="3943"/>
                  </a:moveTo>
                  <a:lnTo>
                    <a:pt x="908" y="3950"/>
                  </a:lnTo>
                  <a:lnTo>
                    <a:pt x="898" y="3950"/>
                  </a:lnTo>
                  <a:lnTo>
                    <a:pt x="903" y="3943"/>
                  </a:lnTo>
                  <a:lnTo>
                    <a:pt x="903" y="3943"/>
                  </a:lnTo>
                  <a:lnTo>
                    <a:pt x="903" y="3943"/>
                  </a:lnTo>
                  <a:close/>
                  <a:moveTo>
                    <a:pt x="919" y="3950"/>
                  </a:moveTo>
                  <a:lnTo>
                    <a:pt x="919" y="3966"/>
                  </a:lnTo>
                  <a:lnTo>
                    <a:pt x="903" y="3959"/>
                  </a:lnTo>
                  <a:lnTo>
                    <a:pt x="919" y="3950"/>
                  </a:lnTo>
                  <a:lnTo>
                    <a:pt x="919" y="3950"/>
                  </a:lnTo>
                  <a:lnTo>
                    <a:pt x="919" y="3950"/>
                  </a:lnTo>
                  <a:close/>
                  <a:moveTo>
                    <a:pt x="898" y="3966"/>
                  </a:moveTo>
                  <a:lnTo>
                    <a:pt x="886" y="3959"/>
                  </a:lnTo>
                  <a:lnTo>
                    <a:pt x="898" y="3959"/>
                  </a:lnTo>
                  <a:lnTo>
                    <a:pt x="898" y="3966"/>
                  </a:lnTo>
                  <a:lnTo>
                    <a:pt x="898" y="3966"/>
                  </a:lnTo>
                  <a:lnTo>
                    <a:pt x="898" y="3966"/>
                  </a:lnTo>
                  <a:close/>
                  <a:moveTo>
                    <a:pt x="886" y="3959"/>
                  </a:moveTo>
                  <a:lnTo>
                    <a:pt x="882" y="3966"/>
                  </a:lnTo>
                  <a:lnTo>
                    <a:pt x="886" y="3959"/>
                  </a:lnTo>
                  <a:lnTo>
                    <a:pt x="886" y="3959"/>
                  </a:lnTo>
                  <a:lnTo>
                    <a:pt x="886" y="3959"/>
                  </a:lnTo>
                  <a:close/>
                  <a:moveTo>
                    <a:pt x="903" y="3966"/>
                  </a:moveTo>
                  <a:lnTo>
                    <a:pt x="898" y="3983"/>
                  </a:lnTo>
                  <a:lnTo>
                    <a:pt x="898" y="3966"/>
                  </a:lnTo>
                  <a:lnTo>
                    <a:pt x="903" y="3966"/>
                  </a:lnTo>
                  <a:lnTo>
                    <a:pt x="903" y="3966"/>
                  </a:lnTo>
                  <a:lnTo>
                    <a:pt x="903" y="3966"/>
                  </a:lnTo>
                  <a:close/>
                  <a:moveTo>
                    <a:pt x="908" y="3966"/>
                  </a:moveTo>
                  <a:lnTo>
                    <a:pt x="919" y="3966"/>
                  </a:lnTo>
                  <a:lnTo>
                    <a:pt x="919" y="3971"/>
                  </a:lnTo>
                  <a:lnTo>
                    <a:pt x="903" y="3971"/>
                  </a:lnTo>
                  <a:lnTo>
                    <a:pt x="908" y="3966"/>
                  </a:lnTo>
                  <a:lnTo>
                    <a:pt x="908" y="3966"/>
                  </a:lnTo>
                  <a:lnTo>
                    <a:pt x="908" y="3966"/>
                  </a:lnTo>
                  <a:close/>
                  <a:moveTo>
                    <a:pt x="693" y="3966"/>
                  </a:moveTo>
                  <a:lnTo>
                    <a:pt x="702" y="3971"/>
                  </a:lnTo>
                  <a:lnTo>
                    <a:pt x="702" y="3988"/>
                  </a:lnTo>
                  <a:lnTo>
                    <a:pt x="693" y="3971"/>
                  </a:lnTo>
                  <a:lnTo>
                    <a:pt x="693" y="3966"/>
                  </a:lnTo>
                  <a:lnTo>
                    <a:pt x="693" y="3966"/>
                  </a:lnTo>
                  <a:lnTo>
                    <a:pt x="693" y="3966"/>
                  </a:lnTo>
                  <a:close/>
                  <a:moveTo>
                    <a:pt x="4323" y="3971"/>
                  </a:moveTo>
                  <a:lnTo>
                    <a:pt x="4318" y="3988"/>
                  </a:lnTo>
                  <a:lnTo>
                    <a:pt x="4302" y="3988"/>
                  </a:lnTo>
                  <a:lnTo>
                    <a:pt x="4302" y="3983"/>
                  </a:lnTo>
                  <a:lnTo>
                    <a:pt x="4323" y="3971"/>
                  </a:lnTo>
                  <a:lnTo>
                    <a:pt x="4323" y="3971"/>
                  </a:lnTo>
                  <a:lnTo>
                    <a:pt x="4323" y="3971"/>
                  </a:lnTo>
                  <a:close/>
                  <a:moveTo>
                    <a:pt x="919" y="3971"/>
                  </a:moveTo>
                  <a:lnTo>
                    <a:pt x="908" y="4004"/>
                  </a:lnTo>
                  <a:lnTo>
                    <a:pt x="903" y="4004"/>
                  </a:lnTo>
                  <a:lnTo>
                    <a:pt x="898" y="4000"/>
                  </a:lnTo>
                  <a:lnTo>
                    <a:pt x="903" y="3971"/>
                  </a:lnTo>
                  <a:lnTo>
                    <a:pt x="919" y="3971"/>
                  </a:lnTo>
                  <a:lnTo>
                    <a:pt x="919" y="3971"/>
                  </a:lnTo>
                  <a:lnTo>
                    <a:pt x="919" y="3971"/>
                  </a:lnTo>
                  <a:close/>
                  <a:moveTo>
                    <a:pt x="908" y="4004"/>
                  </a:moveTo>
                  <a:lnTo>
                    <a:pt x="919" y="4037"/>
                  </a:lnTo>
                  <a:lnTo>
                    <a:pt x="903" y="4021"/>
                  </a:lnTo>
                  <a:lnTo>
                    <a:pt x="908" y="4004"/>
                  </a:lnTo>
                  <a:lnTo>
                    <a:pt x="908" y="4004"/>
                  </a:lnTo>
                  <a:lnTo>
                    <a:pt x="908" y="4004"/>
                  </a:lnTo>
                  <a:close/>
                  <a:moveTo>
                    <a:pt x="6116" y="4316"/>
                  </a:moveTo>
                  <a:lnTo>
                    <a:pt x="6133" y="4304"/>
                  </a:lnTo>
                  <a:lnTo>
                    <a:pt x="6133" y="4316"/>
                  </a:lnTo>
                  <a:lnTo>
                    <a:pt x="6137" y="4297"/>
                  </a:lnTo>
                  <a:lnTo>
                    <a:pt x="6154" y="4304"/>
                  </a:lnTo>
                  <a:lnTo>
                    <a:pt x="6170" y="4292"/>
                  </a:lnTo>
                  <a:lnTo>
                    <a:pt x="6170" y="4297"/>
                  </a:lnTo>
                  <a:lnTo>
                    <a:pt x="6154" y="4321"/>
                  </a:lnTo>
                  <a:lnTo>
                    <a:pt x="6149" y="4321"/>
                  </a:lnTo>
                  <a:lnTo>
                    <a:pt x="6121" y="4337"/>
                  </a:lnTo>
                  <a:lnTo>
                    <a:pt x="6111" y="4337"/>
                  </a:lnTo>
                  <a:lnTo>
                    <a:pt x="6111" y="4349"/>
                  </a:lnTo>
                  <a:lnTo>
                    <a:pt x="6121" y="4354"/>
                  </a:lnTo>
                  <a:lnTo>
                    <a:pt x="6111" y="4354"/>
                  </a:lnTo>
                  <a:lnTo>
                    <a:pt x="6133" y="4354"/>
                  </a:lnTo>
                  <a:lnTo>
                    <a:pt x="6111" y="4375"/>
                  </a:lnTo>
                  <a:lnTo>
                    <a:pt x="6116" y="4392"/>
                  </a:lnTo>
                  <a:lnTo>
                    <a:pt x="6133" y="4403"/>
                  </a:lnTo>
                  <a:lnTo>
                    <a:pt x="6137" y="4375"/>
                  </a:lnTo>
                  <a:lnTo>
                    <a:pt x="6154" y="4354"/>
                  </a:lnTo>
                  <a:lnTo>
                    <a:pt x="6170" y="4354"/>
                  </a:lnTo>
                  <a:lnTo>
                    <a:pt x="6175" y="4337"/>
                  </a:lnTo>
                  <a:lnTo>
                    <a:pt x="6187" y="4349"/>
                  </a:lnTo>
                  <a:lnTo>
                    <a:pt x="6175" y="4354"/>
                  </a:lnTo>
                  <a:lnTo>
                    <a:pt x="6154" y="4392"/>
                  </a:lnTo>
                  <a:lnTo>
                    <a:pt x="6163" y="4408"/>
                  </a:lnTo>
                  <a:lnTo>
                    <a:pt x="6175" y="4392"/>
                  </a:lnTo>
                  <a:lnTo>
                    <a:pt x="6187" y="4375"/>
                  </a:lnTo>
                  <a:lnTo>
                    <a:pt x="6201" y="4403"/>
                  </a:lnTo>
                  <a:lnTo>
                    <a:pt x="6187" y="4415"/>
                  </a:lnTo>
                  <a:lnTo>
                    <a:pt x="6175" y="4465"/>
                  </a:lnTo>
                  <a:lnTo>
                    <a:pt x="6163" y="4481"/>
                  </a:lnTo>
                  <a:lnTo>
                    <a:pt x="6149" y="4470"/>
                  </a:lnTo>
                  <a:lnTo>
                    <a:pt x="6133" y="4481"/>
                  </a:lnTo>
                  <a:lnTo>
                    <a:pt x="6133" y="4432"/>
                  </a:lnTo>
                  <a:lnTo>
                    <a:pt x="6100" y="4465"/>
                  </a:lnTo>
                  <a:lnTo>
                    <a:pt x="6083" y="4465"/>
                  </a:lnTo>
                  <a:lnTo>
                    <a:pt x="6095" y="4448"/>
                  </a:lnTo>
                  <a:lnTo>
                    <a:pt x="6111" y="4408"/>
                  </a:lnTo>
                  <a:lnTo>
                    <a:pt x="6100" y="4375"/>
                  </a:lnTo>
                  <a:lnTo>
                    <a:pt x="6083" y="4370"/>
                  </a:lnTo>
                  <a:lnTo>
                    <a:pt x="6066" y="4408"/>
                  </a:lnTo>
                  <a:lnTo>
                    <a:pt x="6057" y="4415"/>
                  </a:lnTo>
                  <a:lnTo>
                    <a:pt x="6066" y="4392"/>
                  </a:lnTo>
                  <a:lnTo>
                    <a:pt x="6057" y="4408"/>
                  </a:lnTo>
                  <a:lnTo>
                    <a:pt x="6041" y="4408"/>
                  </a:lnTo>
                  <a:lnTo>
                    <a:pt x="6015" y="4460"/>
                  </a:lnTo>
                  <a:lnTo>
                    <a:pt x="5986" y="4465"/>
                  </a:lnTo>
                  <a:lnTo>
                    <a:pt x="5960" y="4448"/>
                  </a:lnTo>
                  <a:lnTo>
                    <a:pt x="5970" y="4441"/>
                  </a:lnTo>
                  <a:lnTo>
                    <a:pt x="6003" y="4432"/>
                  </a:lnTo>
                  <a:lnTo>
                    <a:pt x="6015" y="4408"/>
                  </a:lnTo>
                  <a:lnTo>
                    <a:pt x="6041" y="4392"/>
                  </a:lnTo>
                  <a:lnTo>
                    <a:pt x="6029" y="4392"/>
                  </a:lnTo>
                  <a:lnTo>
                    <a:pt x="6041" y="4375"/>
                  </a:lnTo>
                  <a:lnTo>
                    <a:pt x="6024" y="4392"/>
                  </a:lnTo>
                  <a:lnTo>
                    <a:pt x="6003" y="4387"/>
                  </a:lnTo>
                  <a:lnTo>
                    <a:pt x="6003" y="4403"/>
                  </a:lnTo>
                  <a:lnTo>
                    <a:pt x="5991" y="4408"/>
                  </a:lnTo>
                  <a:lnTo>
                    <a:pt x="5986" y="4403"/>
                  </a:lnTo>
                  <a:lnTo>
                    <a:pt x="5970" y="4408"/>
                  </a:lnTo>
                  <a:lnTo>
                    <a:pt x="5977" y="4392"/>
                  </a:lnTo>
                  <a:lnTo>
                    <a:pt x="5948" y="4403"/>
                  </a:lnTo>
                  <a:lnTo>
                    <a:pt x="5986" y="4387"/>
                  </a:lnTo>
                  <a:lnTo>
                    <a:pt x="5970" y="4387"/>
                  </a:lnTo>
                  <a:lnTo>
                    <a:pt x="5977" y="4359"/>
                  </a:lnTo>
                  <a:lnTo>
                    <a:pt x="5970" y="4375"/>
                  </a:lnTo>
                  <a:lnTo>
                    <a:pt x="5953" y="4387"/>
                  </a:lnTo>
                  <a:lnTo>
                    <a:pt x="5953" y="4375"/>
                  </a:lnTo>
                  <a:lnTo>
                    <a:pt x="5948" y="4392"/>
                  </a:lnTo>
                  <a:lnTo>
                    <a:pt x="5901" y="4403"/>
                  </a:lnTo>
                  <a:lnTo>
                    <a:pt x="5814" y="4387"/>
                  </a:lnTo>
                  <a:lnTo>
                    <a:pt x="5738" y="4392"/>
                  </a:lnTo>
                  <a:lnTo>
                    <a:pt x="5733" y="4392"/>
                  </a:lnTo>
                  <a:lnTo>
                    <a:pt x="5722" y="4370"/>
                  </a:lnTo>
                  <a:lnTo>
                    <a:pt x="5792" y="4316"/>
                  </a:lnTo>
                  <a:lnTo>
                    <a:pt x="5776" y="4304"/>
                  </a:lnTo>
                  <a:lnTo>
                    <a:pt x="5733" y="4316"/>
                  </a:lnTo>
                  <a:lnTo>
                    <a:pt x="5771" y="4281"/>
                  </a:lnTo>
                  <a:lnTo>
                    <a:pt x="5755" y="4297"/>
                  </a:lnTo>
                  <a:lnTo>
                    <a:pt x="5771" y="4304"/>
                  </a:lnTo>
                  <a:lnTo>
                    <a:pt x="5792" y="4248"/>
                  </a:lnTo>
                  <a:lnTo>
                    <a:pt x="5792" y="4259"/>
                  </a:lnTo>
                  <a:lnTo>
                    <a:pt x="5830" y="4264"/>
                  </a:lnTo>
                  <a:lnTo>
                    <a:pt x="5814" y="4264"/>
                  </a:lnTo>
                  <a:lnTo>
                    <a:pt x="5809" y="4248"/>
                  </a:lnTo>
                  <a:lnTo>
                    <a:pt x="5826" y="4248"/>
                  </a:lnTo>
                  <a:lnTo>
                    <a:pt x="5830" y="4248"/>
                  </a:lnTo>
                  <a:lnTo>
                    <a:pt x="5814" y="4248"/>
                  </a:lnTo>
                  <a:lnTo>
                    <a:pt x="5826" y="4243"/>
                  </a:lnTo>
                  <a:lnTo>
                    <a:pt x="5809" y="4243"/>
                  </a:lnTo>
                  <a:lnTo>
                    <a:pt x="5809" y="4226"/>
                  </a:lnTo>
                  <a:lnTo>
                    <a:pt x="5826" y="4210"/>
                  </a:lnTo>
                  <a:lnTo>
                    <a:pt x="5840" y="4222"/>
                  </a:lnTo>
                  <a:lnTo>
                    <a:pt x="5830" y="4210"/>
                  </a:lnTo>
                  <a:lnTo>
                    <a:pt x="5826" y="4205"/>
                  </a:lnTo>
                  <a:lnTo>
                    <a:pt x="5863" y="4115"/>
                  </a:lnTo>
                  <a:lnTo>
                    <a:pt x="5878" y="4111"/>
                  </a:lnTo>
                  <a:lnTo>
                    <a:pt x="5863" y="4111"/>
                  </a:lnTo>
                  <a:lnTo>
                    <a:pt x="5894" y="4082"/>
                  </a:lnTo>
                  <a:lnTo>
                    <a:pt x="5901" y="4077"/>
                  </a:lnTo>
                  <a:lnTo>
                    <a:pt x="5894" y="4070"/>
                  </a:lnTo>
                  <a:lnTo>
                    <a:pt x="5906" y="4061"/>
                  </a:lnTo>
                  <a:lnTo>
                    <a:pt x="5906" y="4054"/>
                  </a:lnTo>
                  <a:lnTo>
                    <a:pt x="5915" y="4044"/>
                  </a:lnTo>
                  <a:lnTo>
                    <a:pt x="5970" y="4016"/>
                  </a:lnTo>
                  <a:lnTo>
                    <a:pt x="5970" y="4025"/>
                  </a:lnTo>
                  <a:lnTo>
                    <a:pt x="5986" y="4025"/>
                  </a:lnTo>
                  <a:lnTo>
                    <a:pt x="5977" y="4021"/>
                  </a:lnTo>
                  <a:lnTo>
                    <a:pt x="6003" y="4021"/>
                  </a:lnTo>
                  <a:lnTo>
                    <a:pt x="5991" y="4044"/>
                  </a:lnTo>
                  <a:lnTo>
                    <a:pt x="5953" y="4044"/>
                  </a:lnTo>
                  <a:lnTo>
                    <a:pt x="5960" y="4061"/>
                  </a:lnTo>
                  <a:lnTo>
                    <a:pt x="5977" y="4054"/>
                  </a:lnTo>
                  <a:lnTo>
                    <a:pt x="5977" y="4070"/>
                  </a:lnTo>
                  <a:lnTo>
                    <a:pt x="5953" y="4099"/>
                  </a:lnTo>
                  <a:lnTo>
                    <a:pt x="5953" y="4082"/>
                  </a:lnTo>
                  <a:lnTo>
                    <a:pt x="5948" y="4115"/>
                  </a:lnTo>
                  <a:lnTo>
                    <a:pt x="5906" y="4170"/>
                  </a:lnTo>
                  <a:lnTo>
                    <a:pt x="5906" y="4188"/>
                  </a:lnTo>
                  <a:lnTo>
                    <a:pt x="5901" y="4193"/>
                  </a:lnTo>
                  <a:lnTo>
                    <a:pt x="5906" y="4193"/>
                  </a:lnTo>
                  <a:lnTo>
                    <a:pt x="5901" y="4210"/>
                  </a:lnTo>
                  <a:lnTo>
                    <a:pt x="5953" y="4153"/>
                  </a:lnTo>
                  <a:lnTo>
                    <a:pt x="5977" y="4181"/>
                  </a:lnTo>
                  <a:lnTo>
                    <a:pt x="6003" y="4170"/>
                  </a:lnTo>
                  <a:lnTo>
                    <a:pt x="6003" y="4181"/>
                  </a:lnTo>
                  <a:lnTo>
                    <a:pt x="5953" y="4205"/>
                  </a:lnTo>
                  <a:lnTo>
                    <a:pt x="5970" y="4205"/>
                  </a:lnTo>
                  <a:lnTo>
                    <a:pt x="5953" y="4226"/>
                  </a:lnTo>
                  <a:lnTo>
                    <a:pt x="5970" y="4222"/>
                  </a:lnTo>
                  <a:lnTo>
                    <a:pt x="5986" y="4226"/>
                  </a:lnTo>
                  <a:lnTo>
                    <a:pt x="5991" y="4222"/>
                  </a:lnTo>
                  <a:lnTo>
                    <a:pt x="5991" y="4226"/>
                  </a:lnTo>
                  <a:lnTo>
                    <a:pt x="6007" y="4222"/>
                  </a:lnTo>
                  <a:lnTo>
                    <a:pt x="6007" y="4238"/>
                  </a:lnTo>
                  <a:lnTo>
                    <a:pt x="6007" y="4210"/>
                  </a:lnTo>
                  <a:lnTo>
                    <a:pt x="6024" y="4210"/>
                  </a:lnTo>
                  <a:lnTo>
                    <a:pt x="6007" y="4259"/>
                  </a:lnTo>
                  <a:lnTo>
                    <a:pt x="6024" y="4226"/>
                  </a:lnTo>
                  <a:lnTo>
                    <a:pt x="6045" y="4243"/>
                  </a:lnTo>
                  <a:lnTo>
                    <a:pt x="6062" y="4210"/>
                  </a:lnTo>
                  <a:lnTo>
                    <a:pt x="6066" y="4222"/>
                  </a:lnTo>
                  <a:lnTo>
                    <a:pt x="6066" y="4243"/>
                  </a:lnTo>
                  <a:lnTo>
                    <a:pt x="6078" y="4226"/>
                  </a:lnTo>
                  <a:lnTo>
                    <a:pt x="6083" y="4226"/>
                  </a:lnTo>
                  <a:lnTo>
                    <a:pt x="6100" y="4222"/>
                  </a:lnTo>
                  <a:lnTo>
                    <a:pt x="6116" y="4226"/>
                  </a:lnTo>
                  <a:lnTo>
                    <a:pt x="6137" y="4243"/>
                  </a:lnTo>
                  <a:lnTo>
                    <a:pt x="6133" y="4259"/>
                  </a:lnTo>
                  <a:lnTo>
                    <a:pt x="6116" y="4259"/>
                  </a:lnTo>
                  <a:lnTo>
                    <a:pt x="6121" y="4264"/>
                  </a:lnTo>
                  <a:lnTo>
                    <a:pt x="6095" y="4281"/>
                  </a:lnTo>
                  <a:lnTo>
                    <a:pt x="6116" y="4281"/>
                  </a:lnTo>
                  <a:lnTo>
                    <a:pt x="6111" y="4297"/>
                  </a:lnTo>
                  <a:lnTo>
                    <a:pt x="6116" y="4292"/>
                  </a:lnTo>
                  <a:lnTo>
                    <a:pt x="6111" y="4297"/>
                  </a:lnTo>
                  <a:lnTo>
                    <a:pt x="6111" y="4292"/>
                  </a:lnTo>
                  <a:lnTo>
                    <a:pt x="6133" y="4292"/>
                  </a:lnTo>
                  <a:lnTo>
                    <a:pt x="6100" y="4304"/>
                  </a:lnTo>
                  <a:lnTo>
                    <a:pt x="6116" y="4304"/>
                  </a:lnTo>
                  <a:lnTo>
                    <a:pt x="6116" y="4316"/>
                  </a:lnTo>
                  <a:lnTo>
                    <a:pt x="6116" y="4316"/>
                  </a:lnTo>
                  <a:lnTo>
                    <a:pt x="6116" y="4316"/>
                  </a:lnTo>
                  <a:close/>
                  <a:moveTo>
                    <a:pt x="6100" y="4316"/>
                  </a:moveTo>
                  <a:lnTo>
                    <a:pt x="6095" y="4321"/>
                  </a:lnTo>
                  <a:lnTo>
                    <a:pt x="6116" y="4316"/>
                  </a:lnTo>
                  <a:lnTo>
                    <a:pt x="6100" y="4316"/>
                  </a:lnTo>
                  <a:lnTo>
                    <a:pt x="6100" y="4316"/>
                  </a:lnTo>
                  <a:lnTo>
                    <a:pt x="6100" y="4316"/>
                  </a:lnTo>
                  <a:close/>
                  <a:moveTo>
                    <a:pt x="5991" y="4077"/>
                  </a:moveTo>
                  <a:lnTo>
                    <a:pt x="5991" y="4082"/>
                  </a:lnTo>
                  <a:lnTo>
                    <a:pt x="5986" y="4082"/>
                  </a:lnTo>
                  <a:lnTo>
                    <a:pt x="5991" y="4077"/>
                  </a:lnTo>
                  <a:lnTo>
                    <a:pt x="5991" y="4077"/>
                  </a:lnTo>
                  <a:lnTo>
                    <a:pt x="5991" y="4077"/>
                  </a:lnTo>
                  <a:close/>
                  <a:moveTo>
                    <a:pt x="936" y="4082"/>
                  </a:moveTo>
                  <a:lnTo>
                    <a:pt x="936" y="4094"/>
                  </a:lnTo>
                  <a:lnTo>
                    <a:pt x="924" y="4082"/>
                  </a:lnTo>
                  <a:lnTo>
                    <a:pt x="936" y="4082"/>
                  </a:lnTo>
                  <a:lnTo>
                    <a:pt x="936" y="4082"/>
                  </a:lnTo>
                  <a:lnTo>
                    <a:pt x="936" y="4082"/>
                  </a:lnTo>
                  <a:close/>
                  <a:moveTo>
                    <a:pt x="1096" y="4137"/>
                  </a:moveTo>
                  <a:lnTo>
                    <a:pt x="1113" y="4181"/>
                  </a:lnTo>
                  <a:lnTo>
                    <a:pt x="1134" y="4193"/>
                  </a:lnTo>
                  <a:lnTo>
                    <a:pt x="1125" y="4205"/>
                  </a:lnTo>
                  <a:lnTo>
                    <a:pt x="1139" y="4222"/>
                  </a:lnTo>
                  <a:lnTo>
                    <a:pt x="1193" y="4243"/>
                  </a:lnTo>
                  <a:lnTo>
                    <a:pt x="1222" y="4281"/>
                  </a:lnTo>
                  <a:lnTo>
                    <a:pt x="1226" y="4297"/>
                  </a:lnTo>
                  <a:lnTo>
                    <a:pt x="1231" y="4292"/>
                  </a:lnTo>
                  <a:lnTo>
                    <a:pt x="1243" y="4321"/>
                  </a:lnTo>
                  <a:lnTo>
                    <a:pt x="1231" y="4316"/>
                  </a:lnTo>
                  <a:lnTo>
                    <a:pt x="1222" y="4333"/>
                  </a:lnTo>
                  <a:lnTo>
                    <a:pt x="1118" y="4292"/>
                  </a:lnTo>
                  <a:lnTo>
                    <a:pt x="1113" y="4281"/>
                  </a:lnTo>
                  <a:lnTo>
                    <a:pt x="1134" y="4259"/>
                  </a:lnTo>
                  <a:lnTo>
                    <a:pt x="1134" y="4243"/>
                  </a:lnTo>
                  <a:lnTo>
                    <a:pt x="1125" y="4264"/>
                  </a:lnTo>
                  <a:lnTo>
                    <a:pt x="1087" y="4276"/>
                  </a:lnTo>
                  <a:lnTo>
                    <a:pt x="1070" y="4259"/>
                  </a:lnTo>
                  <a:lnTo>
                    <a:pt x="1080" y="4243"/>
                  </a:lnTo>
                  <a:lnTo>
                    <a:pt x="1070" y="4248"/>
                  </a:lnTo>
                  <a:lnTo>
                    <a:pt x="1063" y="4238"/>
                  </a:lnTo>
                  <a:lnTo>
                    <a:pt x="1049" y="4243"/>
                  </a:lnTo>
                  <a:lnTo>
                    <a:pt x="1059" y="4226"/>
                  </a:lnTo>
                  <a:lnTo>
                    <a:pt x="1059" y="4238"/>
                  </a:lnTo>
                  <a:lnTo>
                    <a:pt x="1042" y="4226"/>
                  </a:lnTo>
                  <a:lnTo>
                    <a:pt x="1016" y="4226"/>
                  </a:lnTo>
                  <a:lnTo>
                    <a:pt x="1011" y="4210"/>
                  </a:lnTo>
                  <a:lnTo>
                    <a:pt x="1049" y="4205"/>
                  </a:lnTo>
                  <a:lnTo>
                    <a:pt x="1011" y="4193"/>
                  </a:lnTo>
                  <a:lnTo>
                    <a:pt x="1004" y="4181"/>
                  </a:lnTo>
                  <a:lnTo>
                    <a:pt x="995" y="4181"/>
                  </a:lnTo>
                  <a:lnTo>
                    <a:pt x="974" y="4188"/>
                  </a:lnTo>
                  <a:lnTo>
                    <a:pt x="962" y="4170"/>
                  </a:lnTo>
                  <a:lnTo>
                    <a:pt x="974" y="4165"/>
                  </a:lnTo>
                  <a:lnTo>
                    <a:pt x="957" y="4170"/>
                  </a:lnTo>
                  <a:lnTo>
                    <a:pt x="941" y="4153"/>
                  </a:lnTo>
                  <a:lnTo>
                    <a:pt x="919" y="4165"/>
                  </a:lnTo>
                  <a:lnTo>
                    <a:pt x="924" y="4148"/>
                  </a:lnTo>
                  <a:lnTo>
                    <a:pt x="924" y="4137"/>
                  </a:lnTo>
                  <a:lnTo>
                    <a:pt x="919" y="4137"/>
                  </a:lnTo>
                  <a:lnTo>
                    <a:pt x="919" y="4127"/>
                  </a:lnTo>
                  <a:lnTo>
                    <a:pt x="941" y="4127"/>
                  </a:lnTo>
                  <a:lnTo>
                    <a:pt x="952" y="4132"/>
                  </a:lnTo>
                  <a:lnTo>
                    <a:pt x="941" y="4127"/>
                  </a:lnTo>
                  <a:lnTo>
                    <a:pt x="957" y="4115"/>
                  </a:lnTo>
                  <a:lnTo>
                    <a:pt x="919" y="4111"/>
                  </a:lnTo>
                  <a:lnTo>
                    <a:pt x="941" y="4115"/>
                  </a:lnTo>
                  <a:lnTo>
                    <a:pt x="908" y="4132"/>
                  </a:lnTo>
                  <a:lnTo>
                    <a:pt x="886" y="4115"/>
                  </a:lnTo>
                  <a:lnTo>
                    <a:pt x="886" y="4099"/>
                  </a:lnTo>
                  <a:lnTo>
                    <a:pt x="919" y="4094"/>
                  </a:lnTo>
                  <a:lnTo>
                    <a:pt x="962" y="4111"/>
                  </a:lnTo>
                  <a:lnTo>
                    <a:pt x="1096" y="4137"/>
                  </a:lnTo>
                  <a:lnTo>
                    <a:pt x="1096" y="4137"/>
                  </a:lnTo>
                  <a:lnTo>
                    <a:pt x="1096" y="4137"/>
                  </a:lnTo>
                  <a:close/>
                  <a:moveTo>
                    <a:pt x="995" y="4099"/>
                  </a:moveTo>
                  <a:lnTo>
                    <a:pt x="990" y="4094"/>
                  </a:lnTo>
                  <a:lnTo>
                    <a:pt x="1011" y="4094"/>
                  </a:lnTo>
                  <a:lnTo>
                    <a:pt x="995" y="4099"/>
                  </a:lnTo>
                  <a:lnTo>
                    <a:pt x="995" y="4099"/>
                  </a:lnTo>
                  <a:lnTo>
                    <a:pt x="995" y="4099"/>
                  </a:lnTo>
                  <a:close/>
                  <a:moveTo>
                    <a:pt x="1033" y="4094"/>
                  </a:moveTo>
                  <a:lnTo>
                    <a:pt x="1042" y="4099"/>
                  </a:lnTo>
                  <a:lnTo>
                    <a:pt x="1033" y="4111"/>
                  </a:lnTo>
                  <a:lnTo>
                    <a:pt x="1011" y="4111"/>
                  </a:lnTo>
                  <a:lnTo>
                    <a:pt x="1033" y="4094"/>
                  </a:lnTo>
                  <a:lnTo>
                    <a:pt x="1033" y="4094"/>
                  </a:lnTo>
                  <a:lnTo>
                    <a:pt x="1033" y="4094"/>
                  </a:lnTo>
                  <a:close/>
                  <a:moveTo>
                    <a:pt x="1004" y="4099"/>
                  </a:moveTo>
                  <a:lnTo>
                    <a:pt x="1016" y="4099"/>
                  </a:lnTo>
                  <a:lnTo>
                    <a:pt x="1011" y="4111"/>
                  </a:lnTo>
                  <a:lnTo>
                    <a:pt x="1004" y="4099"/>
                  </a:lnTo>
                  <a:lnTo>
                    <a:pt x="1004" y="4099"/>
                  </a:lnTo>
                  <a:lnTo>
                    <a:pt x="1004" y="4099"/>
                  </a:lnTo>
                  <a:close/>
                  <a:moveTo>
                    <a:pt x="990" y="4115"/>
                  </a:moveTo>
                  <a:lnTo>
                    <a:pt x="974" y="4111"/>
                  </a:lnTo>
                  <a:lnTo>
                    <a:pt x="995" y="4111"/>
                  </a:lnTo>
                  <a:lnTo>
                    <a:pt x="990" y="4115"/>
                  </a:lnTo>
                  <a:lnTo>
                    <a:pt x="990" y="4115"/>
                  </a:lnTo>
                  <a:lnTo>
                    <a:pt x="990" y="4115"/>
                  </a:lnTo>
                  <a:close/>
                  <a:moveTo>
                    <a:pt x="1016" y="4111"/>
                  </a:moveTo>
                  <a:lnTo>
                    <a:pt x="1026" y="4115"/>
                  </a:lnTo>
                  <a:lnTo>
                    <a:pt x="1011" y="4115"/>
                  </a:lnTo>
                  <a:lnTo>
                    <a:pt x="1016" y="4111"/>
                  </a:lnTo>
                  <a:lnTo>
                    <a:pt x="1016" y="4111"/>
                  </a:lnTo>
                  <a:lnTo>
                    <a:pt x="1016" y="4111"/>
                  </a:lnTo>
                  <a:close/>
                  <a:moveTo>
                    <a:pt x="1033" y="4115"/>
                  </a:moveTo>
                  <a:lnTo>
                    <a:pt x="1011" y="4127"/>
                  </a:lnTo>
                  <a:lnTo>
                    <a:pt x="1033" y="4115"/>
                  </a:lnTo>
                  <a:lnTo>
                    <a:pt x="1033" y="4115"/>
                  </a:lnTo>
                  <a:lnTo>
                    <a:pt x="1033" y="4115"/>
                  </a:lnTo>
                  <a:close/>
                  <a:moveTo>
                    <a:pt x="1063" y="4127"/>
                  </a:moveTo>
                  <a:lnTo>
                    <a:pt x="1070" y="4132"/>
                  </a:lnTo>
                  <a:lnTo>
                    <a:pt x="1059" y="4132"/>
                  </a:lnTo>
                  <a:lnTo>
                    <a:pt x="1063" y="4127"/>
                  </a:lnTo>
                  <a:lnTo>
                    <a:pt x="1063" y="4127"/>
                  </a:lnTo>
                  <a:lnTo>
                    <a:pt x="1063" y="4127"/>
                  </a:lnTo>
                  <a:close/>
                  <a:moveTo>
                    <a:pt x="1096" y="4127"/>
                  </a:moveTo>
                  <a:lnTo>
                    <a:pt x="1096" y="4132"/>
                  </a:lnTo>
                  <a:lnTo>
                    <a:pt x="1087" y="4132"/>
                  </a:lnTo>
                  <a:lnTo>
                    <a:pt x="1096" y="4127"/>
                  </a:lnTo>
                  <a:lnTo>
                    <a:pt x="1096" y="4127"/>
                  </a:lnTo>
                  <a:lnTo>
                    <a:pt x="1096" y="4127"/>
                  </a:lnTo>
                  <a:close/>
                  <a:moveTo>
                    <a:pt x="1101" y="4132"/>
                  </a:moveTo>
                  <a:lnTo>
                    <a:pt x="1118" y="4148"/>
                  </a:lnTo>
                  <a:lnTo>
                    <a:pt x="1113" y="4153"/>
                  </a:lnTo>
                  <a:lnTo>
                    <a:pt x="1113" y="4137"/>
                  </a:lnTo>
                  <a:lnTo>
                    <a:pt x="1096" y="4137"/>
                  </a:lnTo>
                  <a:lnTo>
                    <a:pt x="1101" y="4132"/>
                  </a:lnTo>
                  <a:lnTo>
                    <a:pt x="1101" y="4132"/>
                  </a:lnTo>
                  <a:lnTo>
                    <a:pt x="1101" y="4132"/>
                  </a:lnTo>
                  <a:close/>
                  <a:moveTo>
                    <a:pt x="1080" y="4132"/>
                  </a:moveTo>
                  <a:lnTo>
                    <a:pt x="1070" y="4132"/>
                  </a:lnTo>
                  <a:lnTo>
                    <a:pt x="1087" y="4132"/>
                  </a:lnTo>
                  <a:lnTo>
                    <a:pt x="1080" y="4132"/>
                  </a:lnTo>
                  <a:lnTo>
                    <a:pt x="1080" y="4132"/>
                  </a:lnTo>
                  <a:lnTo>
                    <a:pt x="1080" y="4132"/>
                  </a:lnTo>
                  <a:close/>
                  <a:moveTo>
                    <a:pt x="1139" y="4137"/>
                  </a:moveTo>
                  <a:lnTo>
                    <a:pt x="1151" y="4148"/>
                  </a:lnTo>
                  <a:lnTo>
                    <a:pt x="1139" y="4153"/>
                  </a:lnTo>
                  <a:lnTo>
                    <a:pt x="1134" y="4148"/>
                  </a:lnTo>
                  <a:lnTo>
                    <a:pt x="1139" y="4137"/>
                  </a:lnTo>
                  <a:lnTo>
                    <a:pt x="1139" y="4137"/>
                  </a:lnTo>
                  <a:lnTo>
                    <a:pt x="1139" y="4137"/>
                  </a:lnTo>
                  <a:close/>
                  <a:moveTo>
                    <a:pt x="1134" y="4137"/>
                  </a:moveTo>
                  <a:lnTo>
                    <a:pt x="1139" y="4153"/>
                  </a:lnTo>
                  <a:lnTo>
                    <a:pt x="1134" y="4165"/>
                  </a:lnTo>
                  <a:lnTo>
                    <a:pt x="1125" y="4148"/>
                  </a:lnTo>
                  <a:lnTo>
                    <a:pt x="1134" y="4137"/>
                  </a:lnTo>
                  <a:lnTo>
                    <a:pt x="1134" y="4137"/>
                  </a:lnTo>
                  <a:lnTo>
                    <a:pt x="1134" y="4137"/>
                  </a:lnTo>
                  <a:close/>
                  <a:moveTo>
                    <a:pt x="1096" y="4148"/>
                  </a:moveTo>
                  <a:lnTo>
                    <a:pt x="1113" y="4148"/>
                  </a:lnTo>
                  <a:lnTo>
                    <a:pt x="1113" y="4170"/>
                  </a:lnTo>
                  <a:lnTo>
                    <a:pt x="1096" y="4148"/>
                  </a:lnTo>
                  <a:lnTo>
                    <a:pt x="1096" y="4148"/>
                  </a:lnTo>
                  <a:lnTo>
                    <a:pt x="1096" y="4148"/>
                  </a:lnTo>
                  <a:close/>
                  <a:moveTo>
                    <a:pt x="1125" y="4148"/>
                  </a:moveTo>
                  <a:lnTo>
                    <a:pt x="1134" y="4165"/>
                  </a:lnTo>
                  <a:lnTo>
                    <a:pt x="1125" y="4165"/>
                  </a:lnTo>
                  <a:lnTo>
                    <a:pt x="1118" y="4165"/>
                  </a:lnTo>
                  <a:lnTo>
                    <a:pt x="1125" y="4148"/>
                  </a:lnTo>
                  <a:lnTo>
                    <a:pt x="1125" y="4148"/>
                  </a:lnTo>
                  <a:lnTo>
                    <a:pt x="1125" y="4148"/>
                  </a:lnTo>
                  <a:close/>
                  <a:moveTo>
                    <a:pt x="5436" y="4188"/>
                  </a:moveTo>
                  <a:lnTo>
                    <a:pt x="5500" y="4210"/>
                  </a:lnTo>
                  <a:lnTo>
                    <a:pt x="5523" y="4226"/>
                  </a:lnTo>
                  <a:lnTo>
                    <a:pt x="5544" y="4238"/>
                  </a:lnTo>
                  <a:lnTo>
                    <a:pt x="5561" y="4248"/>
                  </a:lnTo>
                  <a:lnTo>
                    <a:pt x="5528" y="4259"/>
                  </a:lnTo>
                  <a:lnTo>
                    <a:pt x="5462" y="4243"/>
                  </a:lnTo>
                  <a:lnTo>
                    <a:pt x="5431" y="4226"/>
                  </a:lnTo>
                  <a:lnTo>
                    <a:pt x="5410" y="4205"/>
                  </a:lnTo>
                  <a:lnTo>
                    <a:pt x="5365" y="4188"/>
                  </a:lnTo>
                  <a:lnTo>
                    <a:pt x="5381" y="4170"/>
                  </a:lnTo>
                  <a:lnTo>
                    <a:pt x="5436" y="4188"/>
                  </a:lnTo>
                  <a:lnTo>
                    <a:pt x="5436" y="4188"/>
                  </a:lnTo>
                  <a:lnTo>
                    <a:pt x="5436" y="4188"/>
                  </a:lnTo>
                  <a:close/>
                  <a:moveTo>
                    <a:pt x="1004" y="4181"/>
                  </a:moveTo>
                  <a:lnTo>
                    <a:pt x="1011" y="4193"/>
                  </a:lnTo>
                  <a:lnTo>
                    <a:pt x="1011" y="4210"/>
                  </a:lnTo>
                  <a:lnTo>
                    <a:pt x="990" y="4193"/>
                  </a:lnTo>
                  <a:lnTo>
                    <a:pt x="990" y="4188"/>
                  </a:lnTo>
                  <a:lnTo>
                    <a:pt x="1004" y="4181"/>
                  </a:lnTo>
                  <a:lnTo>
                    <a:pt x="1004" y="4181"/>
                  </a:lnTo>
                  <a:lnTo>
                    <a:pt x="1004" y="4181"/>
                  </a:lnTo>
                  <a:close/>
                  <a:moveTo>
                    <a:pt x="1189" y="4222"/>
                  </a:moveTo>
                  <a:lnTo>
                    <a:pt x="1151" y="4188"/>
                  </a:lnTo>
                  <a:lnTo>
                    <a:pt x="1172" y="4193"/>
                  </a:lnTo>
                  <a:lnTo>
                    <a:pt x="1189" y="4222"/>
                  </a:lnTo>
                  <a:lnTo>
                    <a:pt x="1189" y="4222"/>
                  </a:lnTo>
                  <a:lnTo>
                    <a:pt x="1189" y="4222"/>
                  </a:lnTo>
                  <a:close/>
                  <a:moveTo>
                    <a:pt x="1193" y="4193"/>
                  </a:moveTo>
                  <a:lnTo>
                    <a:pt x="1189" y="4205"/>
                  </a:lnTo>
                  <a:lnTo>
                    <a:pt x="1177" y="4205"/>
                  </a:lnTo>
                  <a:lnTo>
                    <a:pt x="1193" y="4193"/>
                  </a:lnTo>
                  <a:lnTo>
                    <a:pt x="1193" y="4193"/>
                  </a:lnTo>
                  <a:lnTo>
                    <a:pt x="1193" y="4193"/>
                  </a:lnTo>
                  <a:close/>
                  <a:moveTo>
                    <a:pt x="6095" y="4193"/>
                  </a:moveTo>
                  <a:lnTo>
                    <a:pt x="6100" y="4205"/>
                  </a:lnTo>
                  <a:lnTo>
                    <a:pt x="6078" y="4210"/>
                  </a:lnTo>
                  <a:lnTo>
                    <a:pt x="6078" y="4193"/>
                  </a:lnTo>
                  <a:lnTo>
                    <a:pt x="6095" y="4193"/>
                  </a:lnTo>
                  <a:lnTo>
                    <a:pt x="6095" y="4193"/>
                  </a:lnTo>
                  <a:lnTo>
                    <a:pt x="6095" y="4193"/>
                  </a:lnTo>
                  <a:close/>
                  <a:moveTo>
                    <a:pt x="6062" y="4205"/>
                  </a:moveTo>
                  <a:lnTo>
                    <a:pt x="6041" y="4222"/>
                  </a:lnTo>
                  <a:lnTo>
                    <a:pt x="6041" y="4210"/>
                  </a:lnTo>
                  <a:lnTo>
                    <a:pt x="6045" y="4210"/>
                  </a:lnTo>
                  <a:lnTo>
                    <a:pt x="6062" y="4205"/>
                  </a:lnTo>
                  <a:lnTo>
                    <a:pt x="6062" y="4205"/>
                  </a:lnTo>
                  <a:lnTo>
                    <a:pt x="6062" y="4205"/>
                  </a:lnTo>
                  <a:close/>
                  <a:moveTo>
                    <a:pt x="5986" y="4205"/>
                  </a:moveTo>
                  <a:lnTo>
                    <a:pt x="5991" y="4210"/>
                  </a:lnTo>
                  <a:lnTo>
                    <a:pt x="5977" y="4210"/>
                  </a:lnTo>
                  <a:lnTo>
                    <a:pt x="5986" y="4205"/>
                  </a:lnTo>
                  <a:lnTo>
                    <a:pt x="5986" y="4205"/>
                  </a:lnTo>
                  <a:lnTo>
                    <a:pt x="5986" y="4205"/>
                  </a:lnTo>
                  <a:close/>
                  <a:moveTo>
                    <a:pt x="1243" y="4222"/>
                  </a:moveTo>
                  <a:lnTo>
                    <a:pt x="1231" y="4226"/>
                  </a:lnTo>
                  <a:lnTo>
                    <a:pt x="1231" y="4222"/>
                  </a:lnTo>
                  <a:lnTo>
                    <a:pt x="1243" y="4222"/>
                  </a:lnTo>
                  <a:lnTo>
                    <a:pt x="1243" y="4222"/>
                  </a:lnTo>
                  <a:lnTo>
                    <a:pt x="1243" y="4222"/>
                  </a:lnTo>
                  <a:close/>
                  <a:moveTo>
                    <a:pt x="1042" y="4226"/>
                  </a:moveTo>
                  <a:lnTo>
                    <a:pt x="1049" y="4243"/>
                  </a:lnTo>
                  <a:lnTo>
                    <a:pt x="1033" y="4238"/>
                  </a:lnTo>
                  <a:lnTo>
                    <a:pt x="1033" y="4226"/>
                  </a:lnTo>
                  <a:lnTo>
                    <a:pt x="1042" y="4226"/>
                  </a:lnTo>
                  <a:lnTo>
                    <a:pt x="1042" y="4226"/>
                  </a:lnTo>
                  <a:lnTo>
                    <a:pt x="1042" y="4226"/>
                  </a:lnTo>
                  <a:close/>
                  <a:moveTo>
                    <a:pt x="1063" y="4243"/>
                  </a:moveTo>
                  <a:lnTo>
                    <a:pt x="1063" y="4248"/>
                  </a:lnTo>
                  <a:lnTo>
                    <a:pt x="1059" y="4243"/>
                  </a:lnTo>
                  <a:lnTo>
                    <a:pt x="1063" y="4243"/>
                  </a:lnTo>
                  <a:lnTo>
                    <a:pt x="1063" y="4243"/>
                  </a:lnTo>
                  <a:lnTo>
                    <a:pt x="1063" y="4243"/>
                  </a:lnTo>
                  <a:close/>
                  <a:moveTo>
                    <a:pt x="1205" y="4248"/>
                  </a:moveTo>
                  <a:lnTo>
                    <a:pt x="1210" y="4248"/>
                  </a:lnTo>
                  <a:lnTo>
                    <a:pt x="1205" y="4248"/>
                  </a:lnTo>
                  <a:lnTo>
                    <a:pt x="1205" y="4248"/>
                  </a:lnTo>
                  <a:lnTo>
                    <a:pt x="1205" y="4248"/>
                  </a:lnTo>
                  <a:close/>
                  <a:moveTo>
                    <a:pt x="1222" y="4259"/>
                  </a:moveTo>
                  <a:lnTo>
                    <a:pt x="1243" y="4276"/>
                  </a:lnTo>
                  <a:lnTo>
                    <a:pt x="1226" y="4264"/>
                  </a:lnTo>
                  <a:lnTo>
                    <a:pt x="1222" y="4259"/>
                  </a:lnTo>
                  <a:lnTo>
                    <a:pt x="1222" y="4259"/>
                  </a:lnTo>
                  <a:lnTo>
                    <a:pt x="1222" y="4259"/>
                  </a:lnTo>
                  <a:close/>
                  <a:moveTo>
                    <a:pt x="1226" y="4276"/>
                  </a:moveTo>
                  <a:lnTo>
                    <a:pt x="1231" y="4292"/>
                  </a:lnTo>
                  <a:lnTo>
                    <a:pt x="1226" y="4292"/>
                  </a:lnTo>
                  <a:lnTo>
                    <a:pt x="1226" y="4276"/>
                  </a:lnTo>
                  <a:lnTo>
                    <a:pt x="1226" y="4276"/>
                  </a:lnTo>
                  <a:lnTo>
                    <a:pt x="1226" y="4276"/>
                  </a:lnTo>
                  <a:close/>
                  <a:moveTo>
                    <a:pt x="6133" y="4337"/>
                  </a:moveTo>
                  <a:lnTo>
                    <a:pt x="6133" y="4349"/>
                  </a:lnTo>
                  <a:lnTo>
                    <a:pt x="6121" y="4354"/>
                  </a:lnTo>
                  <a:lnTo>
                    <a:pt x="6111" y="4337"/>
                  </a:lnTo>
                  <a:lnTo>
                    <a:pt x="6133" y="4337"/>
                  </a:lnTo>
                  <a:lnTo>
                    <a:pt x="6133" y="4337"/>
                  </a:lnTo>
                  <a:lnTo>
                    <a:pt x="6133" y="4337"/>
                  </a:lnTo>
                  <a:close/>
                  <a:moveTo>
                    <a:pt x="5365" y="4354"/>
                  </a:moveTo>
                  <a:lnTo>
                    <a:pt x="5365" y="4359"/>
                  </a:lnTo>
                  <a:lnTo>
                    <a:pt x="5360" y="4359"/>
                  </a:lnTo>
                  <a:lnTo>
                    <a:pt x="5365" y="4354"/>
                  </a:lnTo>
                  <a:lnTo>
                    <a:pt x="5365" y="4354"/>
                  </a:lnTo>
                  <a:lnTo>
                    <a:pt x="5365" y="4354"/>
                  </a:lnTo>
                  <a:close/>
                  <a:moveTo>
                    <a:pt x="5365" y="4359"/>
                  </a:moveTo>
                  <a:lnTo>
                    <a:pt x="5360" y="4375"/>
                  </a:lnTo>
                  <a:lnTo>
                    <a:pt x="5355" y="4375"/>
                  </a:lnTo>
                  <a:lnTo>
                    <a:pt x="5355" y="4370"/>
                  </a:lnTo>
                  <a:lnTo>
                    <a:pt x="5365" y="4359"/>
                  </a:lnTo>
                  <a:lnTo>
                    <a:pt x="5365" y="4359"/>
                  </a:lnTo>
                  <a:lnTo>
                    <a:pt x="5365" y="4359"/>
                  </a:lnTo>
                  <a:close/>
                  <a:moveTo>
                    <a:pt x="5970" y="4387"/>
                  </a:moveTo>
                  <a:lnTo>
                    <a:pt x="5970" y="4392"/>
                  </a:lnTo>
                  <a:lnTo>
                    <a:pt x="5953" y="4387"/>
                  </a:lnTo>
                  <a:lnTo>
                    <a:pt x="5970" y="4387"/>
                  </a:lnTo>
                  <a:lnTo>
                    <a:pt x="5970" y="4387"/>
                  </a:lnTo>
                  <a:lnTo>
                    <a:pt x="5970" y="4387"/>
                  </a:lnTo>
                  <a:close/>
                  <a:moveTo>
                    <a:pt x="6095" y="4392"/>
                  </a:moveTo>
                  <a:lnTo>
                    <a:pt x="6083" y="4408"/>
                  </a:lnTo>
                  <a:lnTo>
                    <a:pt x="6078" y="4408"/>
                  </a:lnTo>
                  <a:lnTo>
                    <a:pt x="6095" y="4392"/>
                  </a:lnTo>
                  <a:lnTo>
                    <a:pt x="6095" y="4392"/>
                  </a:lnTo>
                  <a:lnTo>
                    <a:pt x="6095" y="4392"/>
                  </a:lnTo>
                  <a:close/>
                  <a:moveTo>
                    <a:pt x="5582" y="4392"/>
                  </a:moveTo>
                  <a:lnTo>
                    <a:pt x="5570" y="4403"/>
                  </a:lnTo>
                  <a:lnTo>
                    <a:pt x="5544" y="4425"/>
                  </a:lnTo>
                  <a:lnTo>
                    <a:pt x="5554" y="4425"/>
                  </a:lnTo>
                  <a:lnTo>
                    <a:pt x="5537" y="4425"/>
                  </a:lnTo>
                  <a:lnTo>
                    <a:pt x="5544" y="4408"/>
                  </a:lnTo>
                  <a:lnTo>
                    <a:pt x="5582" y="4392"/>
                  </a:lnTo>
                  <a:lnTo>
                    <a:pt x="5582" y="4392"/>
                  </a:lnTo>
                  <a:lnTo>
                    <a:pt x="5582" y="4392"/>
                  </a:lnTo>
                  <a:close/>
                  <a:moveTo>
                    <a:pt x="5523" y="4503"/>
                  </a:moveTo>
                  <a:lnTo>
                    <a:pt x="5500" y="4519"/>
                  </a:lnTo>
                  <a:lnTo>
                    <a:pt x="5507" y="4526"/>
                  </a:lnTo>
                  <a:lnTo>
                    <a:pt x="5507" y="4536"/>
                  </a:lnTo>
                  <a:lnTo>
                    <a:pt x="5485" y="4543"/>
                  </a:lnTo>
                  <a:lnTo>
                    <a:pt x="5474" y="4526"/>
                  </a:lnTo>
                  <a:lnTo>
                    <a:pt x="5462" y="4519"/>
                  </a:lnTo>
                  <a:lnTo>
                    <a:pt x="5474" y="4514"/>
                  </a:lnTo>
                  <a:lnTo>
                    <a:pt x="5452" y="4526"/>
                  </a:lnTo>
                  <a:lnTo>
                    <a:pt x="5419" y="4519"/>
                  </a:lnTo>
                  <a:lnTo>
                    <a:pt x="5415" y="4514"/>
                  </a:lnTo>
                  <a:lnTo>
                    <a:pt x="5415" y="4503"/>
                  </a:lnTo>
                  <a:lnTo>
                    <a:pt x="5393" y="4503"/>
                  </a:lnTo>
                  <a:lnTo>
                    <a:pt x="5393" y="4481"/>
                  </a:lnTo>
                  <a:lnTo>
                    <a:pt x="5377" y="4481"/>
                  </a:lnTo>
                  <a:lnTo>
                    <a:pt x="5365" y="4470"/>
                  </a:lnTo>
                  <a:lnTo>
                    <a:pt x="5398" y="4441"/>
                  </a:lnTo>
                  <a:lnTo>
                    <a:pt x="5398" y="4460"/>
                  </a:lnTo>
                  <a:lnTo>
                    <a:pt x="5393" y="4465"/>
                  </a:lnTo>
                  <a:lnTo>
                    <a:pt x="5415" y="4481"/>
                  </a:lnTo>
                  <a:lnTo>
                    <a:pt x="5415" y="4498"/>
                  </a:lnTo>
                  <a:lnTo>
                    <a:pt x="5419" y="4498"/>
                  </a:lnTo>
                  <a:lnTo>
                    <a:pt x="5419" y="4486"/>
                  </a:lnTo>
                  <a:lnTo>
                    <a:pt x="5452" y="4503"/>
                  </a:lnTo>
                  <a:lnTo>
                    <a:pt x="5544" y="4498"/>
                  </a:lnTo>
                  <a:lnTo>
                    <a:pt x="5523" y="4503"/>
                  </a:lnTo>
                  <a:lnTo>
                    <a:pt x="5523" y="4503"/>
                  </a:lnTo>
                  <a:lnTo>
                    <a:pt x="5523" y="4503"/>
                  </a:lnTo>
                  <a:close/>
                  <a:moveTo>
                    <a:pt x="5608" y="4552"/>
                  </a:moveTo>
                  <a:lnTo>
                    <a:pt x="5599" y="4569"/>
                  </a:lnTo>
                  <a:lnTo>
                    <a:pt x="5625" y="4569"/>
                  </a:lnTo>
                  <a:lnTo>
                    <a:pt x="5646" y="4543"/>
                  </a:lnTo>
                  <a:lnTo>
                    <a:pt x="5651" y="4536"/>
                  </a:lnTo>
                  <a:lnTo>
                    <a:pt x="5629" y="4552"/>
                  </a:lnTo>
                  <a:lnTo>
                    <a:pt x="5625" y="4543"/>
                  </a:lnTo>
                  <a:lnTo>
                    <a:pt x="5663" y="4519"/>
                  </a:lnTo>
                  <a:lnTo>
                    <a:pt x="5637" y="4536"/>
                  </a:lnTo>
                  <a:lnTo>
                    <a:pt x="5663" y="4514"/>
                  </a:lnTo>
                  <a:lnTo>
                    <a:pt x="5689" y="4519"/>
                  </a:lnTo>
                  <a:lnTo>
                    <a:pt x="5689" y="4526"/>
                  </a:lnTo>
                  <a:lnTo>
                    <a:pt x="5689" y="4543"/>
                  </a:lnTo>
                  <a:lnTo>
                    <a:pt x="5667" y="4552"/>
                  </a:lnTo>
                  <a:lnTo>
                    <a:pt x="5663" y="4569"/>
                  </a:lnTo>
                  <a:lnTo>
                    <a:pt x="5646" y="4576"/>
                  </a:lnTo>
                  <a:lnTo>
                    <a:pt x="5599" y="4576"/>
                  </a:lnTo>
                  <a:lnTo>
                    <a:pt x="5582" y="4576"/>
                  </a:lnTo>
                  <a:lnTo>
                    <a:pt x="5575" y="4569"/>
                  </a:lnTo>
                  <a:lnTo>
                    <a:pt x="5575" y="4536"/>
                  </a:lnTo>
                  <a:lnTo>
                    <a:pt x="5575" y="4526"/>
                  </a:lnTo>
                  <a:lnTo>
                    <a:pt x="5592" y="4519"/>
                  </a:lnTo>
                  <a:lnTo>
                    <a:pt x="5637" y="4448"/>
                  </a:lnTo>
                  <a:lnTo>
                    <a:pt x="5646" y="4448"/>
                  </a:lnTo>
                  <a:lnTo>
                    <a:pt x="5646" y="4460"/>
                  </a:lnTo>
                  <a:lnTo>
                    <a:pt x="5663" y="4465"/>
                  </a:lnTo>
                  <a:lnTo>
                    <a:pt x="5637" y="4519"/>
                  </a:lnTo>
                  <a:lnTo>
                    <a:pt x="5651" y="4514"/>
                  </a:lnTo>
                  <a:lnTo>
                    <a:pt x="5637" y="4526"/>
                  </a:lnTo>
                  <a:lnTo>
                    <a:pt x="5599" y="4543"/>
                  </a:lnTo>
                  <a:lnTo>
                    <a:pt x="5629" y="4536"/>
                  </a:lnTo>
                  <a:lnTo>
                    <a:pt x="5625" y="4543"/>
                  </a:lnTo>
                  <a:lnTo>
                    <a:pt x="5608" y="4552"/>
                  </a:lnTo>
                  <a:lnTo>
                    <a:pt x="5613" y="4552"/>
                  </a:lnTo>
                  <a:lnTo>
                    <a:pt x="5608" y="4552"/>
                  </a:lnTo>
                  <a:lnTo>
                    <a:pt x="5608" y="4552"/>
                  </a:lnTo>
                  <a:lnTo>
                    <a:pt x="5608" y="4552"/>
                  </a:lnTo>
                  <a:close/>
                  <a:moveTo>
                    <a:pt x="5613" y="4576"/>
                  </a:moveTo>
                  <a:lnTo>
                    <a:pt x="5608" y="4581"/>
                  </a:lnTo>
                  <a:lnTo>
                    <a:pt x="5599" y="4581"/>
                  </a:lnTo>
                  <a:lnTo>
                    <a:pt x="5613" y="4576"/>
                  </a:lnTo>
                  <a:lnTo>
                    <a:pt x="5613" y="4576"/>
                  </a:lnTo>
                  <a:lnTo>
                    <a:pt x="5613" y="4576"/>
                  </a:lnTo>
                  <a:close/>
                  <a:moveTo>
                    <a:pt x="5204" y="4647"/>
                  </a:moveTo>
                  <a:lnTo>
                    <a:pt x="5204" y="4654"/>
                  </a:lnTo>
                  <a:lnTo>
                    <a:pt x="5200" y="4663"/>
                  </a:lnTo>
                  <a:lnTo>
                    <a:pt x="5204" y="4647"/>
                  </a:lnTo>
                  <a:lnTo>
                    <a:pt x="5204" y="4647"/>
                  </a:lnTo>
                  <a:lnTo>
                    <a:pt x="5204" y="4647"/>
                  </a:lnTo>
                  <a:close/>
                  <a:moveTo>
                    <a:pt x="5679" y="4720"/>
                  </a:moveTo>
                  <a:lnTo>
                    <a:pt x="5700" y="4720"/>
                  </a:lnTo>
                  <a:lnTo>
                    <a:pt x="5689" y="4725"/>
                  </a:lnTo>
                  <a:lnTo>
                    <a:pt x="5679" y="4720"/>
                  </a:lnTo>
                  <a:lnTo>
                    <a:pt x="5679" y="4720"/>
                  </a:lnTo>
                  <a:lnTo>
                    <a:pt x="5679" y="4720"/>
                  </a:lnTo>
                  <a:close/>
                </a:path>
              </a:pathLst>
            </a:custGeom>
            <a:solidFill>
              <a:schemeClr val="bg2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67" name="Freeform 409">
              <a:extLst>
                <a:ext uri="{FF2B5EF4-FFF2-40B4-BE49-F238E27FC236}">
                  <a16:creationId xmlns:a16="http://schemas.microsoft.com/office/drawing/2014/main" id="{C80D8888-F9EF-43DF-BA8F-6DE7F340709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262803" y="2579245"/>
              <a:ext cx="56172" cy="47890"/>
            </a:xfrm>
            <a:custGeom>
              <a:avLst/>
              <a:gdLst>
                <a:gd name="T0" fmla="*/ 28 w 366"/>
                <a:gd name="T1" fmla="*/ 187 h 312"/>
                <a:gd name="T2" fmla="*/ 12 w 366"/>
                <a:gd name="T3" fmla="*/ 147 h 312"/>
                <a:gd name="T4" fmla="*/ 0 w 366"/>
                <a:gd name="T5" fmla="*/ 97 h 312"/>
                <a:gd name="T6" fmla="*/ 21 w 366"/>
                <a:gd name="T7" fmla="*/ 76 h 312"/>
                <a:gd name="T8" fmla="*/ 28 w 366"/>
                <a:gd name="T9" fmla="*/ 66 h 312"/>
                <a:gd name="T10" fmla="*/ 59 w 366"/>
                <a:gd name="T11" fmla="*/ 22 h 312"/>
                <a:gd name="T12" fmla="*/ 114 w 366"/>
                <a:gd name="T13" fmla="*/ 22 h 312"/>
                <a:gd name="T14" fmla="*/ 189 w 366"/>
                <a:gd name="T15" fmla="*/ 22 h 312"/>
                <a:gd name="T16" fmla="*/ 199 w 366"/>
                <a:gd name="T17" fmla="*/ 22 h 312"/>
                <a:gd name="T18" fmla="*/ 227 w 366"/>
                <a:gd name="T19" fmla="*/ 38 h 312"/>
                <a:gd name="T20" fmla="*/ 258 w 366"/>
                <a:gd name="T21" fmla="*/ 55 h 312"/>
                <a:gd name="T22" fmla="*/ 258 w 366"/>
                <a:gd name="T23" fmla="*/ 22 h 312"/>
                <a:gd name="T24" fmla="*/ 274 w 366"/>
                <a:gd name="T25" fmla="*/ 10 h 312"/>
                <a:gd name="T26" fmla="*/ 295 w 366"/>
                <a:gd name="T27" fmla="*/ 5 h 312"/>
                <a:gd name="T28" fmla="*/ 366 w 366"/>
                <a:gd name="T29" fmla="*/ 0 h 312"/>
                <a:gd name="T30" fmla="*/ 359 w 366"/>
                <a:gd name="T31" fmla="*/ 55 h 312"/>
                <a:gd name="T32" fmla="*/ 366 w 366"/>
                <a:gd name="T33" fmla="*/ 81 h 312"/>
                <a:gd name="T34" fmla="*/ 366 w 366"/>
                <a:gd name="T35" fmla="*/ 147 h 312"/>
                <a:gd name="T36" fmla="*/ 359 w 366"/>
                <a:gd name="T37" fmla="*/ 175 h 312"/>
                <a:gd name="T38" fmla="*/ 333 w 366"/>
                <a:gd name="T39" fmla="*/ 170 h 312"/>
                <a:gd name="T40" fmla="*/ 279 w 366"/>
                <a:gd name="T41" fmla="*/ 192 h 312"/>
                <a:gd name="T42" fmla="*/ 258 w 366"/>
                <a:gd name="T43" fmla="*/ 208 h 312"/>
                <a:gd name="T44" fmla="*/ 241 w 366"/>
                <a:gd name="T45" fmla="*/ 225 h 312"/>
                <a:gd name="T46" fmla="*/ 269 w 366"/>
                <a:gd name="T47" fmla="*/ 263 h 312"/>
                <a:gd name="T48" fmla="*/ 241 w 366"/>
                <a:gd name="T49" fmla="*/ 263 h 312"/>
                <a:gd name="T50" fmla="*/ 215 w 366"/>
                <a:gd name="T51" fmla="*/ 274 h 312"/>
                <a:gd name="T52" fmla="*/ 189 w 366"/>
                <a:gd name="T53" fmla="*/ 274 h 312"/>
                <a:gd name="T54" fmla="*/ 182 w 366"/>
                <a:gd name="T55" fmla="*/ 296 h 312"/>
                <a:gd name="T56" fmla="*/ 151 w 366"/>
                <a:gd name="T57" fmla="*/ 312 h 312"/>
                <a:gd name="T58" fmla="*/ 114 w 366"/>
                <a:gd name="T59" fmla="*/ 296 h 312"/>
                <a:gd name="T60" fmla="*/ 80 w 366"/>
                <a:gd name="T61" fmla="*/ 296 h 312"/>
                <a:gd name="T62" fmla="*/ 97 w 366"/>
                <a:gd name="T63" fmla="*/ 274 h 312"/>
                <a:gd name="T64" fmla="*/ 76 w 366"/>
                <a:gd name="T65" fmla="*/ 274 h 312"/>
                <a:gd name="T66" fmla="*/ 54 w 366"/>
                <a:gd name="T67" fmla="*/ 241 h 312"/>
                <a:gd name="T68" fmla="*/ 43 w 366"/>
                <a:gd name="T69" fmla="*/ 220 h 312"/>
                <a:gd name="T70" fmla="*/ 43 w 366"/>
                <a:gd name="T71" fmla="*/ 220 h 312"/>
                <a:gd name="T72" fmla="*/ 43 w 366"/>
                <a:gd name="T73" fmla="*/ 225 h 312"/>
                <a:gd name="T74" fmla="*/ 43 w 366"/>
                <a:gd name="T75" fmla="*/ 220 h 312"/>
                <a:gd name="T76" fmla="*/ 66 w 366"/>
                <a:gd name="T77" fmla="*/ 286 h 312"/>
                <a:gd name="T78" fmla="*/ 66 w 366"/>
                <a:gd name="T79" fmla="*/ 286 h 312"/>
                <a:gd name="T80" fmla="*/ 66 w 366"/>
                <a:gd name="T81" fmla="*/ 286 h 3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66" h="312">
                  <a:moveTo>
                    <a:pt x="43" y="220"/>
                  </a:moveTo>
                  <a:lnTo>
                    <a:pt x="28" y="187"/>
                  </a:lnTo>
                  <a:lnTo>
                    <a:pt x="28" y="163"/>
                  </a:lnTo>
                  <a:lnTo>
                    <a:pt x="12" y="147"/>
                  </a:lnTo>
                  <a:lnTo>
                    <a:pt x="12" y="121"/>
                  </a:lnTo>
                  <a:lnTo>
                    <a:pt x="0" y="97"/>
                  </a:lnTo>
                  <a:lnTo>
                    <a:pt x="7" y="76"/>
                  </a:lnTo>
                  <a:lnTo>
                    <a:pt x="21" y="76"/>
                  </a:lnTo>
                  <a:lnTo>
                    <a:pt x="12" y="66"/>
                  </a:lnTo>
                  <a:lnTo>
                    <a:pt x="28" y="66"/>
                  </a:lnTo>
                  <a:lnTo>
                    <a:pt x="43" y="38"/>
                  </a:lnTo>
                  <a:lnTo>
                    <a:pt x="59" y="22"/>
                  </a:lnTo>
                  <a:lnTo>
                    <a:pt x="92" y="10"/>
                  </a:lnTo>
                  <a:lnTo>
                    <a:pt x="114" y="22"/>
                  </a:lnTo>
                  <a:lnTo>
                    <a:pt x="173" y="10"/>
                  </a:lnTo>
                  <a:lnTo>
                    <a:pt x="189" y="22"/>
                  </a:lnTo>
                  <a:lnTo>
                    <a:pt x="189" y="38"/>
                  </a:lnTo>
                  <a:lnTo>
                    <a:pt x="199" y="22"/>
                  </a:lnTo>
                  <a:lnTo>
                    <a:pt x="215" y="43"/>
                  </a:lnTo>
                  <a:lnTo>
                    <a:pt x="227" y="38"/>
                  </a:lnTo>
                  <a:lnTo>
                    <a:pt x="253" y="55"/>
                  </a:lnTo>
                  <a:lnTo>
                    <a:pt x="258" y="55"/>
                  </a:lnTo>
                  <a:lnTo>
                    <a:pt x="269" y="43"/>
                  </a:lnTo>
                  <a:lnTo>
                    <a:pt x="258" y="22"/>
                  </a:lnTo>
                  <a:lnTo>
                    <a:pt x="274" y="22"/>
                  </a:lnTo>
                  <a:lnTo>
                    <a:pt x="274" y="10"/>
                  </a:lnTo>
                  <a:lnTo>
                    <a:pt x="279" y="10"/>
                  </a:lnTo>
                  <a:lnTo>
                    <a:pt x="295" y="5"/>
                  </a:lnTo>
                  <a:lnTo>
                    <a:pt x="312" y="26"/>
                  </a:lnTo>
                  <a:lnTo>
                    <a:pt x="366" y="0"/>
                  </a:lnTo>
                  <a:lnTo>
                    <a:pt x="350" y="38"/>
                  </a:lnTo>
                  <a:lnTo>
                    <a:pt x="359" y="55"/>
                  </a:lnTo>
                  <a:lnTo>
                    <a:pt x="359" y="59"/>
                  </a:lnTo>
                  <a:lnTo>
                    <a:pt x="366" y="81"/>
                  </a:lnTo>
                  <a:lnTo>
                    <a:pt x="359" y="121"/>
                  </a:lnTo>
                  <a:lnTo>
                    <a:pt x="366" y="147"/>
                  </a:lnTo>
                  <a:lnTo>
                    <a:pt x="366" y="170"/>
                  </a:lnTo>
                  <a:lnTo>
                    <a:pt x="359" y="175"/>
                  </a:lnTo>
                  <a:lnTo>
                    <a:pt x="350" y="170"/>
                  </a:lnTo>
                  <a:lnTo>
                    <a:pt x="333" y="170"/>
                  </a:lnTo>
                  <a:lnTo>
                    <a:pt x="307" y="192"/>
                  </a:lnTo>
                  <a:lnTo>
                    <a:pt x="279" y="192"/>
                  </a:lnTo>
                  <a:lnTo>
                    <a:pt x="291" y="220"/>
                  </a:lnTo>
                  <a:lnTo>
                    <a:pt x="258" y="208"/>
                  </a:lnTo>
                  <a:lnTo>
                    <a:pt x="253" y="220"/>
                  </a:lnTo>
                  <a:lnTo>
                    <a:pt x="241" y="225"/>
                  </a:lnTo>
                  <a:lnTo>
                    <a:pt x="241" y="246"/>
                  </a:lnTo>
                  <a:lnTo>
                    <a:pt x="269" y="263"/>
                  </a:lnTo>
                  <a:lnTo>
                    <a:pt x="269" y="279"/>
                  </a:lnTo>
                  <a:lnTo>
                    <a:pt x="241" y="263"/>
                  </a:lnTo>
                  <a:lnTo>
                    <a:pt x="220" y="274"/>
                  </a:lnTo>
                  <a:lnTo>
                    <a:pt x="215" y="274"/>
                  </a:lnTo>
                  <a:lnTo>
                    <a:pt x="199" y="274"/>
                  </a:lnTo>
                  <a:lnTo>
                    <a:pt x="189" y="274"/>
                  </a:lnTo>
                  <a:lnTo>
                    <a:pt x="189" y="286"/>
                  </a:lnTo>
                  <a:lnTo>
                    <a:pt x="182" y="296"/>
                  </a:lnTo>
                  <a:lnTo>
                    <a:pt x="161" y="303"/>
                  </a:lnTo>
                  <a:lnTo>
                    <a:pt x="151" y="312"/>
                  </a:lnTo>
                  <a:lnTo>
                    <a:pt x="135" y="296"/>
                  </a:lnTo>
                  <a:lnTo>
                    <a:pt x="114" y="296"/>
                  </a:lnTo>
                  <a:lnTo>
                    <a:pt x="92" y="303"/>
                  </a:lnTo>
                  <a:lnTo>
                    <a:pt x="80" y="296"/>
                  </a:lnTo>
                  <a:lnTo>
                    <a:pt x="97" y="286"/>
                  </a:lnTo>
                  <a:lnTo>
                    <a:pt x="97" y="274"/>
                  </a:lnTo>
                  <a:lnTo>
                    <a:pt x="80" y="258"/>
                  </a:lnTo>
                  <a:lnTo>
                    <a:pt x="76" y="274"/>
                  </a:lnTo>
                  <a:lnTo>
                    <a:pt x="59" y="274"/>
                  </a:lnTo>
                  <a:lnTo>
                    <a:pt x="54" y="241"/>
                  </a:lnTo>
                  <a:lnTo>
                    <a:pt x="43" y="225"/>
                  </a:lnTo>
                  <a:lnTo>
                    <a:pt x="43" y="220"/>
                  </a:lnTo>
                  <a:lnTo>
                    <a:pt x="54" y="220"/>
                  </a:lnTo>
                  <a:lnTo>
                    <a:pt x="43" y="220"/>
                  </a:lnTo>
                  <a:lnTo>
                    <a:pt x="38" y="208"/>
                  </a:lnTo>
                  <a:lnTo>
                    <a:pt x="43" y="225"/>
                  </a:lnTo>
                  <a:lnTo>
                    <a:pt x="43" y="220"/>
                  </a:lnTo>
                  <a:lnTo>
                    <a:pt x="43" y="220"/>
                  </a:lnTo>
                  <a:lnTo>
                    <a:pt x="43" y="220"/>
                  </a:lnTo>
                  <a:close/>
                  <a:moveTo>
                    <a:pt x="66" y="286"/>
                  </a:moveTo>
                  <a:lnTo>
                    <a:pt x="59" y="279"/>
                  </a:lnTo>
                  <a:lnTo>
                    <a:pt x="66" y="286"/>
                  </a:lnTo>
                  <a:lnTo>
                    <a:pt x="66" y="286"/>
                  </a:lnTo>
                  <a:lnTo>
                    <a:pt x="66" y="286"/>
                  </a:lnTo>
                  <a:lnTo>
                    <a:pt x="66" y="286"/>
                  </a:lnTo>
                  <a:close/>
                </a:path>
              </a:pathLst>
            </a:custGeom>
            <a:solidFill>
              <a:schemeClr val="bg2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68" name="Freeform 410">
              <a:extLst>
                <a:ext uri="{FF2B5EF4-FFF2-40B4-BE49-F238E27FC236}">
                  <a16:creationId xmlns:a16="http://schemas.microsoft.com/office/drawing/2014/main" id="{C48D1131-E06F-4799-95F6-6DCFC61B07FC}"/>
                </a:ext>
              </a:extLst>
            </p:cNvPr>
            <p:cNvSpPr>
              <a:spLocks/>
            </p:cNvSpPr>
            <p:nvPr/>
          </p:nvSpPr>
          <p:spPr bwMode="gray">
            <a:xfrm>
              <a:off x="6306040" y="2478554"/>
              <a:ext cx="113111" cy="180200"/>
            </a:xfrm>
            <a:custGeom>
              <a:avLst/>
              <a:gdLst>
                <a:gd name="T0" fmla="*/ 17 w 737"/>
                <a:gd name="T1" fmla="*/ 720 h 1174"/>
                <a:gd name="T2" fmla="*/ 17 w 737"/>
                <a:gd name="T3" fmla="*/ 659 h 1174"/>
                <a:gd name="T4" fmla="*/ 69 w 737"/>
                <a:gd name="T5" fmla="*/ 569 h 1174"/>
                <a:gd name="T6" fmla="*/ 161 w 737"/>
                <a:gd name="T7" fmla="*/ 264 h 1174"/>
                <a:gd name="T8" fmla="*/ 156 w 737"/>
                <a:gd name="T9" fmla="*/ 198 h 1174"/>
                <a:gd name="T10" fmla="*/ 123 w 737"/>
                <a:gd name="T11" fmla="*/ 144 h 1174"/>
                <a:gd name="T12" fmla="*/ 107 w 737"/>
                <a:gd name="T13" fmla="*/ 33 h 1174"/>
                <a:gd name="T14" fmla="*/ 452 w 737"/>
                <a:gd name="T15" fmla="*/ 137 h 1174"/>
                <a:gd name="T16" fmla="*/ 737 w 737"/>
                <a:gd name="T17" fmla="*/ 581 h 1174"/>
                <a:gd name="T18" fmla="*/ 666 w 737"/>
                <a:gd name="T19" fmla="*/ 588 h 1174"/>
                <a:gd name="T20" fmla="*/ 666 w 737"/>
                <a:gd name="T21" fmla="*/ 621 h 1174"/>
                <a:gd name="T22" fmla="*/ 645 w 737"/>
                <a:gd name="T23" fmla="*/ 654 h 1174"/>
                <a:gd name="T24" fmla="*/ 641 w 737"/>
                <a:gd name="T25" fmla="*/ 692 h 1174"/>
                <a:gd name="T26" fmla="*/ 607 w 737"/>
                <a:gd name="T27" fmla="*/ 720 h 1174"/>
                <a:gd name="T28" fmla="*/ 603 w 737"/>
                <a:gd name="T29" fmla="*/ 770 h 1174"/>
                <a:gd name="T30" fmla="*/ 603 w 737"/>
                <a:gd name="T31" fmla="*/ 803 h 1174"/>
                <a:gd name="T32" fmla="*/ 615 w 737"/>
                <a:gd name="T33" fmla="*/ 791 h 1174"/>
                <a:gd name="T34" fmla="*/ 631 w 737"/>
                <a:gd name="T35" fmla="*/ 819 h 1174"/>
                <a:gd name="T36" fmla="*/ 641 w 737"/>
                <a:gd name="T37" fmla="*/ 881 h 1174"/>
                <a:gd name="T38" fmla="*/ 662 w 737"/>
                <a:gd name="T39" fmla="*/ 885 h 1174"/>
                <a:gd name="T40" fmla="*/ 662 w 737"/>
                <a:gd name="T41" fmla="*/ 930 h 1174"/>
                <a:gd name="T42" fmla="*/ 577 w 737"/>
                <a:gd name="T43" fmla="*/ 952 h 1174"/>
                <a:gd name="T44" fmla="*/ 570 w 737"/>
                <a:gd name="T45" fmla="*/ 987 h 1174"/>
                <a:gd name="T46" fmla="*/ 548 w 737"/>
                <a:gd name="T47" fmla="*/ 996 h 1174"/>
                <a:gd name="T48" fmla="*/ 494 w 737"/>
                <a:gd name="T49" fmla="*/ 1046 h 1174"/>
                <a:gd name="T50" fmla="*/ 463 w 737"/>
                <a:gd name="T51" fmla="*/ 1053 h 1174"/>
                <a:gd name="T52" fmla="*/ 392 w 737"/>
                <a:gd name="T53" fmla="*/ 1070 h 1174"/>
                <a:gd name="T54" fmla="*/ 397 w 737"/>
                <a:gd name="T55" fmla="*/ 1098 h 1174"/>
                <a:gd name="T56" fmla="*/ 291 w 737"/>
                <a:gd name="T57" fmla="*/ 1141 h 1174"/>
                <a:gd name="T58" fmla="*/ 220 w 737"/>
                <a:gd name="T59" fmla="*/ 1157 h 1174"/>
                <a:gd name="T60" fmla="*/ 211 w 737"/>
                <a:gd name="T61" fmla="*/ 1164 h 1174"/>
                <a:gd name="T62" fmla="*/ 144 w 737"/>
                <a:gd name="T63" fmla="*/ 1174 h 1174"/>
                <a:gd name="T64" fmla="*/ 144 w 737"/>
                <a:gd name="T65" fmla="*/ 1152 h 1174"/>
                <a:gd name="T66" fmla="*/ 59 w 737"/>
                <a:gd name="T67" fmla="*/ 1053 h 1174"/>
                <a:gd name="T68" fmla="*/ 52 w 737"/>
                <a:gd name="T69" fmla="*/ 996 h 1174"/>
                <a:gd name="T70" fmla="*/ 161 w 737"/>
                <a:gd name="T71" fmla="*/ 996 h 1174"/>
                <a:gd name="T72" fmla="*/ 114 w 737"/>
                <a:gd name="T73" fmla="*/ 935 h 1174"/>
                <a:gd name="T74" fmla="*/ 114 w 737"/>
                <a:gd name="T75" fmla="*/ 885 h 1174"/>
                <a:gd name="T76" fmla="*/ 102 w 737"/>
                <a:gd name="T77" fmla="*/ 843 h 1174"/>
                <a:gd name="T78" fmla="*/ 76 w 737"/>
                <a:gd name="T79" fmla="*/ 791 h 1174"/>
                <a:gd name="T80" fmla="*/ 48 w 737"/>
                <a:gd name="T81" fmla="*/ 770 h 1174"/>
                <a:gd name="T82" fmla="*/ 48 w 737"/>
                <a:gd name="T83" fmla="*/ 770 h 1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737" h="1174">
                  <a:moveTo>
                    <a:pt x="48" y="770"/>
                  </a:moveTo>
                  <a:lnTo>
                    <a:pt x="17" y="720"/>
                  </a:lnTo>
                  <a:lnTo>
                    <a:pt x="0" y="663"/>
                  </a:lnTo>
                  <a:lnTo>
                    <a:pt x="17" y="659"/>
                  </a:lnTo>
                  <a:lnTo>
                    <a:pt x="31" y="626"/>
                  </a:lnTo>
                  <a:lnTo>
                    <a:pt x="69" y="569"/>
                  </a:lnTo>
                  <a:lnTo>
                    <a:pt x="144" y="486"/>
                  </a:lnTo>
                  <a:lnTo>
                    <a:pt x="161" y="264"/>
                  </a:lnTo>
                  <a:lnTo>
                    <a:pt x="178" y="231"/>
                  </a:lnTo>
                  <a:lnTo>
                    <a:pt x="156" y="198"/>
                  </a:lnTo>
                  <a:lnTo>
                    <a:pt x="156" y="182"/>
                  </a:lnTo>
                  <a:lnTo>
                    <a:pt x="123" y="144"/>
                  </a:lnTo>
                  <a:lnTo>
                    <a:pt x="123" y="104"/>
                  </a:lnTo>
                  <a:lnTo>
                    <a:pt x="107" y="33"/>
                  </a:lnTo>
                  <a:lnTo>
                    <a:pt x="178" y="0"/>
                  </a:lnTo>
                  <a:lnTo>
                    <a:pt x="452" y="137"/>
                  </a:lnTo>
                  <a:lnTo>
                    <a:pt x="737" y="293"/>
                  </a:lnTo>
                  <a:lnTo>
                    <a:pt x="737" y="581"/>
                  </a:lnTo>
                  <a:lnTo>
                    <a:pt x="678" y="581"/>
                  </a:lnTo>
                  <a:lnTo>
                    <a:pt x="666" y="588"/>
                  </a:lnTo>
                  <a:lnTo>
                    <a:pt x="666" y="604"/>
                  </a:lnTo>
                  <a:lnTo>
                    <a:pt x="666" y="621"/>
                  </a:lnTo>
                  <a:lnTo>
                    <a:pt x="645" y="642"/>
                  </a:lnTo>
                  <a:lnTo>
                    <a:pt x="645" y="654"/>
                  </a:lnTo>
                  <a:lnTo>
                    <a:pt x="631" y="659"/>
                  </a:lnTo>
                  <a:lnTo>
                    <a:pt x="641" y="692"/>
                  </a:lnTo>
                  <a:lnTo>
                    <a:pt x="615" y="708"/>
                  </a:lnTo>
                  <a:lnTo>
                    <a:pt x="607" y="720"/>
                  </a:lnTo>
                  <a:lnTo>
                    <a:pt x="624" y="748"/>
                  </a:lnTo>
                  <a:lnTo>
                    <a:pt x="603" y="770"/>
                  </a:lnTo>
                  <a:lnTo>
                    <a:pt x="586" y="791"/>
                  </a:lnTo>
                  <a:lnTo>
                    <a:pt x="603" y="803"/>
                  </a:lnTo>
                  <a:lnTo>
                    <a:pt x="607" y="803"/>
                  </a:lnTo>
                  <a:lnTo>
                    <a:pt x="615" y="791"/>
                  </a:lnTo>
                  <a:lnTo>
                    <a:pt x="631" y="803"/>
                  </a:lnTo>
                  <a:lnTo>
                    <a:pt x="631" y="819"/>
                  </a:lnTo>
                  <a:lnTo>
                    <a:pt x="645" y="848"/>
                  </a:lnTo>
                  <a:lnTo>
                    <a:pt x="641" y="881"/>
                  </a:lnTo>
                  <a:lnTo>
                    <a:pt x="657" y="885"/>
                  </a:lnTo>
                  <a:lnTo>
                    <a:pt x="662" y="885"/>
                  </a:lnTo>
                  <a:lnTo>
                    <a:pt x="666" y="902"/>
                  </a:lnTo>
                  <a:lnTo>
                    <a:pt x="662" y="930"/>
                  </a:lnTo>
                  <a:lnTo>
                    <a:pt x="631" y="919"/>
                  </a:lnTo>
                  <a:lnTo>
                    <a:pt x="577" y="952"/>
                  </a:lnTo>
                  <a:lnTo>
                    <a:pt x="577" y="975"/>
                  </a:lnTo>
                  <a:lnTo>
                    <a:pt x="570" y="987"/>
                  </a:lnTo>
                  <a:lnTo>
                    <a:pt x="555" y="996"/>
                  </a:lnTo>
                  <a:lnTo>
                    <a:pt x="548" y="996"/>
                  </a:lnTo>
                  <a:lnTo>
                    <a:pt x="518" y="1041"/>
                  </a:lnTo>
                  <a:lnTo>
                    <a:pt x="494" y="1046"/>
                  </a:lnTo>
                  <a:lnTo>
                    <a:pt x="485" y="1063"/>
                  </a:lnTo>
                  <a:lnTo>
                    <a:pt x="463" y="1053"/>
                  </a:lnTo>
                  <a:lnTo>
                    <a:pt x="452" y="1063"/>
                  </a:lnTo>
                  <a:lnTo>
                    <a:pt x="392" y="1070"/>
                  </a:lnTo>
                  <a:lnTo>
                    <a:pt x="383" y="1079"/>
                  </a:lnTo>
                  <a:lnTo>
                    <a:pt x="397" y="1098"/>
                  </a:lnTo>
                  <a:lnTo>
                    <a:pt x="359" y="1136"/>
                  </a:lnTo>
                  <a:lnTo>
                    <a:pt x="291" y="1141"/>
                  </a:lnTo>
                  <a:lnTo>
                    <a:pt x="237" y="1174"/>
                  </a:lnTo>
                  <a:lnTo>
                    <a:pt x="220" y="1157"/>
                  </a:lnTo>
                  <a:lnTo>
                    <a:pt x="220" y="1152"/>
                  </a:lnTo>
                  <a:lnTo>
                    <a:pt x="211" y="1164"/>
                  </a:lnTo>
                  <a:lnTo>
                    <a:pt x="178" y="1174"/>
                  </a:lnTo>
                  <a:lnTo>
                    <a:pt x="144" y="1174"/>
                  </a:lnTo>
                  <a:lnTo>
                    <a:pt x="156" y="1157"/>
                  </a:lnTo>
                  <a:lnTo>
                    <a:pt x="144" y="1152"/>
                  </a:lnTo>
                  <a:lnTo>
                    <a:pt x="123" y="1103"/>
                  </a:lnTo>
                  <a:lnTo>
                    <a:pt x="59" y="1053"/>
                  </a:lnTo>
                  <a:lnTo>
                    <a:pt x="38" y="1025"/>
                  </a:lnTo>
                  <a:lnTo>
                    <a:pt x="52" y="996"/>
                  </a:lnTo>
                  <a:lnTo>
                    <a:pt x="90" y="996"/>
                  </a:lnTo>
                  <a:lnTo>
                    <a:pt x="161" y="996"/>
                  </a:lnTo>
                  <a:lnTo>
                    <a:pt x="140" y="975"/>
                  </a:lnTo>
                  <a:lnTo>
                    <a:pt x="114" y="935"/>
                  </a:lnTo>
                  <a:lnTo>
                    <a:pt x="114" y="902"/>
                  </a:lnTo>
                  <a:lnTo>
                    <a:pt x="114" y="885"/>
                  </a:lnTo>
                  <a:lnTo>
                    <a:pt x="114" y="843"/>
                  </a:lnTo>
                  <a:lnTo>
                    <a:pt x="102" y="843"/>
                  </a:lnTo>
                  <a:lnTo>
                    <a:pt x="102" y="803"/>
                  </a:lnTo>
                  <a:lnTo>
                    <a:pt x="76" y="791"/>
                  </a:lnTo>
                  <a:lnTo>
                    <a:pt x="69" y="770"/>
                  </a:lnTo>
                  <a:lnTo>
                    <a:pt x="48" y="770"/>
                  </a:lnTo>
                  <a:lnTo>
                    <a:pt x="48" y="770"/>
                  </a:lnTo>
                  <a:lnTo>
                    <a:pt x="48" y="770"/>
                  </a:lnTo>
                  <a:close/>
                </a:path>
              </a:pathLst>
            </a:custGeom>
            <a:solidFill>
              <a:schemeClr val="bg2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69" name="Freeform 411">
              <a:extLst>
                <a:ext uri="{FF2B5EF4-FFF2-40B4-BE49-F238E27FC236}">
                  <a16:creationId xmlns:a16="http://schemas.microsoft.com/office/drawing/2014/main" id="{8823FD41-2AF3-4699-B3DA-AF5F54AFCEA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018471" y="2633274"/>
              <a:ext cx="23942" cy="43131"/>
            </a:xfrm>
            <a:custGeom>
              <a:avLst/>
              <a:gdLst>
                <a:gd name="T0" fmla="*/ 17 w 156"/>
                <a:gd name="T1" fmla="*/ 182 h 281"/>
                <a:gd name="T2" fmla="*/ 12 w 156"/>
                <a:gd name="T3" fmla="*/ 116 h 281"/>
                <a:gd name="T4" fmla="*/ 12 w 156"/>
                <a:gd name="T5" fmla="*/ 111 h 281"/>
                <a:gd name="T6" fmla="*/ 12 w 156"/>
                <a:gd name="T7" fmla="*/ 133 h 281"/>
                <a:gd name="T8" fmla="*/ 17 w 156"/>
                <a:gd name="T9" fmla="*/ 133 h 281"/>
                <a:gd name="T10" fmla="*/ 17 w 156"/>
                <a:gd name="T11" fmla="*/ 95 h 281"/>
                <a:gd name="T12" fmla="*/ 28 w 156"/>
                <a:gd name="T13" fmla="*/ 88 h 281"/>
                <a:gd name="T14" fmla="*/ 28 w 156"/>
                <a:gd name="T15" fmla="*/ 59 h 281"/>
                <a:gd name="T16" fmla="*/ 33 w 156"/>
                <a:gd name="T17" fmla="*/ 55 h 281"/>
                <a:gd name="T18" fmla="*/ 33 w 156"/>
                <a:gd name="T19" fmla="*/ 33 h 281"/>
                <a:gd name="T20" fmla="*/ 38 w 156"/>
                <a:gd name="T21" fmla="*/ 22 h 281"/>
                <a:gd name="T22" fmla="*/ 33 w 156"/>
                <a:gd name="T23" fmla="*/ 17 h 281"/>
                <a:gd name="T24" fmla="*/ 71 w 156"/>
                <a:gd name="T25" fmla="*/ 33 h 281"/>
                <a:gd name="T26" fmla="*/ 28 w 156"/>
                <a:gd name="T27" fmla="*/ 5 h 281"/>
                <a:gd name="T28" fmla="*/ 28 w 156"/>
                <a:gd name="T29" fmla="*/ 0 h 281"/>
                <a:gd name="T30" fmla="*/ 33 w 156"/>
                <a:gd name="T31" fmla="*/ 0 h 281"/>
                <a:gd name="T32" fmla="*/ 54 w 156"/>
                <a:gd name="T33" fmla="*/ 17 h 281"/>
                <a:gd name="T34" fmla="*/ 38 w 156"/>
                <a:gd name="T35" fmla="*/ 0 h 281"/>
                <a:gd name="T36" fmla="*/ 50 w 156"/>
                <a:gd name="T37" fmla="*/ 0 h 281"/>
                <a:gd name="T38" fmla="*/ 85 w 156"/>
                <a:gd name="T39" fmla="*/ 38 h 281"/>
                <a:gd name="T40" fmla="*/ 92 w 156"/>
                <a:gd name="T41" fmla="*/ 59 h 281"/>
                <a:gd name="T42" fmla="*/ 102 w 156"/>
                <a:gd name="T43" fmla="*/ 59 h 281"/>
                <a:gd name="T44" fmla="*/ 106 w 156"/>
                <a:gd name="T45" fmla="*/ 88 h 281"/>
                <a:gd name="T46" fmla="*/ 118 w 156"/>
                <a:gd name="T47" fmla="*/ 95 h 281"/>
                <a:gd name="T48" fmla="*/ 106 w 156"/>
                <a:gd name="T49" fmla="*/ 95 h 281"/>
                <a:gd name="T50" fmla="*/ 123 w 156"/>
                <a:gd name="T51" fmla="*/ 95 h 281"/>
                <a:gd name="T52" fmla="*/ 123 w 156"/>
                <a:gd name="T53" fmla="*/ 116 h 281"/>
                <a:gd name="T54" fmla="*/ 156 w 156"/>
                <a:gd name="T55" fmla="*/ 170 h 281"/>
                <a:gd name="T56" fmla="*/ 156 w 156"/>
                <a:gd name="T57" fmla="*/ 206 h 281"/>
                <a:gd name="T58" fmla="*/ 139 w 156"/>
                <a:gd name="T59" fmla="*/ 244 h 281"/>
                <a:gd name="T60" fmla="*/ 118 w 156"/>
                <a:gd name="T61" fmla="*/ 260 h 281"/>
                <a:gd name="T62" fmla="*/ 71 w 156"/>
                <a:gd name="T63" fmla="*/ 281 h 281"/>
                <a:gd name="T64" fmla="*/ 38 w 156"/>
                <a:gd name="T65" fmla="*/ 277 h 281"/>
                <a:gd name="T66" fmla="*/ 33 w 156"/>
                <a:gd name="T67" fmla="*/ 260 h 281"/>
                <a:gd name="T68" fmla="*/ 17 w 156"/>
                <a:gd name="T69" fmla="*/ 222 h 281"/>
                <a:gd name="T70" fmla="*/ 17 w 156"/>
                <a:gd name="T71" fmla="*/ 182 h 281"/>
                <a:gd name="T72" fmla="*/ 17 w 156"/>
                <a:gd name="T73" fmla="*/ 182 h 281"/>
                <a:gd name="T74" fmla="*/ 17 w 156"/>
                <a:gd name="T75" fmla="*/ 182 h 281"/>
                <a:gd name="T76" fmla="*/ 17 w 156"/>
                <a:gd name="T77" fmla="*/ 5 h 281"/>
                <a:gd name="T78" fmla="*/ 28 w 156"/>
                <a:gd name="T79" fmla="*/ 17 h 281"/>
                <a:gd name="T80" fmla="*/ 17 w 156"/>
                <a:gd name="T81" fmla="*/ 5 h 281"/>
                <a:gd name="T82" fmla="*/ 17 w 156"/>
                <a:gd name="T83" fmla="*/ 5 h 281"/>
                <a:gd name="T84" fmla="*/ 17 w 156"/>
                <a:gd name="T85" fmla="*/ 5 h 281"/>
                <a:gd name="T86" fmla="*/ 17 w 156"/>
                <a:gd name="T87" fmla="*/ 5 h 281"/>
                <a:gd name="T88" fmla="*/ 12 w 156"/>
                <a:gd name="T89" fmla="*/ 55 h 281"/>
                <a:gd name="T90" fmla="*/ 17 w 156"/>
                <a:gd name="T91" fmla="*/ 59 h 281"/>
                <a:gd name="T92" fmla="*/ 0 w 156"/>
                <a:gd name="T93" fmla="*/ 55 h 281"/>
                <a:gd name="T94" fmla="*/ 12 w 156"/>
                <a:gd name="T95" fmla="*/ 55 h 281"/>
                <a:gd name="T96" fmla="*/ 12 w 156"/>
                <a:gd name="T97" fmla="*/ 55 h 281"/>
                <a:gd name="T98" fmla="*/ 12 w 156"/>
                <a:gd name="T99" fmla="*/ 55 h 281"/>
                <a:gd name="T100" fmla="*/ 144 w 156"/>
                <a:gd name="T101" fmla="*/ 154 h 281"/>
                <a:gd name="T102" fmla="*/ 156 w 156"/>
                <a:gd name="T103" fmla="*/ 170 h 281"/>
                <a:gd name="T104" fmla="*/ 144 w 156"/>
                <a:gd name="T105" fmla="*/ 149 h 281"/>
                <a:gd name="T106" fmla="*/ 144 w 156"/>
                <a:gd name="T107" fmla="*/ 154 h 281"/>
                <a:gd name="T108" fmla="*/ 144 w 156"/>
                <a:gd name="T109" fmla="*/ 154 h 281"/>
                <a:gd name="T110" fmla="*/ 144 w 156"/>
                <a:gd name="T111" fmla="*/ 154 h 2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56" h="281">
                  <a:moveTo>
                    <a:pt x="17" y="182"/>
                  </a:moveTo>
                  <a:lnTo>
                    <a:pt x="12" y="116"/>
                  </a:lnTo>
                  <a:lnTo>
                    <a:pt x="12" y="111"/>
                  </a:lnTo>
                  <a:lnTo>
                    <a:pt x="12" y="133"/>
                  </a:lnTo>
                  <a:lnTo>
                    <a:pt x="17" y="133"/>
                  </a:lnTo>
                  <a:lnTo>
                    <a:pt x="17" y="95"/>
                  </a:lnTo>
                  <a:lnTo>
                    <a:pt x="28" y="88"/>
                  </a:lnTo>
                  <a:lnTo>
                    <a:pt x="28" y="59"/>
                  </a:lnTo>
                  <a:lnTo>
                    <a:pt x="33" y="55"/>
                  </a:lnTo>
                  <a:lnTo>
                    <a:pt x="33" y="33"/>
                  </a:lnTo>
                  <a:lnTo>
                    <a:pt x="38" y="22"/>
                  </a:lnTo>
                  <a:lnTo>
                    <a:pt x="33" y="17"/>
                  </a:lnTo>
                  <a:lnTo>
                    <a:pt x="71" y="33"/>
                  </a:lnTo>
                  <a:lnTo>
                    <a:pt x="28" y="5"/>
                  </a:lnTo>
                  <a:lnTo>
                    <a:pt x="28" y="0"/>
                  </a:lnTo>
                  <a:lnTo>
                    <a:pt x="33" y="0"/>
                  </a:lnTo>
                  <a:lnTo>
                    <a:pt x="54" y="17"/>
                  </a:lnTo>
                  <a:lnTo>
                    <a:pt x="38" y="0"/>
                  </a:lnTo>
                  <a:lnTo>
                    <a:pt x="50" y="0"/>
                  </a:lnTo>
                  <a:lnTo>
                    <a:pt x="85" y="38"/>
                  </a:lnTo>
                  <a:lnTo>
                    <a:pt x="92" y="59"/>
                  </a:lnTo>
                  <a:lnTo>
                    <a:pt x="102" y="59"/>
                  </a:lnTo>
                  <a:lnTo>
                    <a:pt x="106" y="88"/>
                  </a:lnTo>
                  <a:lnTo>
                    <a:pt x="118" y="95"/>
                  </a:lnTo>
                  <a:lnTo>
                    <a:pt x="106" y="95"/>
                  </a:lnTo>
                  <a:lnTo>
                    <a:pt x="123" y="95"/>
                  </a:lnTo>
                  <a:lnTo>
                    <a:pt x="123" y="116"/>
                  </a:lnTo>
                  <a:lnTo>
                    <a:pt x="156" y="170"/>
                  </a:lnTo>
                  <a:lnTo>
                    <a:pt x="156" y="206"/>
                  </a:lnTo>
                  <a:lnTo>
                    <a:pt x="139" y="244"/>
                  </a:lnTo>
                  <a:lnTo>
                    <a:pt x="118" y="260"/>
                  </a:lnTo>
                  <a:lnTo>
                    <a:pt x="71" y="281"/>
                  </a:lnTo>
                  <a:lnTo>
                    <a:pt x="38" y="277"/>
                  </a:lnTo>
                  <a:lnTo>
                    <a:pt x="33" y="260"/>
                  </a:lnTo>
                  <a:lnTo>
                    <a:pt x="17" y="222"/>
                  </a:lnTo>
                  <a:lnTo>
                    <a:pt x="17" y="182"/>
                  </a:lnTo>
                  <a:lnTo>
                    <a:pt x="17" y="182"/>
                  </a:lnTo>
                  <a:lnTo>
                    <a:pt x="17" y="182"/>
                  </a:lnTo>
                  <a:close/>
                  <a:moveTo>
                    <a:pt x="17" y="5"/>
                  </a:moveTo>
                  <a:lnTo>
                    <a:pt x="28" y="17"/>
                  </a:lnTo>
                  <a:lnTo>
                    <a:pt x="17" y="5"/>
                  </a:lnTo>
                  <a:lnTo>
                    <a:pt x="17" y="5"/>
                  </a:lnTo>
                  <a:lnTo>
                    <a:pt x="17" y="5"/>
                  </a:lnTo>
                  <a:lnTo>
                    <a:pt x="17" y="5"/>
                  </a:lnTo>
                  <a:close/>
                  <a:moveTo>
                    <a:pt x="12" y="55"/>
                  </a:moveTo>
                  <a:lnTo>
                    <a:pt x="17" y="59"/>
                  </a:lnTo>
                  <a:lnTo>
                    <a:pt x="0" y="55"/>
                  </a:lnTo>
                  <a:lnTo>
                    <a:pt x="12" y="55"/>
                  </a:lnTo>
                  <a:lnTo>
                    <a:pt x="12" y="55"/>
                  </a:lnTo>
                  <a:lnTo>
                    <a:pt x="12" y="55"/>
                  </a:lnTo>
                  <a:close/>
                  <a:moveTo>
                    <a:pt x="144" y="154"/>
                  </a:moveTo>
                  <a:lnTo>
                    <a:pt x="156" y="170"/>
                  </a:lnTo>
                  <a:lnTo>
                    <a:pt x="144" y="149"/>
                  </a:lnTo>
                  <a:lnTo>
                    <a:pt x="144" y="154"/>
                  </a:lnTo>
                  <a:lnTo>
                    <a:pt x="144" y="154"/>
                  </a:lnTo>
                  <a:lnTo>
                    <a:pt x="144" y="154"/>
                  </a:lnTo>
                  <a:close/>
                </a:path>
              </a:pathLst>
            </a:custGeom>
            <a:solidFill>
              <a:schemeClr val="bg2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70" name="Freeform 412">
              <a:extLst>
                <a:ext uri="{FF2B5EF4-FFF2-40B4-BE49-F238E27FC236}">
                  <a16:creationId xmlns:a16="http://schemas.microsoft.com/office/drawing/2014/main" id="{11C1BC68-B0BF-4082-9D07-5FE09005739E}"/>
                </a:ext>
              </a:extLst>
            </p:cNvPr>
            <p:cNvSpPr>
              <a:spLocks/>
            </p:cNvSpPr>
            <p:nvPr/>
          </p:nvSpPr>
          <p:spPr bwMode="gray">
            <a:xfrm>
              <a:off x="6281024" y="2701424"/>
              <a:ext cx="80114" cy="96547"/>
            </a:xfrm>
            <a:custGeom>
              <a:avLst/>
              <a:gdLst>
                <a:gd name="T0" fmla="*/ 123 w 522"/>
                <a:gd name="T1" fmla="*/ 589 h 629"/>
                <a:gd name="T2" fmla="*/ 107 w 522"/>
                <a:gd name="T3" fmla="*/ 596 h 629"/>
                <a:gd name="T4" fmla="*/ 85 w 522"/>
                <a:gd name="T5" fmla="*/ 612 h 629"/>
                <a:gd name="T6" fmla="*/ 59 w 522"/>
                <a:gd name="T7" fmla="*/ 629 h 629"/>
                <a:gd name="T8" fmla="*/ 48 w 522"/>
                <a:gd name="T9" fmla="*/ 596 h 629"/>
                <a:gd name="T10" fmla="*/ 5 w 522"/>
                <a:gd name="T11" fmla="*/ 534 h 629"/>
                <a:gd name="T12" fmla="*/ 48 w 522"/>
                <a:gd name="T13" fmla="*/ 534 h 629"/>
                <a:gd name="T14" fmla="*/ 52 w 522"/>
                <a:gd name="T15" fmla="*/ 522 h 629"/>
                <a:gd name="T16" fmla="*/ 38 w 522"/>
                <a:gd name="T17" fmla="*/ 501 h 629"/>
                <a:gd name="T18" fmla="*/ 38 w 522"/>
                <a:gd name="T19" fmla="*/ 468 h 629"/>
                <a:gd name="T20" fmla="*/ 38 w 522"/>
                <a:gd name="T21" fmla="*/ 452 h 629"/>
                <a:gd name="T22" fmla="*/ 48 w 522"/>
                <a:gd name="T23" fmla="*/ 444 h 629"/>
                <a:gd name="T24" fmla="*/ 69 w 522"/>
                <a:gd name="T25" fmla="*/ 444 h 629"/>
                <a:gd name="T26" fmla="*/ 90 w 522"/>
                <a:gd name="T27" fmla="*/ 407 h 629"/>
                <a:gd name="T28" fmla="*/ 107 w 522"/>
                <a:gd name="T29" fmla="*/ 395 h 629"/>
                <a:gd name="T30" fmla="*/ 128 w 522"/>
                <a:gd name="T31" fmla="*/ 440 h 629"/>
                <a:gd name="T32" fmla="*/ 182 w 522"/>
                <a:gd name="T33" fmla="*/ 423 h 629"/>
                <a:gd name="T34" fmla="*/ 211 w 522"/>
                <a:gd name="T35" fmla="*/ 444 h 629"/>
                <a:gd name="T36" fmla="*/ 232 w 522"/>
                <a:gd name="T37" fmla="*/ 407 h 629"/>
                <a:gd name="T38" fmla="*/ 232 w 522"/>
                <a:gd name="T39" fmla="*/ 340 h 629"/>
                <a:gd name="T40" fmla="*/ 232 w 522"/>
                <a:gd name="T41" fmla="*/ 300 h 629"/>
                <a:gd name="T42" fmla="*/ 211 w 522"/>
                <a:gd name="T43" fmla="*/ 284 h 629"/>
                <a:gd name="T44" fmla="*/ 194 w 522"/>
                <a:gd name="T45" fmla="*/ 279 h 629"/>
                <a:gd name="T46" fmla="*/ 211 w 522"/>
                <a:gd name="T47" fmla="*/ 229 h 629"/>
                <a:gd name="T48" fmla="*/ 237 w 522"/>
                <a:gd name="T49" fmla="*/ 201 h 629"/>
                <a:gd name="T50" fmla="*/ 182 w 522"/>
                <a:gd name="T51" fmla="*/ 168 h 629"/>
                <a:gd name="T52" fmla="*/ 144 w 522"/>
                <a:gd name="T53" fmla="*/ 168 h 629"/>
                <a:gd name="T54" fmla="*/ 156 w 522"/>
                <a:gd name="T55" fmla="*/ 111 h 629"/>
                <a:gd name="T56" fmla="*/ 265 w 522"/>
                <a:gd name="T57" fmla="*/ 118 h 629"/>
                <a:gd name="T58" fmla="*/ 345 w 522"/>
                <a:gd name="T59" fmla="*/ 152 h 629"/>
                <a:gd name="T60" fmla="*/ 345 w 522"/>
                <a:gd name="T61" fmla="*/ 111 h 629"/>
                <a:gd name="T62" fmla="*/ 378 w 522"/>
                <a:gd name="T63" fmla="*/ 62 h 629"/>
                <a:gd name="T64" fmla="*/ 383 w 522"/>
                <a:gd name="T65" fmla="*/ 7 h 629"/>
                <a:gd name="T66" fmla="*/ 447 w 522"/>
                <a:gd name="T67" fmla="*/ 0 h 629"/>
                <a:gd name="T68" fmla="*/ 468 w 522"/>
                <a:gd name="T69" fmla="*/ 7 h 629"/>
                <a:gd name="T70" fmla="*/ 492 w 522"/>
                <a:gd name="T71" fmla="*/ 19 h 629"/>
                <a:gd name="T72" fmla="*/ 522 w 522"/>
                <a:gd name="T73" fmla="*/ 19 h 629"/>
                <a:gd name="T74" fmla="*/ 485 w 522"/>
                <a:gd name="T75" fmla="*/ 102 h 629"/>
                <a:gd name="T76" fmla="*/ 480 w 522"/>
                <a:gd name="T77" fmla="*/ 201 h 629"/>
                <a:gd name="T78" fmla="*/ 463 w 522"/>
                <a:gd name="T79" fmla="*/ 279 h 629"/>
                <a:gd name="T80" fmla="*/ 437 w 522"/>
                <a:gd name="T81" fmla="*/ 340 h 629"/>
                <a:gd name="T82" fmla="*/ 378 w 522"/>
                <a:gd name="T83" fmla="*/ 407 h 629"/>
                <a:gd name="T84" fmla="*/ 362 w 522"/>
                <a:gd name="T85" fmla="*/ 506 h 629"/>
                <a:gd name="T86" fmla="*/ 307 w 522"/>
                <a:gd name="T87" fmla="*/ 555 h 629"/>
                <a:gd name="T88" fmla="*/ 286 w 522"/>
                <a:gd name="T89" fmla="*/ 579 h 629"/>
                <a:gd name="T90" fmla="*/ 248 w 522"/>
                <a:gd name="T91" fmla="*/ 617 h 629"/>
                <a:gd name="T92" fmla="*/ 232 w 522"/>
                <a:gd name="T93" fmla="*/ 596 h 629"/>
                <a:gd name="T94" fmla="*/ 232 w 522"/>
                <a:gd name="T95" fmla="*/ 579 h 629"/>
                <a:gd name="T96" fmla="*/ 182 w 522"/>
                <a:gd name="T97" fmla="*/ 589 h 629"/>
                <a:gd name="T98" fmla="*/ 166 w 522"/>
                <a:gd name="T99" fmla="*/ 612 h 629"/>
                <a:gd name="T100" fmla="*/ 140 w 522"/>
                <a:gd name="T101" fmla="*/ 596 h 629"/>
                <a:gd name="T102" fmla="*/ 140 w 522"/>
                <a:gd name="T103" fmla="*/ 605 h 6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522" h="629">
                  <a:moveTo>
                    <a:pt x="140" y="605"/>
                  </a:moveTo>
                  <a:lnTo>
                    <a:pt x="123" y="589"/>
                  </a:lnTo>
                  <a:lnTo>
                    <a:pt x="114" y="589"/>
                  </a:lnTo>
                  <a:lnTo>
                    <a:pt x="107" y="596"/>
                  </a:lnTo>
                  <a:lnTo>
                    <a:pt x="90" y="605"/>
                  </a:lnTo>
                  <a:lnTo>
                    <a:pt x="85" y="612"/>
                  </a:lnTo>
                  <a:lnTo>
                    <a:pt x="76" y="612"/>
                  </a:lnTo>
                  <a:lnTo>
                    <a:pt x="59" y="629"/>
                  </a:lnTo>
                  <a:lnTo>
                    <a:pt x="48" y="612"/>
                  </a:lnTo>
                  <a:lnTo>
                    <a:pt x="48" y="596"/>
                  </a:lnTo>
                  <a:lnTo>
                    <a:pt x="0" y="551"/>
                  </a:lnTo>
                  <a:lnTo>
                    <a:pt x="5" y="534"/>
                  </a:lnTo>
                  <a:lnTo>
                    <a:pt x="31" y="522"/>
                  </a:lnTo>
                  <a:lnTo>
                    <a:pt x="48" y="534"/>
                  </a:lnTo>
                  <a:lnTo>
                    <a:pt x="52" y="534"/>
                  </a:lnTo>
                  <a:lnTo>
                    <a:pt x="52" y="522"/>
                  </a:lnTo>
                  <a:lnTo>
                    <a:pt x="59" y="506"/>
                  </a:lnTo>
                  <a:lnTo>
                    <a:pt x="38" y="501"/>
                  </a:lnTo>
                  <a:lnTo>
                    <a:pt x="48" y="485"/>
                  </a:lnTo>
                  <a:lnTo>
                    <a:pt x="38" y="468"/>
                  </a:lnTo>
                  <a:lnTo>
                    <a:pt x="31" y="478"/>
                  </a:lnTo>
                  <a:lnTo>
                    <a:pt x="38" y="452"/>
                  </a:lnTo>
                  <a:lnTo>
                    <a:pt x="31" y="440"/>
                  </a:lnTo>
                  <a:lnTo>
                    <a:pt x="48" y="444"/>
                  </a:lnTo>
                  <a:lnTo>
                    <a:pt x="59" y="440"/>
                  </a:lnTo>
                  <a:lnTo>
                    <a:pt x="69" y="444"/>
                  </a:lnTo>
                  <a:lnTo>
                    <a:pt x="90" y="440"/>
                  </a:lnTo>
                  <a:lnTo>
                    <a:pt x="90" y="407"/>
                  </a:lnTo>
                  <a:lnTo>
                    <a:pt x="102" y="407"/>
                  </a:lnTo>
                  <a:lnTo>
                    <a:pt x="107" y="395"/>
                  </a:lnTo>
                  <a:lnTo>
                    <a:pt x="123" y="407"/>
                  </a:lnTo>
                  <a:lnTo>
                    <a:pt x="128" y="440"/>
                  </a:lnTo>
                  <a:lnTo>
                    <a:pt x="166" y="444"/>
                  </a:lnTo>
                  <a:lnTo>
                    <a:pt x="182" y="423"/>
                  </a:lnTo>
                  <a:lnTo>
                    <a:pt x="194" y="444"/>
                  </a:lnTo>
                  <a:lnTo>
                    <a:pt x="211" y="444"/>
                  </a:lnTo>
                  <a:lnTo>
                    <a:pt x="220" y="411"/>
                  </a:lnTo>
                  <a:lnTo>
                    <a:pt x="232" y="407"/>
                  </a:lnTo>
                  <a:lnTo>
                    <a:pt x="237" y="357"/>
                  </a:lnTo>
                  <a:lnTo>
                    <a:pt x="232" y="340"/>
                  </a:lnTo>
                  <a:lnTo>
                    <a:pt x="237" y="312"/>
                  </a:lnTo>
                  <a:lnTo>
                    <a:pt x="232" y="300"/>
                  </a:lnTo>
                  <a:lnTo>
                    <a:pt x="215" y="300"/>
                  </a:lnTo>
                  <a:lnTo>
                    <a:pt x="211" y="284"/>
                  </a:lnTo>
                  <a:lnTo>
                    <a:pt x="194" y="284"/>
                  </a:lnTo>
                  <a:lnTo>
                    <a:pt x="194" y="279"/>
                  </a:lnTo>
                  <a:lnTo>
                    <a:pt x="199" y="246"/>
                  </a:lnTo>
                  <a:lnTo>
                    <a:pt x="211" y="229"/>
                  </a:lnTo>
                  <a:lnTo>
                    <a:pt x="220" y="222"/>
                  </a:lnTo>
                  <a:lnTo>
                    <a:pt x="237" y="201"/>
                  </a:lnTo>
                  <a:lnTo>
                    <a:pt x="215" y="168"/>
                  </a:lnTo>
                  <a:lnTo>
                    <a:pt x="182" y="168"/>
                  </a:lnTo>
                  <a:lnTo>
                    <a:pt x="144" y="185"/>
                  </a:lnTo>
                  <a:lnTo>
                    <a:pt x="144" y="168"/>
                  </a:lnTo>
                  <a:lnTo>
                    <a:pt x="140" y="147"/>
                  </a:lnTo>
                  <a:lnTo>
                    <a:pt x="156" y="111"/>
                  </a:lnTo>
                  <a:lnTo>
                    <a:pt x="237" y="111"/>
                  </a:lnTo>
                  <a:lnTo>
                    <a:pt x="265" y="118"/>
                  </a:lnTo>
                  <a:lnTo>
                    <a:pt x="324" y="128"/>
                  </a:lnTo>
                  <a:lnTo>
                    <a:pt x="345" y="152"/>
                  </a:lnTo>
                  <a:lnTo>
                    <a:pt x="355" y="147"/>
                  </a:lnTo>
                  <a:lnTo>
                    <a:pt x="345" y="111"/>
                  </a:lnTo>
                  <a:lnTo>
                    <a:pt x="355" y="102"/>
                  </a:lnTo>
                  <a:lnTo>
                    <a:pt x="378" y="62"/>
                  </a:lnTo>
                  <a:lnTo>
                    <a:pt x="378" y="41"/>
                  </a:lnTo>
                  <a:lnTo>
                    <a:pt x="383" y="7"/>
                  </a:lnTo>
                  <a:lnTo>
                    <a:pt x="437" y="7"/>
                  </a:lnTo>
                  <a:lnTo>
                    <a:pt x="447" y="0"/>
                  </a:lnTo>
                  <a:lnTo>
                    <a:pt x="468" y="7"/>
                  </a:lnTo>
                  <a:lnTo>
                    <a:pt x="468" y="7"/>
                  </a:lnTo>
                  <a:lnTo>
                    <a:pt x="492" y="7"/>
                  </a:lnTo>
                  <a:lnTo>
                    <a:pt x="492" y="19"/>
                  </a:lnTo>
                  <a:lnTo>
                    <a:pt x="518" y="0"/>
                  </a:lnTo>
                  <a:lnTo>
                    <a:pt x="522" y="19"/>
                  </a:lnTo>
                  <a:lnTo>
                    <a:pt x="522" y="41"/>
                  </a:lnTo>
                  <a:lnTo>
                    <a:pt x="485" y="102"/>
                  </a:lnTo>
                  <a:lnTo>
                    <a:pt x="485" y="156"/>
                  </a:lnTo>
                  <a:lnTo>
                    <a:pt x="480" y="201"/>
                  </a:lnTo>
                  <a:lnTo>
                    <a:pt x="480" y="239"/>
                  </a:lnTo>
                  <a:lnTo>
                    <a:pt x="463" y="279"/>
                  </a:lnTo>
                  <a:lnTo>
                    <a:pt x="463" y="312"/>
                  </a:lnTo>
                  <a:lnTo>
                    <a:pt x="437" y="340"/>
                  </a:lnTo>
                  <a:lnTo>
                    <a:pt x="400" y="357"/>
                  </a:lnTo>
                  <a:lnTo>
                    <a:pt x="378" y="407"/>
                  </a:lnTo>
                  <a:lnTo>
                    <a:pt x="355" y="423"/>
                  </a:lnTo>
                  <a:lnTo>
                    <a:pt x="362" y="506"/>
                  </a:lnTo>
                  <a:lnTo>
                    <a:pt x="329" y="551"/>
                  </a:lnTo>
                  <a:lnTo>
                    <a:pt x="307" y="555"/>
                  </a:lnTo>
                  <a:lnTo>
                    <a:pt x="307" y="572"/>
                  </a:lnTo>
                  <a:lnTo>
                    <a:pt x="286" y="579"/>
                  </a:lnTo>
                  <a:lnTo>
                    <a:pt x="265" y="612"/>
                  </a:lnTo>
                  <a:lnTo>
                    <a:pt x="248" y="617"/>
                  </a:lnTo>
                  <a:lnTo>
                    <a:pt x="232" y="617"/>
                  </a:lnTo>
                  <a:lnTo>
                    <a:pt x="232" y="596"/>
                  </a:lnTo>
                  <a:lnTo>
                    <a:pt x="237" y="589"/>
                  </a:lnTo>
                  <a:lnTo>
                    <a:pt x="232" y="579"/>
                  </a:lnTo>
                  <a:lnTo>
                    <a:pt x="199" y="589"/>
                  </a:lnTo>
                  <a:lnTo>
                    <a:pt x="182" y="589"/>
                  </a:lnTo>
                  <a:lnTo>
                    <a:pt x="182" y="612"/>
                  </a:lnTo>
                  <a:lnTo>
                    <a:pt x="166" y="612"/>
                  </a:lnTo>
                  <a:lnTo>
                    <a:pt x="161" y="617"/>
                  </a:lnTo>
                  <a:lnTo>
                    <a:pt x="140" y="596"/>
                  </a:lnTo>
                  <a:lnTo>
                    <a:pt x="140" y="605"/>
                  </a:lnTo>
                  <a:lnTo>
                    <a:pt x="140" y="605"/>
                  </a:lnTo>
                  <a:lnTo>
                    <a:pt x="140" y="605"/>
                  </a:lnTo>
                  <a:close/>
                </a:path>
              </a:pathLst>
            </a:custGeom>
            <a:solidFill>
              <a:schemeClr val="bg2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71" name="Freeform 413">
              <a:extLst>
                <a:ext uri="{FF2B5EF4-FFF2-40B4-BE49-F238E27FC236}">
                  <a16:creationId xmlns:a16="http://schemas.microsoft.com/office/drawing/2014/main" id="{2B8A323A-0AE0-4FAA-B73B-DB7E664F774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292688" y="2682698"/>
              <a:ext cx="206270" cy="209517"/>
            </a:xfrm>
            <a:custGeom>
              <a:avLst/>
              <a:gdLst>
                <a:gd name="T0" fmla="*/ 38 w 1344"/>
                <a:gd name="T1" fmla="*/ 819 h 1365"/>
                <a:gd name="T2" fmla="*/ 28 w 1344"/>
                <a:gd name="T3" fmla="*/ 748 h 1365"/>
                <a:gd name="T4" fmla="*/ 87 w 1344"/>
                <a:gd name="T5" fmla="*/ 737 h 1365"/>
                <a:gd name="T6" fmla="*/ 125 w 1344"/>
                <a:gd name="T7" fmla="*/ 708 h 1365"/>
                <a:gd name="T8" fmla="*/ 158 w 1344"/>
                <a:gd name="T9" fmla="*/ 737 h 1365"/>
                <a:gd name="T10" fmla="*/ 234 w 1344"/>
                <a:gd name="T11" fmla="*/ 692 h 1365"/>
                <a:gd name="T12" fmla="*/ 281 w 1344"/>
                <a:gd name="T13" fmla="*/ 543 h 1365"/>
                <a:gd name="T14" fmla="*/ 390 w 1344"/>
                <a:gd name="T15" fmla="*/ 432 h 1365"/>
                <a:gd name="T16" fmla="*/ 411 w 1344"/>
                <a:gd name="T17" fmla="*/ 276 h 1365"/>
                <a:gd name="T18" fmla="*/ 458 w 1344"/>
                <a:gd name="T19" fmla="*/ 99 h 1365"/>
                <a:gd name="T20" fmla="*/ 503 w 1344"/>
                <a:gd name="T21" fmla="*/ 16 h 1365"/>
                <a:gd name="T22" fmla="*/ 588 w 1344"/>
                <a:gd name="T23" fmla="*/ 70 h 1365"/>
                <a:gd name="T24" fmla="*/ 713 w 1344"/>
                <a:gd name="T25" fmla="*/ 87 h 1365"/>
                <a:gd name="T26" fmla="*/ 751 w 1344"/>
                <a:gd name="T27" fmla="*/ 44 h 1365"/>
                <a:gd name="T28" fmla="*/ 857 w 1344"/>
                <a:gd name="T29" fmla="*/ 16 h 1365"/>
                <a:gd name="T30" fmla="*/ 933 w 1344"/>
                <a:gd name="T31" fmla="*/ 0 h 1365"/>
                <a:gd name="T32" fmla="*/ 1020 w 1344"/>
                <a:gd name="T33" fmla="*/ 16 h 1365"/>
                <a:gd name="T34" fmla="*/ 1091 w 1344"/>
                <a:gd name="T35" fmla="*/ 44 h 1365"/>
                <a:gd name="T36" fmla="*/ 1198 w 1344"/>
                <a:gd name="T37" fmla="*/ 70 h 1365"/>
                <a:gd name="T38" fmla="*/ 1235 w 1344"/>
                <a:gd name="T39" fmla="*/ 70 h 1365"/>
                <a:gd name="T40" fmla="*/ 1290 w 1344"/>
                <a:gd name="T41" fmla="*/ 127 h 1365"/>
                <a:gd name="T42" fmla="*/ 1311 w 1344"/>
                <a:gd name="T43" fmla="*/ 144 h 1365"/>
                <a:gd name="T44" fmla="*/ 1311 w 1344"/>
                <a:gd name="T45" fmla="*/ 214 h 1365"/>
                <a:gd name="T46" fmla="*/ 1268 w 1344"/>
                <a:gd name="T47" fmla="*/ 304 h 1365"/>
                <a:gd name="T48" fmla="*/ 1231 w 1344"/>
                <a:gd name="T49" fmla="*/ 382 h 1365"/>
                <a:gd name="T50" fmla="*/ 1188 w 1344"/>
                <a:gd name="T51" fmla="*/ 526 h 1365"/>
                <a:gd name="T52" fmla="*/ 1181 w 1344"/>
                <a:gd name="T53" fmla="*/ 588 h 1365"/>
                <a:gd name="T54" fmla="*/ 1205 w 1344"/>
                <a:gd name="T55" fmla="*/ 682 h 1365"/>
                <a:gd name="T56" fmla="*/ 1214 w 1344"/>
                <a:gd name="T57" fmla="*/ 819 h 1365"/>
                <a:gd name="T58" fmla="*/ 1273 w 1344"/>
                <a:gd name="T59" fmla="*/ 904 h 1365"/>
                <a:gd name="T60" fmla="*/ 1167 w 1344"/>
                <a:gd name="T61" fmla="*/ 1025 h 1365"/>
                <a:gd name="T62" fmla="*/ 1150 w 1344"/>
                <a:gd name="T63" fmla="*/ 1126 h 1365"/>
                <a:gd name="T64" fmla="*/ 1143 w 1344"/>
                <a:gd name="T65" fmla="*/ 1247 h 1365"/>
                <a:gd name="T66" fmla="*/ 1214 w 1344"/>
                <a:gd name="T67" fmla="*/ 1287 h 1365"/>
                <a:gd name="T68" fmla="*/ 1219 w 1344"/>
                <a:gd name="T69" fmla="*/ 1358 h 1365"/>
                <a:gd name="T70" fmla="*/ 1181 w 1344"/>
                <a:gd name="T71" fmla="*/ 1358 h 1365"/>
                <a:gd name="T72" fmla="*/ 1096 w 1344"/>
                <a:gd name="T73" fmla="*/ 1280 h 1365"/>
                <a:gd name="T74" fmla="*/ 1053 w 1344"/>
                <a:gd name="T75" fmla="*/ 1225 h 1365"/>
                <a:gd name="T76" fmla="*/ 966 w 1344"/>
                <a:gd name="T77" fmla="*/ 1247 h 1365"/>
                <a:gd name="T78" fmla="*/ 881 w 1344"/>
                <a:gd name="T79" fmla="*/ 1209 h 1365"/>
                <a:gd name="T80" fmla="*/ 827 w 1344"/>
                <a:gd name="T81" fmla="*/ 1176 h 1365"/>
                <a:gd name="T82" fmla="*/ 730 w 1344"/>
                <a:gd name="T83" fmla="*/ 1181 h 1365"/>
                <a:gd name="T84" fmla="*/ 713 w 1344"/>
                <a:gd name="T85" fmla="*/ 1136 h 1365"/>
                <a:gd name="T86" fmla="*/ 680 w 1344"/>
                <a:gd name="T87" fmla="*/ 1003 h 1365"/>
                <a:gd name="T88" fmla="*/ 588 w 1344"/>
                <a:gd name="T89" fmla="*/ 914 h 1365"/>
                <a:gd name="T90" fmla="*/ 520 w 1344"/>
                <a:gd name="T91" fmla="*/ 892 h 1365"/>
                <a:gd name="T92" fmla="*/ 444 w 1344"/>
                <a:gd name="T93" fmla="*/ 959 h 1365"/>
                <a:gd name="T94" fmla="*/ 406 w 1344"/>
                <a:gd name="T95" fmla="*/ 970 h 1365"/>
                <a:gd name="T96" fmla="*/ 319 w 1344"/>
                <a:gd name="T97" fmla="*/ 848 h 1365"/>
                <a:gd name="T98" fmla="*/ 272 w 1344"/>
                <a:gd name="T99" fmla="*/ 810 h 1365"/>
                <a:gd name="T100" fmla="*/ 54 w 1344"/>
                <a:gd name="T101" fmla="*/ 810 h 13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344" h="1365">
                  <a:moveTo>
                    <a:pt x="272" y="810"/>
                  </a:moveTo>
                  <a:lnTo>
                    <a:pt x="71" y="810"/>
                  </a:lnTo>
                  <a:lnTo>
                    <a:pt x="50" y="810"/>
                  </a:lnTo>
                  <a:lnTo>
                    <a:pt x="38" y="819"/>
                  </a:lnTo>
                  <a:lnTo>
                    <a:pt x="16" y="819"/>
                  </a:lnTo>
                  <a:lnTo>
                    <a:pt x="0" y="803"/>
                  </a:lnTo>
                  <a:lnTo>
                    <a:pt x="28" y="803"/>
                  </a:lnTo>
                  <a:lnTo>
                    <a:pt x="28" y="748"/>
                  </a:lnTo>
                  <a:lnTo>
                    <a:pt x="50" y="732"/>
                  </a:lnTo>
                  <a:lnTo>
                    <a:pt x="66" y="725"/>
                  </a:lnTo>
                  <a:lnTo>
                    <a:pt x="66" y="715"/>
                  </a:lnTo>
                  <a:lnTo>
                    <a:pt x="87" y="737"/>
                  </a:lnTo>
                  <a:lnTo>
                    <a:pt x="92" y="732"/>
                  </a:lnTo>
                  <a:lnTo>
                    <a:pt x="109" y="732"/>
                  </a:lnTo>
                  <a:lnTo>
                    <a:pt x="109" y="708"/>
                  </a:lnTo>
                  <a:lnTo>
                    <a:pt x="125" y="708"/>
                  </a:lnTo>
                  <a:lnTo>
                    <a:pt x="158" y="699"/>
                  </a:lnTo>
                  <a:lnTo>
                    <a:pt x="163" y="708"/>
                  </a:lnTo>
                  <a:lnTo>
                    <a:pt x="158" y="715"/>
                  </a:lnTo>
                  <a:lnTo>
                    <a:pt x="158" y="737"/>
                  </a:lnTo>
                  <a:lnTo>
                    <a:pt x="172" y="737"/>
                  </a:lnTo>
                  <a:lnTo>
                    <a:pt x="189" y="732"/>
                  </a:lnTo>
                  <a:lnTo>
                    <a:pt x="210" y="699"/>
                  </a:lnTo>
                  <a:lnTo>
                    <a:pt x="234" y="692"/>
                  </a:lnTo>
                  <a:lnTo>
                    <a:pt x="234" y="675"/>
                  </a:lnTo>
                  <a:lnTo>
                    <a:pt x="255" y="670"/>
                  </a:lnTo>
                  <a:lnTo>
                    <a:pt x="286" y="625"/>
                  </a:lnTo>
                  <a:lnTo>
                    <a:pt x="281" y="543"/>
                  </a:lnTo>
                  <a:lnTo>
                    <a:pt x="302" y="526"/>
                  </a:lnTo>
                  <a:lnTo>
                    <a:pt x="324" y="477"/>
                  </a:lnTo>
                  <a:lnTo>
                    <a:pt x="361" y="460"/>
                  </a:lnTo>
                  <a:lnTo>
                    <a:pt x="390" y="432"/>
                  </a:lnTo>
                  <a:lnTo>
                    <a:pt x="390" y="399"/>
                  </a:lnTo>
                  <a:lnTo>
                    <a:pt x="406" y="359"/>
                  </a:lnTo>
                  <a:lnTo>
                    <a:pt x="406" y="321"/>
                  </a:lnTo>
                  <a:lnTo>
                    <a:pt x="411" y="276"/>
                  </a:lnTo>
                  <a:lnTo>
                    <a:pt x="411" y="222"/>
                  </a:lnTo>
                  <a:lnTo>
                    <a:pt x="449" y="160"/>
                  </a:lnTo>
                  <a:lnTo>
                    <a:pt x="449" y="139"/>
                  </a:lnTo>
                  <a:lnTo>
                    <a:pt x="458" y="99"/>
                  </a:lnTo>
                  <a:lnTo>
                    <a:pt x="449" y="70"/>
                  </a:lnTo>
                  <a:lnTo>
                    <a:pt x="458" y="70"/>
                  </a:lnTo>
                  <a:lnTo>
                    <a:pt x="482" y="33"/>
                  </a:lnTo>
                  <a:lnTo>
                    <a:pt x="503" y="16"/>
                  </a:lnTo>
                  <a:lnTo>
                    <a:pt x="534" y="16"/>
                  </a:lnTo>
                  <a:lnTo>
                    <a:pt x="572" y="44"/>
                  </a:lnTo>
                  <a:lnTo>
                    <a:pt x="583" y="54"/>
                  </a:lnTo>
                  <a:lnTo>
                    <a:pt x="588" y="70"/>
                  </a:lnTo>
                  <a:lnTo>
                    <a:pt x="621" y="66"/>
                  </a:lnTo>
                  <a:lnTo>
                    <a:pt x="638" y="82"/>
                  </a:lnTo>
                  <a:lnTo>
                    <a:pt x="676" y="82"/>
                  </a:lnTo>
                  <a:lnTo>
                    <a:pt x="713" y="87"/>
                  </a:lnTo>
                  <a:lnTo>
                    <a:pt x="730" y="82"/>
                  </a:lnTo>
                  <a:lnTo>
                    <a:pt x="730" y="66"/>
                  </a:lnTo>
                  <a:lnTo>
                    <a:pt x="735" y="66"/>
                  </a:lnTo>
                  <a:lnTo>
                    <a:pt x="751" y="44"/>
                  </a:lnTo>
                  <a:lnTo>
                    <a:pt x="789" y="54"/>
                  </a:lnTo>
                  <a:lnTo>
                    <a:pt x="798" y="49"/>
                  </a:lnTo>
                  <a:lnTo>
                    <a:pt x="857" y="28"/>
                  </a:lnTo>
                  <a:lnTo>
                    <a:pt x="857" y="16"/>
                  </a:lnTo>
                  <a:lnTo>
                    <a:pt x="881" y="33"/>
                  </a:lnTo>
                  <a:lnTo>
                    <a:pt x="919" y="28"/>
                  </a:lnTo>
                  <a:lnTo>
                    <a:pt x="928" y="0"/>
                  </a:lnTo>
                  <a:lnTo>
                    <a:pt x="933" y="0"/>
                  </a:lnTo>
                  <a:lnTo>
                    <a:pt x="966" y="11"/>
                  </a:lnTo>
                  <a:lnTo>
                    <a:pt x="983" y="11"/>
                  </a:lnTo>
                  <a:lnTo>
                    <a:pt x="1004" y="28"/>
                  </a:lnTo>
                  <a:lnTo>
                    <a:pt x="1020" y="16"/>
                  </a:lnTo>
                  <a:lnTo>
                    <a:pt x="1025" y="28"/>
                  </a:lnTo>
                  <a:lnTo>
                    <a:pt x="1042" y="11"/>
                  </a:lnTo>
                  <a:lnTo>
                    <a:pt x="1075" y="28"/>
                  </a:lnTo>
                  <a:lnTo>
                    <a:pt x="1091" y="44"/>
                  </a:lnTo>
                  <a:lnTo>
                    <a:pt x="1096" y="54"/>
                  </a:lnTo>
                  <a:lnTo>
                    <a:pt x="1134" y="82"/>
                  </a:lnTo>
                  <a:lnTo>
                    <a:pt x="1167" y="54"/>
                  </a:lnTo>
                  <a:lnTo>
                    <a:pt x="1198" y="70"/>
                  </a:lnTo>
                  <a:lnTo>
                    <a:pt x="1214" y="49"/>
                  </a:lnTo>
                  <a:lnTo>
                    <a:pt x="1219" y="49"/>
                  </a:lnTo>
                  <a:lnTo>
                    <a:pt x="1235" y="54"/>
                  </a:lnTo>
                  <a:lnTo>
                    <a:pt x="1235" y="70"/>
                  </a:lnTo>
                  <a:lnTo>
                    <a:pt x="1257" y="87"/>
                  </a:lnTo>
                  <a:lnTo>
                    <a:pt x="1268" y="103"/>
                  </a:lnTo>
                  <a:lnTo>
                    <a:pt x="1290" y="103"/>
                  </a:lnTo>
                  <a:lnTo>
                    <a:pt x="1290" y="127"/>
                  </a:lnTo>
                  <a:lnTo>
                    <a:pt x="1306" y="120"/>
                  </a:lnTo>
                  <a:lnTo>
                    <a:pt x="1311" y="139"/>
                  </a:lnTo>
                  <a:lnTo>
                    <a:pt x="1311" y="139"/>
                  </a:lnTo>
                  <a:lnTo>
                    <a:pt x="1311" y="144"/>
                  </a:lnTo>
                  <a:lnTo>
                    <a:pt x="1306" y="165"/>
                  </a:lnTo>
                  <a:lnTo>
                    <a:pt x="1311" y="181"/>
                  </a:lnTo>
                  <a:lnTo>
                    <a:pt x="1294" y="210"/>
                  </a:lnTo>
                  <a:lnTo>
                    <a:pt x="1311" y="214"/>
                  </a:lnTo>
                  <a:lnTo>
                    <a:pt x="1323" y="214"/>
                  </a:lnTo>
                  <a:lnTo>
                    <a:pt x="1344" y="231"/>
                  </a:lnTo>
                  <a:lnTo>
                    <a:pt x="1285" y="304"/>
                  </a:lnTo>
                  <a:lnTo>
                    <a:pt x="1268" y="304"/>
                  </a:lnTo>
                  <a:lnTo>
                    <a:pt x="1257" y="321"/>
                  </a:lnTo>
                  <a:lnTo>
                    <a:pt x="1242" y="325"/>
                  </a:lnTo>
                  <a:lnTo>
                    <a:pt x="1242" y="349"/>
                  </a:lnTo>
                  <a:lnTo>
                    <a:pt x="1231" y="382"/>
                  </a:lnTo>
                  <a:lnTo>
                    <a:pt x="1219" y="453"/>
                  </a:lnTo>
                  <a:lnTo>
                    <a:pt x="1219" y="486"/>
                  </a:lnTo>
                  <a:lnTo>
                    <a:pt x="1198" y="505"/>
                  </a:lnTo>
                  <a:lnTo>
                    <a:pt x="1188" y="526"/>
                  </a:lnTo>
                  <a:lnTo>
                    <a:pt x="1188" y="548"/>
                  </a:lnTo>
                  <a:lnTo>
                    <a:pt x="1167" y="559"/>
                  </a:lnTo>
                  <a:lnTo>
                    <a:pt x="1176" y="581"/>
                  </a:lnTo>
                  <a:lnTo>
                    <a:pt x="1181" y="588"/>
                  </a:lnTo>
                  <a:lnTo>
                    <a:pt x="1181" y="588"/>
                  </a:lnTo>
                  <a:lnTo>
                    <a:pt x="1198" y="604"/>
                  </a:lnTo>
                  <a:lnTo>
                    <a:pt x="1198" y="670"/>
                  </a:lnTo>
                  <a:lnTo>
                    <a:pt x="1205" y="682"/>
                  </a:lnTo>
                  <a:lnTo>
                    <a:pt x="1205" y="708"/>
                  </a:lnTo>
                  <a:lnTo>
                    <a:pt x="1205" y="748"/>
                  </a:lnTo>
                  <a:lnTo>
                    <a:pt x="1219" y="803"/>
                  </a:lnTo>
                  <a:lnTo>
                    <a:pt x="1214" y="819"/>
                  </a:lnTo>
                  <a:lnTo>
                    <a:pt x="1219" y="843"/>
                  </a:lnTo>
                  <a:lnTo>
                    <a:pt x="1231" y="864"/>
                  </a:lnTo>
                  <a:lnTo>
                    <a:pt x="1252" y="881"/>
                  </a:lnTo>
                  <a:lnTo>
                    <a:pt x="1273" y="904"/>
                  </a:lnTo>
                  <a:lnTo>
                    <a:pt x="1306" y="975"/>
                  </a:lnTo>
                  <a:lnTo>
                    <a:pt x="1176" y="1003"/>
                  </a:lnTo>
                  <a:lnTo>
                    <a:pt x="1176" y="1015"/>
                  </a:lnTo>
                  <a:lnTo>
                    <a:pt x="1167" y="1025"/>
                  </a:lnTo>
                  <a:lnTo>
                    <a:pt x="1134" y="1058"/>
                  </a:lnTo>
                  <a:lnTo>
                    <a:pt x="1143" y="1065"/>
                  </a:lnTo>
                  <a:lnTo>
                    <a:pt x="1160" y="1098"/>
                  </a:lnTo>
                  <a:lnTo>
                    <a:pt x="1150" y="1126"/>
                  </a:lnTo>
                  <a:lnTo>
                    <a:pt x="1160" y="1159"/>
                  </a:lnTo>
                  <a:lnTo>
                    <a:pt x="1150" y="1176"/>
                  </a:lnTo>
                  <a:lnTo>
                    <a:pt x="1134" y="1225"/>
                  </a:lnTo>
                  <a:lnTo>
                    <a:pt x="1143" y="1247"/>
                  </a:lnTo>
                  <a:lnTo>
                    <a:pt x="1167" y="1263"/>
                  </a:lnTo>
                  <a:lnTo>
                    <a:pt x="1181" y="1287"/>
                  </a:lnTo>
                  <a:lnTo>
                    <a:pt x="1198" y="1287"/>
                  </a:lnTo>
                  <a:lnTo>
                    <a:pt x="1214" y="1287"/>
                  </a:lnTo>
                  <a:lnTo>
                    <a:pt x="1214" y="1270"/>
                  </a:lnTo>
                  <a:lnTo>
                    <a:pt x="1235" y="1270"/>
                  </a:lnTo>
                  <a:lnTo>
                    <a:pt x="1235" y="1365"/>
                  </a:lnTo>
                  <a:lnTo>
                    <a:pt x="1219" y="1358"/>
                  </a:lnTo>
                  <a:lnTo>
                    <a:pt x="1231" y="1346"/>
                  </a:lnTo>
                  <a:lnTo>
                    <a:pt x="1219" y="1346"/>
                  </a:lnTo>
                  <a:lnTo>
                    <a:pt x="1188" y="1358"/>
                  </a:lnTo>
                  <a:lnTo>
                    <a:pt x="1181" y="1358"/>
                  </a:lnTo>
                  <a:lnTo>
                    <a:pt x="1160" y="1325"/>
                  </a:lnTo>
                  <a:lnTo>
                    <a:pt x="1150" y="1320"/>
                  </a:lnTo>
                  <a:lnTo>
                    <a:pt x="1143" y="1292"/>
                  </a:lnTo>
                  <a:lnTo>
                    <a:pt x="1096" y="1280"/>
                  </a:lnTo>
                  <a:lnTo>
                    <a:pt x="1079" y="1280"/>
                  </a:lnTo>
                  <a:lnTo>
                    <a:pt x="1075" y="1254"/>
                  </a:lnTo>
                  <a:lnTo>
                    <a:pt x="1058" y="1237"/>
                  </a:lnTo>
                  <a:lnTo>
                    <a:pt x="1053" y="1225"/>
                  </a:lnTo>
                  <a:lnTo>
                    <a:pt x="1042" y="1230"/>
                  </a:lnTo>
                  <a:lnTo>
                    <a:pt x="1037" y="1247"/>
                  </a:lnTo>
                  <a:lnTo>
                    <a:pt x="1025" y="1254"/>
                  </a:lnTo>
                  <a:lnTo>
                    <a:pt x="966" y="1247"/>
                  </a:lnTo>
                  <a:lnTo>
                    <a:pt x="928" y="1230"/>
                  </a:lnTo>
                  <a:lnTo>
                    <a:pt x="919" y="1209"/>
                  </a:lnTo>
                  <a:lnTo>
                    <a:pt x="919" y="1197"/>
                  </a:lnTo>
                  <a:lnTo>
                    <a:pt x="881" y="1209"/>
                  </a:lnTo>
                  <a:lnTo>
                    <a:pt x="857" y="1214"/>
                  </a:lnTo>
                  <a:lnTo>
                    <a:pt x="853" y="1209"/>
                  </a:lnTo>
                  <a:lnTo>
                    <a:pt x="857" y="1192"/>
                  </a:lnTo>
                  <a:lnTo>
                    <a:pt x="827" y="1176"/>
                  </a:lnTo>
                  <a:lnTo>
                    <a:pt x="820" y="1181"/>
                  </a:lnTo>
                  <a:lnTo>
                    <a:pt x="789" y="1181"/>
                  </a:lnTo>
                  <a:lnTo>
                    <a:pt x="768" y="1192"/>
                  </a:lnTo>
                  <a:lnTo>
                    <a:pt x="730" y="1181"/>
                  </a:lnTo>
                  <a:lnTo>
                    <a:pt x="702" y="1197"/>
                  </a:lnTo>
                  <a:lnTo>
                    <a:pt x="702" y="1176"/>
                  </a:lnTo>
                  <a:lnTo>
                    <a:pt x="713" y="1169"/>
                  </a:lnTo>
                  <a:lnTo>
                    <a:pt x="713" y="1136"/>
                  </a:lnTo>
                  <a:lnTo>
                    <a:pt x="697" y="1103"/>
                  </a:lnTo>
                  <a:lnTo>
                    <a:pt x="680" y="1086"/>
                  </a:lnTo>
                  <a:lnTo>
                    <a:pt x="676" y="1065"/>
                  </a:lnTo>
                  <a:lnTo>
                    <a:pt x="680" y="1003"/>
                  </a:lnTo>
                  <a:lnTo>
                    <a:pt x="676" y="959"/>
                  </a:lnTo>
                  <a:lnTo>
                    <a:pt x="680" y="930"/>
                  </a:lnTo>
                  <a:lnTo>
                    <a:pt x="676" y="914"/>
                  </a:lnTo>
                  <a:lnTo>
                    <a:pt x="588" y="914"/>
                  </a:lnTo>
                  <a:lnTo>
                    <a:pt x="595" y="892"/>
                  </a:lnTo>
                  <a:lnTo>
                    <a:pt x="572" y="892"/>
                  </a:lnTo>
                  <a:lnTo>
                    <a:pt x="572" y="892"/>
                  </a:lnTo>
                  <a:lnTo>
                    <a:pt x="520" y="892"/>
                  </a:lnTo>
                  <a:lnTo>
                    <a:pt x="520" y="930"/>
                  </a:lnTo>
                  <a:lnTo>
                    <a:pt x="503" y="937"/>
                  </a:lnTo>
                  <a:lnTo>
                    <a:pt x="503" y="959"/>
                  </a:lnTo>
                  <a:lnTo>
                    <a:pt x="444" y="959"/>
                  </a:lnTo>
                  <a:lnTo>
                    <a:pt x="444" y="959"/>
                  </a:lnTo>
                  <a:lnTo>
                    <a:pt x="416" y="970"/>
                  </a:lnTo>
                  <a:lnTo>
                    <a:pt x="416" y="970"/>
                  </a:lnTo>
                  <a:lnTo>
                    <a:pt x="406" y="970"/>
                  </a:lnTo>
                  <a:lnTo>
                    <a:pt x="378" y="970"/>
                  </a:lnTo>
                  <a:lnTo>
                    <a:pt x="335" y="904"/>
                  </a:lnTo>
                  <a:lnTo>
                    <a:pt x="335" y="892"/>
                  </a:lnTo>
                  <a:lnTo>
                    <a:pt x="319" y="848"/>
                  </a:lnTo>
                  <a:lnTo>
                    <a:pt x="319" y="836"/>
                  </a:lnTo>
                  <a:lnTo>
                    <a:pt x="307" y="819"/>
                  </a:lnTo>
                  <a:lnTo>
                    <a:pt x="272" y="810"/>
                  </a:lnTo>
                  <a:lnTo>
                    <a:pt x="272" y="810"/>
                  </a:lnTo>
                  <a:lnTo>
                    <a:pt x="272" y="810"/>
                  </a:lnTo>
                  <a:close/>
                  <a:moveTo>
                    <a:pt x="38" y="819"/>
                  </a:moveTo>
                  <a:lnTo>
                    <a:pt x="50" y="810"/>
                  </a:lnTo>
                  <a:lnTo>
                    <a:pt x="54" y="810"/>
                  </a:lnTo>
                  <a:lnTo>
                    <a:pt x="38" y="819"/>
                  </a:lnTo>
                  <a:lnTo>
                    <a:pt x="38" y="819"/>
                  </a:lnTo>
                  <a:lnTo>
                    <a:pt x="38" y="819"/>
                  </a:lnTo>
                  <a:close/>
                </a:path>
              </a:pathLst>
            </a:custGeom>
            <a:solidFill>
              <a:schemeClr val="bg2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72" name="Freeform 414">
              <a:extLst>
                <a:ext uri="{FF2B5EF4-FFF2-40B4-BE49-F238E27FC236}">
                  <a16:creationId xmlns:a16="http://schemas.microsoft.com/office/drawing/2014/main" id="{35000BE5-A7AB-4F11-B685-68C9227400B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954012" y="2086535"/>
              <a:ext cx="657947" cy="453262"/>
            </a:xfrm>
            <a:custGeom>
              <a:avLst/>
              <a:gdLst>
                <a:gd name="T0" fmla="*/ 361 w 4287"/>
                <a:gd name="T1" fmla="*/ 1833 h 2953"/>
                <a:gd name="T2" fmla="*/ 314 w 4287"/>
                <a:gd name="T3" fmla="*/ 1606 h 2953"/>
                <a:gd name="T4" fmla="*/ 54 w 4287"/>
                <a:gd name="T5" fmla="*/ 1462 h 2953"/>
                <a:gd name="T6" fmla="*/ 7 w 4287"/>
                <a:gd name="T7" fmla="*/ 1273 h 2953"/>
                <a:gd name="T8" fmla="*/ 233 w 4287"/>
                <a:gd name="T9" fmla="*/ 1146 h 2953"/>
                <a:gd name="T10" fmla="*/ 474 w 4287"/>
                <a:gd name="T11" fmla="*/ 869 h 2953"/>
                <a:gd name="T12" fmla="*/ 777 w 4287"/>
                <a:gd name="T13" fmla="*/ 614 h 2953"/>
                <a:gd name="T14" fmla="*/ 999 w 4287"/>
                <a:gd name="T15" fmla="*/ 432 h 2953"/>
                <a:gd name="T16" fmla="*/ 1216 w 4287"/>
                <a:gd name="T17" fmla="*/ 680 h 2953"/>
                <a:gd name="T18" fmla="*/ 1821 w 4287"/>
                <a:gd name="T19" fmla="*/ 1014 h 2953"/>
                <a:gd name="T20" fmla="*/ 2581 w 4287"/>
                <a:gd name="T21" fmla="*/ 985 h 2953"/>
                <a:gd name="T22" fmla="*/ 3030 w 4287"/>
                <a:gd name="T23" fmla="*/ 669 h 2953"/>
                <a:gd name="T24" fmla="*/ 3099 w 4287"/>
                <a:gd name="T25" fmla="*/ 520 h 2953"/>
                <a:gd name="T26" fmla="*/ 3191 w 4287"/>
                <a:gd name="T27" fmla="*/ 298 h 2953"/>
                <a:gd name="T28" fmla="*/ 3569 w 4287"/>
                <a:gd name="T29" fmla="*/ 26 h 2953"/>
                <a:gd name="T30" fmla="*/ 3732 w 4287"/>
                <a:gd name="T31" fmla="*/ 222 h 2953"/>
                <a:gd name="T32" fmla="*/ 3947 w 4287"/>
                <a:gd name="T33" fmla="*/ 425 h 2953"/>
                <a:gd name="T34" fmla="*/ 4287 w 4287"/>
                <a:gd name="T35" fmla="*/ 553 h 2953"/>
                <a:gd name="T36" fmla="*/ 4055 w 4287"/>
                <a:gd name="T37" fmla="*/ 796 h 2953"/>
                <a:gd name="T38" fmla="*/ 3921 w 4287"/>
                <a:gd name="T39" fmla="*/ 1025 h 2953"/>
                <a:gd name="T40" fmla="*/ 3607 w 4287"/>
                <a:gd name="T41" fmla="*/ 1195 h 2953"/>
                <a:gd name="T42" fmla="*/ 3363 w 4287"/>
                <a:gd name="T43" fmla="*/ 1295 h 2953"/>
                <a:gd name="T44" fmla="*/ 3283 w 4287"/>
                <a:gd name="T45" fmla="*/ 1207 h 2953"/>
                <a:gd name="T46" fmla="*/ 3203 w 4287"/>
                <a:gd name="T47" fmla="*/ 1472 h 2953"/>
                <a:gd name="T48" fmla="*/ 3408 w 4287"/>
                <a:gd name="T49" fmla="*/ 1495 h 2953"/>
                <a:gd name="T50" fmla="*/ 3278 w 4287"/>
                <a:gd name="T51" fmla="*/ 1540 h 2953"/>
                <a:gd name="T52" fmla="*/ 3354 w 4287"/>
                <a:gd name="T53" fmla="*/ 1862 h 2953"/>
                <a:gd name="T54" fmla="*/ 3300 w 4287"/>
                <a:gd name="T55" fmla="*/ 1888 h 2953"/>
                <a:gd name="T56" fmla="*/ 3370 w 4287"/>
                <a:gd name="T57" fmla="*/ 2048 h 2953"/>
                <a:gd name="T58" fmla="*/ 3363 w 4287"/>
                <a:gd name="T59" fmla="*/ 2105 h 2953"/>
                <a:gd name="T60" fmla="*/ 3295 w 4287"/>
                <a:gd name="T61" fmla="*/ 2199 h 2953"/>
                <a:gd name="T62" fmla="*/ 3245 w 4287"/>
                <a:gd name="T63" fmla="*/ 2294 h 2953"/>
                <a:gd name="T64" fmla="*/ 3191 w 4287"/>
                <a:gd name="T65" fmla="*/ 2343 h 2953"/>
                <a:gd name="T66" fmla="*/ 3170 w 4287"/>
                <a:gd name="T67" fmla="*/ 2426 h 2953"/>
                <a:gd name="T68" fmla="*/ 3120 w 4287"/>
                <a:gd name="T69" fmla="*/ 2492 h 2953"/>
                <a:gd name="T70" fmla="*/ 2938 w 4287"/>
                <a:gd name="T71" fmla="*/ 2608 h 2953"/>
                <a:gd name="T72" fmla="*/ 2841 w 4287"/>
                <a:gd name="T73" fmla="*/ 2624 h 2953"/>
                <a:gd name="T74" fmla="*/ 2787 w 4287"/>
                <a:gd name="T75" fmla="*/ 2653 h 2953"/>
                <a:gd name="T76" fmla="*/ 2624 w 4287"/>
                <a:gd name="T77" fmla="*/ 2698 h 2953"/>
                <a:gd name="T78" fmla="*/ 2591 w 4287"/>
                <a:gd name="T79" fmla="*/ 2776 h 2953"/>
                <a:gd name="T80" fmla="*/ 2522 w 4287"/>
                <a:gd name="T81" fmla="*/ 2698 h 2953"/>
                <a:gd name="T82" fmla="*/ 2430 w 4287"/>
                <a:gd name="T83" fmla="*/ 2691 h 2953"/>
                <a:gd name="T84" fmla="*/ 2241 w 4287"/>
                <a:gd name="T85" fmla="*/ 2580 h 2953"/>
                <a:gd name="T86" fmla="*/ 1972 w 4287"/>
                <a:gd name="T87" fmla="*/ 2624 h 2953"/>
                <a:gd name="T88" fmla="*/ 1851 w 4287"/>
                <a:gd name="T89" fmla="*/ 2681 h 2953"/>
                <a:gd name="T90" fmla="*/ 1691 w 4287"/>
                <a:gd name="T91" fmla="*/ 2525 h 2953"/>
                <a:gd name="T92" fmla="*/ 1766 w 4287"/>
                <a:gd name="T93" fmla="*/ 2294 h 2953"/>
                <a:gd name="T94" fmla="*/ 1582 w 4287"/>
                <a:gd name="T95" fmla="*/ 2126 h 2953"/>
                <a:gd name="T96" fmla="*/ 1313 w 4287"/>
                <a:gd name="T97" fmla="*/ 2216 h 2953"/>
                <a:gd name="T98" fmla="*/ 1015 w 4287"/>
                <a:gd name="T99" fmla="*/ 2204 h 2953"/>
                <a:gd name="T100" fmla="*/ 810 w 4287"/>
                <a:gd name="T101" fmla="*/ 2150 h 2953"/>
                <a:gd name="T102" fmla="*/ 529 w 4287"/>
                <a:gd name="T103" fmla="*/ 2039 h 2953"/>
                <a:gd name="T104" fmla="*/ 3229 w 4287"/>
                <a:gd name="T105" fmla="*/ 1866 h 2953"/>
                <a:gd name="T106" fmla="*/ 3401 w 4287"/>
                <a:gd name="T107" fmla="*/ 2032 h 2953"/>
                <a:gd name="T108" fmla="*/ 3418 w 4287"/>
                <a:gd name="T109" fmla="*/ 2048 h 2953"/>
                <a:gd name="T110" fmla="*/ 3337 w 4287"/>
                <a:gd name="T111" fmla="*/ 2192 h 2953"/>
                <a:gd name="T112" fmla="*/ 3115 w 4287"/>
                <a:gd name="T113" fmla="*/ 2476 h 2953"/>
                <a:gd name="T114" fmla="*/ 2851 w 4287"/>
                <a:gd name="T115" fmla="*/ 2641 h 2953"/>
                <a:gd name="T116" fmla="*/ 2683 w 4287"/>
                <a:gd name="T117" fmla="*/ 2691 h 2953"/>
                <a:gd name="T118" fmla="*/ 2570 w 4287"/>
                <a:gd name="T119" fmla="*/ 2731 h 2953"/>
                <a:gd name="T120" fmla="*/ 2560 w 4287"/>
                <a:gd name="T121" fmla="*/ 2809 h 2953"/>
                <a:gd name="T122" fmla="*/ 2527 w 4287"/>
                <a:gd name="T123" fmla="*/ 2941 h 29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4287" h="2953">
                  <a:moveTo>
                    <a:pt x="524" y="2032"/>
                  </a:moveTo>
                  <a:lnTo>
                    <a:pt x="491" y="2010"/>
                  </a:lnTo>
                  <a:lnTo>
                    <a:pt x="460" y="1999"/>
                  </a:lnTo>
                  <a:lnTo>
                    <a:pt x="470" y="1982"/>
                  </a:lnTo>
                  <a:lnTo>
                    <a:pt x="437" y="1973"/>
                  </a:lnTo>
                  <a:lnTo>
                    <a:pt x="415" y="1973"/>
                  </a:lnTo>
                  <a:lnTo>
                    <a:pt x="385" y="1928"/>
                  </a:lnTo>
                  <a:lnTo>
                    <a:pt x="368" y="1944"/>
                  </a:lnTo>
                  <a:lnTo>
                    <a:pt x="361" y="1937"/>
                  </a:lnTo>
                  <a:lnTo>
                    <a:pt x="361" y="1921"/>
                  </a:lnTo>
                  <a:lnTo>
                    <a:pt x="368" y="1916"/>
                  </a:lnTo>
                  <a:lnTo>
                    <a:pt x="352" y="1904"/>
                  </a:lnTo>
                  <a:lnTo>
                    <a:pt x="361" y="1888"/>
                  </a:lnTo>
                  <a:lnTo>
                    <a:pt x="340" y="1866"/>
                  </a:lnTo>
                  <a:lnTo>
                    <a:pt x="340" y="1845"/>
                  </a:lnTo>
                  <a:lnTo>
                    <a:pt x="361" y="1833"/>
                  </a:lnTo>
                  <a:lnTo>
                    <a:pt x="361" y="1850"/>
                  </a:lnTo>
                  <a:lnTo>
                    <a:pt x="378" y="1862"/>
                  </a:lnTo>
                  <a:lnTo>
                    <a:pt x="394" y="1850"/>
                  </a:lnTo>
                  <a:lnTo>
                    <a:pt x="399" y="1850"/>
                  </a:lnTo>
                  <a:lnTo>
                    <a:pt x="415" y="1828"/>
                  </a:lnTo>
                  <a:lnTo>
                    <a:pt x="399" y="1812"/>
                  </a:lnTo>
                  <a:lnTo>
                    <a:pt x="406" y="1795"/>
                  </a:lnTo>
                  <a:lnTo>
                    <a:pt x="378" y="1776"/>
                  </a:lnTo>
                  <a:lnTo>
                    <a:pt x="361" y="1760"/>
                  </a:lnTo>
                  <a:lnTo>
                    <a:pt x="361" y="1717"/>
                  </a:lnTo>
                  <a:lnTo>
                    <a:pt x="378" y="1706"/>
                  </a:lnTo>
                  <a:lnTo>
                    <a:pt x="378" y="1701"/>
                  </a:lnTo>
                  <a:lnTo>
                    <a:pt x="352" y="1684"/>
                  </a:lnTo>
                  <a:lnTo>
                    <a:pt x="330" y="1677"/>
                  </a:lnTo>
                  <a:lnTo>
                    <a:pt x="309" y="1623"/>
                  </a:lnTo>
                  <a:lnTo>
                    <a:pt x="314" y="1606"/>
                  </a:lnTo>
                  <a:lnTo>
                    <a:pt x="297" y="1606"/>
                  </a:lnTo>
                  <a:lnTo>
                    <a:pt x="271" y="1606"/>
                  </a:lnTo>
                  <a:lnTo>
                    <a:pt x="233" y="1595"/>
                  </a:lnTo>
                  <a:lnTo>
                    <a:pt x="205" y="1583"/>
                  </a:lnTo>
                  <a:lnTo>
                    <a:pt x="205" y="1573"/>
                  </a:lnTo>
                  <a:lnTo>
                    <a:pt x="184" y="1583"/>
                  </a:lnTo>
                  <a:lnTo>
                    <a:pt x="179" y="1566"/>
                  </a:lnTo>
                  <a:lnTo>
                    <a:pt x="163" y="1557"/>
                  </a:lnTo>
                  <a:lnTo>
                    <a:pt x="167" y="1540"/>
                  </a:lnTo>
                  <a:lnTo>
                    <a:pt x="163" y="1512"/>
                  </a:lnTo>
                  <a:lnTo>
                    <a:pt x="146" y="1500"/>
                  </a:lnTo>
                  <a:lnTo>
                    <a:pt x="129" y="1500"/>
                  </a:lnTo>
                  <a:lnTo>
                    <a:pt x="125" y="1484"/>
                  </a:lnTo>
                  <a:lnTo>
                    <a:pt x="108" y="1479"/>
                  </a:lnTo>
                  <a:lnTo>
                    <a:pt x="70" y="1479"/>
                  </a:lnTo>
                  <a:lnTo>
                    <a:pt x="54" y="1462"/>
                  </a:lnTo>
                  <a:lnTo>
                    <a:pt x="82" y="1455"/>
                  </a:lnTo>
                  <a:lnTo>
                    <a:pt x="82" y="1462"/>
                  </a:lnTo>
                  <a:lnTo>
                    <a:pt x="92" y="1462"/>
                  </a:lnTo>
                  <a:lnTo>
                    <a:pt x="113" y="1446"/>
                  </a:lnTo>
                  <a:lnTo>
                    <a:pt x="92" y="1422"/>
                  </a:lnTo>
                  <a:lnTo>
                    <a:pt x="96" y="1417"/>
                  </a:lnTo>
                  <a:lnTo>
                    <a:pt x="82" y="1389"/>
                  </a:lnTo>
                  <a:lnTo>
                    <a:pt x="92" y="1363"/>
                  </a:lnTo>
                  <a:lnTo>
                    <a:pt x="54" y="1347"/>
                  </a:lnTo>
                  <a:lnTo>
                    <a:pt x="37" y="1347"/>
                  </a:lnTo>
                  <a:lnTo>
                    <a:pt x="28" y="1351"/>
                  </a:lnTo>
                  <a:lnTo>
                    <a:pt x="16" y="1347"/>
                  </a:lnTo>
                  <a:lnTo>
                    <a:pt x="7" y="1318"/>
                  </a:lnTo>
                  <a:lnTo>
                    <a:pt x="16" y="1311"/>
                  </a:lnTo>
                  <a:lnTo>
                    <a:pt x="0" y="1295"/>
                  </a:lnTo>
                  <a:lnTo>
                    <a:pt x="7" y="1273"/>
                  </a:lnTo>
                  <a:lnTo>
                    <a:pt x="16" y="1273"/>
                  </a:lnTo>
                  <a:lnTo>
                    <a:pt x="21" y="1262"/>
                  </a:lnTo>
                  <a:lnTo>
                    <a:pt x="16" y="1252"/>
                  </a:lnTo>
                  <a:lnTo>
                    <a:pt x="28" y="1224"/>
                  </a:lnTo>
                  <a:lnTo>
                    <a:pt x="54" y="1219"/>
                  </a:lnTo>
                  <a:lnTo>
                    <a:pt x="75" y="1202"/>
                  </a:lnTo>
                  <a:lnTo>
                    <a:pt x="92" y="1202"/>
                  </a:lnTo>
                  <a:lnTo>
                    <a:pt x="82" y="1186"/>
                  </a:lnTo>
                  <a:lnTo>
                    <a:pt x="113" y="1195"/>
                  </a:lnTo>
                  <a:lnTo>
                    <a:pt x="134" y="1179"/>
                  </a:lnTo>
                  <a:lnTo>
                    <a:pt x="146" y="1202"/>
                  </a:lnTo>
                  <a:lnTo>
                    <a:pt x="179" y="1195"/>
                  </a:lnTo>
                  <a:lnTo>
                    <a:pt x="189" y="1202"/>
                  </a:lnTo>
                  <a:lnTo>
                    <a:pt x="217" y="1179"/>
                  </a:lnTo>
                  <a:lnTo>
                    <a:pt x="217" y="1162"/>
                  </a:lnTo>
                  <a:lnTo>
                    <a:pt x="233" y="1146"/>
                  </a:lnTo>
                  <a:lnTo>
                    <a:pt x="314" y="1141"/>
                  </a:lnTo>
                  <a:lnTo>
                    <a:pt x="330" y="1125"/>
                  </a:lnTo>
                  <a:lnTo>
                    <a:pt x="340" y="1108"/>
                  </a:lnTo>
                  <a:lnTo>
                    <a:pt x="399" y="1075"/>
                  </a:lnTo>
                  <a:lnTo>
                    <a:pt x="432" y="1068"/>
                  </a:lnTo>
                  <a:lnTo>
                    <a:pt x="437" y="1058"/>
                  </a:lnTo>
                  <a:lnTo>
                    <a:pt x="460" y="1051"/>
                  </a:lnTo>
                  <a:lnTo>
                    <a:pt x="460" y="1042"/>
                  </a:lnTo>
                  <a:lnTo>
                    <a:pt x="470" y="1035"/>
                  </a:lnTo>
                  <a:lnTo>
                    <a:pt x="460" y="1002"/>
                  </a:lnTo>
                  <a:lnTo>
                    <a:pt x="470" y="985"/>
                  </a:lnTo>
                  <a:lnTo>
                    <a:pt x="491" y="980"/>
                  </a:lnTo>
                  <a:lnTo>
                    <a:pt x="474" y="969"/>
                  </a:lnTo>
                  <a:lnTo>
                    <a:pt x="507" y="957"/>
                  </a:lnTo>
                  <a:lnTo>
                    <a:pt x="503" y="931"/>
                  </a:lnTo>
                  <a:lnTo>
                    <a:pt x="474" y="869"/>
                  </a:lnTo>
                  <a:lnTo>
                    <a:pt x="474" y="829"/>
                  </a:lnTo>
                  <a:lnTo>
                    <a:pt x="486" y="820"/>
                  </a:lnTo>
                  <a:lnTo>
                    <a:pt x="470" y="813"/>
                  </a:lnTo>
                  <a:lnTo>
                    <a:pt x="448" y="813"/>
                  </a:lnTo>
                  <a:lnTo>
                    <a:pt x="437" y="803"/>
                  </a:lnTo>
                  <a:lnTo>
                    <a:pt x="453" y="791"/>
                  </a:lnTo>
                  <a:lnTo>
                    <a:pt x="566" y="763"/>
                  </a:lnTo>
                  <a:lnTo>
                    <a:pt x="583" y="780"/>
                  </a:lnTo>
                  <a:lnTo>
                    <a:pt x="611" y="775"/>
                  </a:lnTo>
                  <a:lnTo>
                    <a:pt x="633" y="780"/>
                  </a:lnTo>
                  <a:lnTo>
                    <a:pt x="633" y="758"/>
                  </a:lnTo>
                  <a:lnTo>
                    <a:pt x="611" y="742"/>
                  </a:lnTo>
                  <a:lnTo>
                    <a:pt x="663" y="614"/>
                  </a:lnTo>
                  <a:lnTo>
                    <a:pt x="663" y="593"/>
                  </a:lnTo>
                  <a:lnTo>
                    <a:pt x="725" y="614"/>
                  </a:lnTo>
                  <a:lnTo>
                    <a:pt x="777" y="614"/>
                  </a:lnTo>
                  <a:lnTo>
                    <a:pt x="784" y="626"/>
                  </a:lnTo>
                  <a:lnTo>
                    <a:pt x="784" y="631"/>
                  </a:lnTo>
                  <a:lnTo>
                    <a:pt x="815" y="610"/>
                  </a:lnTo>
                  <a:lnTo>
                    <a:pt x="838" y="610"/>
                  </a:lnTo>
                  <a:lnTo>
                    <a:pt x="848" y="593"/>
                  </a:lnTo>
                  <a:lnTo>
                    <a:pt x="848" y="581"/>
                  </a:lnTo>
                  <a:lnTo>
                    <a:pt x="838" y="569"/>
                  </a:lnTo>
                  <a:lnTo>
                    <a:pt x="838" y="527"/>
                  </a:lnTo>
                  <a:lnTo>
                    <a:pt x="852" y="487"/>
                  </a:lnTo>
                  <a:lnTo>
                    <a:pt x="907" y="470"/>
                  </a:lnTo>
                  <a:lnTo>
                    <a:pt x="923" y="458"/>
                  </a:lnTo>
                  <a:lnTo>
                    <a:pt x="918" y="432"/>
                  </a:lnTo>
                  <a:lnTo>
                    <a:pt x="935" y="416"/>
                  </a:lnTo>
                  <a:lnTo>
                    <a:pt x="961" y="425"/>
                  </a:lnTo>
                  <a:lnTo>
                    <a:pt x="999" y="416"/>
                  </a:lnTo>
                  <a:lnTo>
                    <a:pt x="999" y="432"/>
                  </a:lnTo>
                  <a:lnTo>
                    <a:pt x="994" y="442"/>
                  </a:lnTo>
                  <a:lnTo>
                    <a:pt x="1015" y="458"/>
                  </a:lnTo>
                  <a:lnTo>
                    <a:pt x="1011" y="470"/>
                  </a:lnTo>
                  <a:lnTo>
                    <a:pt x="1048" y="487"/>
                  </a:lnTo>
                  <a:lnTo>
                    <a:pt x="1053" y="503"/>
                  </a:lnTo>
                  <a:lnTo>
                    <a:pt x="1086" y="520"/>
                  </a:lnTo>
                  <a:lnTo>
                    <a:pt x="1117" y="520"/>
                  </a:lnTo>
                  <a:lnTo>
                    <a:pt x="1133" y="536"/>
                  </a:lnTo>
                  <a:lnTo>
                    <a:pt x="1155" y="536"/>
                  </a:lnTo>
                  <a:lnTo>
                    <a:pt x="1155" y="543"/>
                  </a:lnTo>
                  <a:lnTo>
                    <a:pt x="1178" y="569"/>
                  </a:lnTo>
                  <a:lnTo>
                    <a:pt x="1188" y="581"/>
                  </a:lnTo>
                  <a:lnTo>
                    <a:pt x="1204" y="610"/>
                  </a:lnTo>
                  <a:lnTo>
                    <a:pt x="1216" y="626"/>
                  </a:lnTo>
                  <a:lnTo>
                    <a:pt x="1226" y="652"/>
                  </a:lnTo>
                  <a:lnTo>
                    <a:pt x="1216" y="680"/>
                  </a:lnTo>
                  <a:lnTo>
                    <a:pt x="1226" y="704"/>
                  </a:lnTo>
                  <a:lnTo>
                    <a:pt x="1204" y="725"/>
                  </a:lnTo>
                  <a:lnTo>
                    <a:pt x="1192" y="747"/>
                  </a:lnTo>
                  <a:lnTo>
                    <a:pt x="1209" y="775"/>
                  </a:lnTo>
                  <a:lnTo>
                    <a:pt x="1259" y="791"/>
                  </a:lnTo>
                  <a:lnTo>
                    <a:pt x="1405" y="796"/>
                  </a:lnTo>
                  <a:lnTo>
                    <a:pt x="1481" y="853"/>
                  </a:lnTo>
                  <a:lnTo>
                    <a:pt x="1502" y="858"/>
                  </a:lnTo>
                  <a:lnTo>
                    <a:pt x="1528" y="858"/>
                  </a:lnTo>
                  <a:lnTo>
                    <a:pt x="1528" y="886"/>
                  </a:lnTo>
                  <a:lnTo>
                    <a:pt x="1540" y="886"/>
                  </a:lnTo>
                  <a:lnTo>
                    <a:pt x="1566" y="947"/>
                  </a:lnTo>
                  <a:lnTo>
                    <a:pt x="1594" y="980"/>
                  </a:lnTo>
                  <a:lnTo>
                    <a:pt x="1594" y="997"/>
                  </a:lnTo>
                  <a:lnTo>
                    <a:pt x="1646" y="985"/>
                  </a:lnTo>
                  <a:lnTo>
                    <a:pt x="1821" y="1014"/>
                  </a:lnTo>
                  <a:lnTo>
                    <a:pt x="1873" y="997"/>
                  </a:lnTo>
                  <a:lnTo>
                    <a:pt x="1911" y="997"/>
                  </a:lnTo>
                  <a:lnTo>
                    <a:pt x="1981" y="1014"/>
                  </a:lnTo>
                  <a:lnTo>
                    <a:pt x="1998" y="1035"/>
                  </a:lnTo>
                  <a:lnTo>
                    <a:pt x="2040" y="1042"/>
                  </a:lnTo>
                  <a:lnTo>
                    <a:pt x="2090" y="1068"/>
                  </a:lnTo>
                  <a:lnTo>
                    <a:pt x="2123" y="1075"/>
                  </a:lnTo>
                  <a:lnTo>
                    <a:pt x="2166" y="1068"/>
                  </a:lnTo>
                  <a:lnTo>
                    <a:pt x="2166" y="1084"/>
                  </a:lnTo>
                  <a:lnTo>
                    <a:pt x="2199" y="1091"/>
                  </a:lnTo>
                  <a:lnTo>
                    <a:pt x="2203" y="1091"/>
                  </a:lnTo>
                  <a:lnTo>
                    <a:pt x="2220" y="1084"/>
                  </a:lnTo>
                  <a:lnTo>
                    <a:pt x="2258" y="1058"/>
                  </a:lnTo>
                  <a:lnTo>
                    <a:pt x="2376" y="1018"/>
                  </a:lnTo>
                  <a:lnTo>
                    <a:pt x="2506" y="1018"/>
                  </a:lnTo>
                  <a:lnTo>
                    <a:pt x="2581" y="985"/>
                  </a:lnTo>
                  <a:lnTo>
                    <a:pt x="2624" y="940"/>
                  </a:lnTo>
                  <a:lnTo>
                    <a:pt x="2690" y="907"/>
                  </a:lnTo>
                  <a:lnTo>
                    <a:pt x="2683" y="886"/>
                  </a:lnTo>
                  <a:lnTo>
                    <a:pt x="2652" y="853"/>
                  </a:lnTo>
                  <a:lnTo>
                    <a:pt x="2678" y="796"/>
                  </a:lnTo>
                  <a:lnTo>
                    <a:pt x="2700" y="780"/>
                  </a:lnTo>
                  <a:lnTo>
                    <a:pt x="2721" y="791"/>
                  </a:lnTo>
                  <a:lnTo>
                    <a:pt x="2754" y="803"/>
                  </a:lnTo>
                  <a:lnTo>
                    <a:pt x="2808" y="813"/>
                  </a:lnTo>
                  <a:lnTo>
                    <a:pt x="2867" y="775"/>
                  </a:lnTo>
                  <a:lnTo>
                    <a:pt x="2867" y="758"/>
                  </a:lnTo>
                  <a:lnTo>
                    <a:pt x="2938" y="758"/>
                  </a:lnTo>
                  <a:lnTo>
                    <a:pt x="2985" y="737"/>
                  </a:lnTo>
                  <a:lnTo>
                    <a:pt x="3002" y="692"/>
                  </a:lnTo>
                  <a:lnTo>
                    <a:pt x="3023" y="680"/>
                  </a:lnTo>
                  <a:lnTo>
                    <a:pt x="3030" y="669"/>
                  </a:lnTo>
                  <a:lnTo>
                    <a:pt x="3068" y="669"/>
                  </a:lnTo>
                  <a:lnTo>
                    <a:pt x="3068" y="652"/>
                  </a:lnTo>
                  <a:lnTo>
                    <a:pt x="3099" y="652"/>
                  </a:lnTo>
                  <a:lnTo>
                    <a:pt x="3137" y="636"/>
                  </a:lnTo>
                  <a:lnTo>
                    <a:pt x="3170" y="647"/>
                  </a:lnTo>
                  <a:lnTo>
                    <a:pt x="3174" y="636"/>
                  </a:lnTo>
                  <a:lnTo>
                    <a:pt x="3207" y="647"/>
                  </a:lnTo>
                  <a:lnTo>
                    <a:pt x="3229" y="652"/>
                  </a:lnTo>
                  <a:lnTo>
                    <a:pt x="3245" y="636"/>
                  </a:lnTo>
                  <a:lnTo>
                    <a:pt x="3245" y="626"/>
                  </a:lnTo>
                  <a:lnTo>
                    <a:pt x="3229" y="598"/>
                  </a:lnTo>
                  <a:lnTo>
                    <a:pt x="3191" y="569"/>
                  </a:lnTo>
                  <a:lnTo>
                    <a:pt x="3191" y="553"/>
                  </a:lnTo>
                  <a:lnTo>
                    <a:pt x="3170" y="543"/>
                  </a:lnTo>
                  <a:lnTo>
                    <a:pt x="3153" y="520"/>
                  </a:lnTo>
                  <a:lnTo>
                    <a:pt x="3099" y="520"/>
                  </a:lnTo>
                  <a:lnTo>
                    <a:pt x="3068" y="553"/>
                  </a:lnTo>
                  <a:lnTo>
                    <a:pt x="3040" y="536"/>
                  </a:lnTo>
                  <a:lnTo>
                    <a:pt x="2992" y="536"/>
                  </a:lnTo>
                  <a:lnTo>
                    <a:pt x="2969" y="553"/>
                  </a:lnTo>
                  <a:lnTo>
                    <a:pt x="2948" y="527"/>
                  </a:lnTo>
                  <a:lnTo>
                    <a:pt x="2938" y="515"/>
                  </a:lnTo>
                  <a:lnTo>
                    <a:pt x="2959" y="499"/>
                  </a:lnTo>
                  <a:lnTo>
                    <a:pt x="2959" y="470"/>
                  </a:lnTo>
                  <a:lnTo>
                    <a:pt x="2976" y="449"/>
                  </a:lnTo>
                  <a:lnTo>
                    <a:pt x="3023" y="354"/>
                  </a:lnTo>
                  <a:lnTo>
                    <a:pt x="3111" y="388"/>
                  </a:lnTo>
                  <a:lnTo>
                    <a:pt x="3153" y="347"/>
                  </a:lnTo>
                  <a:lnTo>
                    <a:pt x="3191" y="338"/>
                  </a:lnTo>
                  <a:lnTo>
                    <a:pt x="3207" y="331"/>
                  </a:lnTo>
                  <a:lnTo>
                    <a:pt x="3207" y="305"/>
                  </a:lnTo>
                  <a:lnTo>
                    <a:pt x="3191" y="298"/>
                  </a:lnTo>
                  <a:lnTo>
                    <a:pt x="3219" y="265"/>
                  </a:lnTo>
                  <a:lnTo>
                    <a:pt x="3224" y="248"/>
                  </a:lnTo>
                  <a:lnTo>
                    <a:pt x="3240" y="239"/>
                  </a:lnTo>
                  <a:lnTo>
                    <a:pt x="3262" y="182"/>
                  </a:lnTo>
                  <a:lnTo>
                    <a:pt x="3300" y="154"/>
                  </a:lnTo>
                  <a:lnTo>
                    <a:pt x="3309" y="132"/>
                  </a:lnTo>
                  <a:lnTo>
                    <a:pt x="3300" y="116"/>
                  </a:lnTo>
                  <a:lnTo>
                    <a:pt x="3300" y="95"/>
                  </a:lnTo>
                  <a:lnTo>
                    <a:pt x="3283" y="83"/>
                  </a:lnTo>
                  <a:lnTo>
                    <a:pt x="3262" y="95"/>
                  </a:lnTo>
                  <a:lnTo>
                    <a:pt x="3257" y="71"/>
                  </a:lnTo>
                  <a:lnTo>
                    <a:pt x="3309" y="21"/>
                  </a:lnTo>
                  <a:lnTo>
                    <a:pt x="3510" y="0"/>
                  </a:lnTo>
                  <a:lnTo>
                    <a:pt x="3543" y="17"/>
                  </a:lnTo>
                  <a:lnTo>
                    <a:pt x="3552" y="17"/>
                  </a:lnTo>
                  <a:lnTo>
                    <a:pt x="3569" y="26"/>
                  </a:lnTo>
                  <a:lnTo>
                    <a:pt x="3597" y="38"/>
                  </a:lnTo>
                  <a:lnTo>
                    <a:pt x="3618" y="26"/>
                  </a:lnTo>
                  <a:lnTo>
                    <a:pt x="3649" y="43"/>
                  </a:lnTo>
                  <a:lnTo>
                    <a:pt x="3656" y="54"/>
                  </a:lnTo>
                  <a:lnTo>
                    <a:pt x="3649" y="62"/>
                  </a:lnTo>
                  <a:lnTo>
                    <a:pt x="3677" y="78"/>
                  </a:lnTo>
                  <a:lnTo>
                    <a:pt x="3673" y="95"/>
                  </a:lnTo>
                  <a:lnTo>
                    <a:pt x="3687" y="95"/>
                  </a:lnTo>
                  <a:lnTo>
                    <a:pt x="3703" y="111"/>
                  </a:lnTo>
                  <a:lnTo>
                    <a:pt x="3694" y="132"/>
                  </a:lnTo>
                  <a:lnTo>
                    <a:pt x="3715" y="132"/>
                  </a:lnTo>
                  <a:lnTo>
                    <a:pt x="3703" y="149"/>
                  </a:lnTo>
                  <a:lnTo>
                    <a:pt x="3725" y="170"/>
                  </a:lnTo>
                  <a:lnTo>
                    <a:pt x="3732" y="203"/>
                  </a:lnTo>
                  <a:lnTo>
                    <a:pt x="3741" y="203"/>
                  </a:lnTo>
                  <a:lnTo>
                    <a:pt x="3732" y="222"/>
                  </a:lnTo>
                  <a:lnTo>
                    <a:pt x="3741" y="210"/>
                  </a:lnTo>
                  <a:lnTo>
                    <a:pt x="3741" y="239"/>
                  </a:lnTo>
                  <a:lnTo>
                    <a:pt x="3762" y="265"/>
                  </a:lnTo>
                  <a:lnTo>
                    <a:pt x="3770" y="281"/>
                  </a:lnTo>
                  <a:lnTo>
                    <a:pt x="3762" y="293"/>
                  </a:lnTo>
                  <a:lnTo>
                    <a:pt x="3770" y="305"/>
                  </a:lnTo>
                  <a:lnTo>
                    <a:pt x="3786" y="314"/>
                  </a:lnTo>
                  <a:lnTo>
                    <a:pt x="3779" y="331"/>
                  </a:lnTo>
                  <a:lnTo>
                    <a:pt x="3779" y="354"/>
                  </a:lnTo>
                  <a:lnTo>
                    <a:pt x="3800" y="376"/>
                  </a:lnTo>
                  <a:lnTo>
                    <a:pt x="3871" y="376"/>
                  </a:lnTo>
                  <a:lnTo>
                    <a:pt x="3892" y="404"/>
                  </a:lnTo>
                  <a:lnTo>
                    <a:pt x="3921" y="392"/>
                  </a:lnTo>
                  <a:lnTo>
                    <a:pt x="3925" y="404"/>
                  </a:lnTo>
                  <a:lnTo>
                    <a:pt x="3930" y="409"/>
                  </a:lnTo>
                  <a:lnTo>
                    <a:pt x="3947" y="425"/>
                  </a:lnTo>
                  <a:lnTo>
                    <a:pt x="3975" y="442"/>
                  </a:lnTo>
                  <a:lnTo>
                    <a:pt x="4001" y="442"/>
                  </a:lnTo>
                  <a:lnTo>
                    <a:pt x="3996" y="465"/>
                  </a:lnTo>
                  <a:lnTo>
                    <a:pt x="4013" y="499"/>
                  </a:lnTo>
                  <a:lnTo>
                    <a:pt x="4001" y="515"/>
                  </a:lnTo>
                  <a:lnTo>
                    <a:pt x="4018" y="527"/>
                  </a:lnTo>
                  <a:lnTo>
                    <a:pt x="4027" y="553"/>
                  </a:lnTo>
                  <a:lnTo>
                    <a:pt x="4136" y="553"/>
                  </a:lnTo>
                  <a:lnTo>
                    <a:pt x="4140" y="536"/>
                  </a:lnTo>
                  <a:lnTo>
                    <a:pt x="4174" y="515"/>
                  </a:lnTo>
                  <a:lnTo>
                    <a:pt x="4202" y="520"/>
                  </a:lnTo>
                  <a:lnTo>
                    <a:pt x="4216" y="499"/>
                  </a:lnTo>
                  <a:lnTo>
                    <a:pt x="4266" y="487"/>
                  </a:lnTo>
                  <a:lnTo>
                    <a:pt x="4287" y="499"/>
                  </a:lnTo>
                  <a:lnTo>
                    <a:pt x="4270" y="520"/>
                  </a:lnTo>
                  <a:lnTo>
                    <a:pt x="4287" y="553"/>
                  </a:lnTo>
                  <a:lnTo>
                    <a:pt x="4270" y="569"/>
                  </a:lnTo>
                  <a:lnTo>
                    <a:pt x="4249" y="581"/>
                  </a:lnTo>
                  <a:lnTo>
                    <a:pt x="4249" y="610"/>
                  </a:lnTo>
                  <a:lnTo>
                    <a:pt x="4244" y="610"/>
                  </a:lnTo>
                  <a:lnTo>
                    <a:pt x="4233" y="647"/>
                  </a:lnTo>
                  <a:lnTo>
                    <a:pt x="4228" y="664"/>
                  </a:lnTo>
                  <a:lnTo>
                    <a:pt x="4233" y="669"/>
                  </a:lnTo>
                  <a:lnTo>
                    <a:pt x="4228" y="680"/>
                  </a:lnTo>
                  <a:lnTo>
                    <a:pt x="4195" y="721"/>
                  </a:lnTo>
                  <a:lnTo>
                    <a:pt x="4195" y="742"/>
                  </a:lnTo>
                  <a:lnTo>
                    <a:pt x="4174" y="758"/>
                  </a:lnTo>
                  <a:lnTo>
                    <a:pt x="4174" y="780"/>
                  </a:lnTo>
                  <a:lnTo>
                    <a:pt x="4157" y="791"/>
                  </a:lnTo>
                  <a:lnTo>
                    <a:pt x="4093" y="775"/>
                  </a:lnTo>
                  <a:lnTo>
                    <a:pt x="4088" y="763"/>
                  </a:lnTo>
                  <a:lnTo>
                    <a:pt x="4055" y="796"/>
                  </a:lnTo>
                  <a:lnTo>
                    <a:pt x="4018" y="803"/>
                  </a:lnTo>
                  <a:lnTo>
                    <a:pt x="4034" y="820"/>
                  </a:lnTo>
                  <a:lnTo>
                    <a:pt x="4051" y="874"/>
                  </a:lnTo>
                  <a:lnTo>
                    <a:pt x="4039" y="924"/>
                  </a:lnTo>
                  <a:lnTo>
                    <a:pt x="4051" y="940"/>
                  </a:lnTo>
                  <a:lnTo>
                    <a:pt x="4034" y="964"/>
                  </a:lnTo>
                  <a:lnTo>
                    <a:pt x="4034" y="980"/>
                  </a:lnTo>
                  <a:lnTo>
                    <a:pt x="3985" y="997"/>
                  </a:lnTo>
                  <a:lnTo>
                    <a:pt x="3996" y="1002"/>
                  </a:lnTo>
                  <a:lnTo>
                    <a:pt x="3996" y="1018"/>
                  </a:lnTo>
                  <a:lnTo>
                    <a:pt x="3996" y="1014"/>
                  </a:lnTo>
                  <a:lnTo>
                    <a:pt x="3975" y="997"/>
                  </a:lnTo>
                  <a:lnTo>
                    <a:pt x="3975" y="980"/>
                  </a:lnTo>
                  <a:lnTo>
                    <a:pt x="3947" y="969"/>
                  </a:lnTo>
                  <a:lnTo>
                    <a:pt x="3930" y="1018"/>
                  </a:lnTo>
                  <a:lnTo>
                    <a:pt x="3921" y="1025"/>
                  </a:lnTo>
                  <a:lnTo>
                    <a:pt x="3909" y="1018"/>
                  </a:lnTo>
                  <a:lnTo>
                    <a:pt x="3904" y="1035"/>
                  </a:lnTo>
                  <a:lnTo>
                    <a:pt x="3876" y="1058"/>
                  </a:lnTo>
                  <a:lnTo>
                    <a:pt x="3817" y="1058"/>
                  </a:lnTo>
                  <a:lnTo>
                    <a:pt x="3824" y="1075"/>
                  </a:lnTo>
                  <a:lnTo>
                    <a:pt x="3833" y="1091"/>
                  </a:lnTo>
                  <a:lnTo>
                    <a:pt x="3824" y="1113"/>
                  </a:lnTo>
                  <a:lnTo>
                    <a:pt x="3762" y="1108"/>
                  </a:lnTo>
                  <a:lnTo>
                    <a:pt x="3741" y="1075"/>
                  </a:lnTo>
                  <a:lnTo>
                    <a:pt x="3715" y="1091"/>
                  </a:lnTo>
                  <a:lnTo>
                    <a:pt x="3711" y="1113"/>
                  </a:lnTo>
                  <a:lnTo>
                    <a:pt x="3677" y="1151"/>
                  </a:lnTo>
                  <a:lnTo>
                    <a:pt x="3656" y="1151"/>
                  </a:lnTo>
                  <a:lnTo>
                    <a:pt x="3635" y="1169"/>
                  </a:lnTo>
                  <a:lnTo>
                    <a:pt x="3607" y="1186"/>
                  </a:lnTo>
                  <a:lnTo>
                    <a:pt x="3607" y="1195"/>
                  </a:lnTo>
                  <a:lnTo>
                    <a:pt x="3597" y="1186"/>
                  </a:lnTo>
                  <a:lnTo>
                    <a:pt x="3564" y="1219"/>
                  </a:lnTo>
                  <a:lnTo>
                    <a:pt x="3552" y="1236"/>
                  </a:lnTo>
                  <a:lnTo>
                    <a:pt x="3543" y="1240"/>
                  </a:lnTo>
                  <a:lnTo>
                    <a:pt x="3514" y="1240"/>
                  </a:lnTo>
                  <a:lnTo>
                    <a:pt x="3493" y="1252"/>
                  </a:lnTo>
                  <a:lnTo>
                    <a:pt x="3477" y="1240"/>
                  </a:lnTo>
                  <a:lnTo>
                    <a:pt x="3488" y="1257"/>
                  </a:lnTo>
                  <a:lnTo>
                    <a:pt x="3422" y="1278"/>
                  </a:lnTo>
                  <a:lnTo>
                    <a:pt x="3392" y="1311"/>
                  </a:lnTo>
                  <a:lnTo>
                    <a:pt x="3370" y="1311"/>
                  </a:lnTo>
                  <a:lnTo>
                    <a:pt x="3370" y="1330"/>
                  </a:lnTo>
                  <a:lnTo>
                    <a:pt x="3333" y="1335"/>
                  </a:lnTo>
                  <a:lnTo>
                    <a:pt x="3333" y="1318"/>
                  </a:lnTo>
                  <a:lnTo>
                    <a:pt x="3370" y="1306"/>
                  </a:lnTo>
                  <a:lnTo>
                    <a:pt x="3363" y="1295"/>
                  </a:lnTo>
                  <a:lnTo>
                    <a:pt x="3380" y="1278"/>
                  </a:lnTo>
                  <a:lnTo>
                    <a:pt x="3363" y="1278"/>
                  </a:lnTo>
                  <a:lnTo>
                    <a:pt x="3354" y="1273"/>
                  </a:lnTo>
                  <a:lnTo>
                    <a:pt x="3337" y="1262"/>
                  </a:lnTo>
                  <a:lnTo>
                    <a:pt x="3363" y="1257"/>
                  </a:lnTo>
                  <a:lnTo>
                    <a:pt x="3354" y="1240"/>
                  </a:lnTo>
                  <a:lnTo>
                    <a:pt x="3385" y="1236"/>
                  </a:lnTo>
                  <a:lnTo>
                    <a:pt x="3418" y="1186"/>
                  </a:lnTo>
                  <a:lnTo>
                    <a:pt x="3401" y="1162"/>
                  </a:lnTo>
                  <a:lnTo>
                    <a:pt x="3337" y="1151"/>
                  </a:lnTo>
                  <a:lnTo>
                    <a:pt x="3325" y="1162"/>
                  </a:lnTo>
                  <a:lnTo>
                    <a:pt x="3316" y="1162"/>
                  </a:lnTo>
                  <a:lnTo>
                    <a:pt x="3325" y="1169"/>
                  </a:lnTo>
                  <a:lnTo>
                    <a:pt x="3309" y="1169"/>
                  </a:lnTo>
                  <a:lnTo>
                    <a:pt x="3295" y="1195"/>
                  </a:lnTo>
                  <a:lnTo>
                    <a:pt x="3283" y="1207"/>
                  </a:lnTo>
                  <a:lnTo>
                    <a:pt x="3224" y="1240"/>
                  </a:lnTo>
                  <a:lnTo>
                    <a:pt x="3207" y="1252"/>
                  </a:lnTo>
                  <a:lnTo>
                    <a:pt x="3203" y="1278"/>
                  </a:lnTo>
                  <a:lnTo>
                    <a:pt x="3174" y="1306"/>
                  </a:lnTo>
                  <a:lnTo>
                    <a:pt x="3186" y="1295"/>
                  </a:lnTo>
                  <a:lnTo>
                    <a:pt x="3153" y="1295"/>
                  </a:lnTo>
                  <a:lnTo>
                    <a:pt x="3137" y="1311"/>
                  </a:lnTo>
                  <a:lnTo>
                    <a:pt x="3115" y="1295"/>
                  </a:lnTo>
                  <a:lnTo>
                    <a:pt x="3094" y="1306"/>
                  </a:lnTo>
                  <a:lnTo>
                    <a:pt x="3082" y="1347"/>
                  </a:lnTo>
                  <a:lnTo>
                    <a:pt x="3094" y="1368"/>
                  </a:lnTo>
                  <a:lnTo>
                    <a:pt x="3120" y="1384"/>
                  </a:lnTo>
                  <a:lnTo>
                    <a:pt x="3170" y="1384"/>
                  </a:lnTo>
                  <a:lnTo>
                    <a:pt x="3186" y="1406"/>
                  </a:lnTo>
                  <a:lnTo>
                    <a:pt x="3174" y="1455"/>
                  </a:lnTo>
                  <a:lnTo>
                    <a:pt x="3203" y="1472"/>
                  </a:lnTo>
                  <a:lnTo>
                    <a:pt x="3240" y="1472"/>
                  </a:lnTo>
                  <a:lnTo>
                    <a:pt x="3245" y="1462"/>
                  </a:lnTo>
                  <a:lnTo>
                    <a:pt x="3245" y="1446"/>
                  </a:lnTo>
                  <a:lnTo>
                    <a:pt x="3309" y="1406"/>
                  </a:lnTo>
                  <a:lnTo>
                    <a:pt x="3316" y="1417"/>
                  </a:lnTo>
                  <a:lnTo>
                    <a:pt x="3333" y="1429"/>
                  </a:lnTo>
                  <a:lnTo>
                    <a:pt x="3363" y="1446"/>
                  </a:lnTo>
                  <a:lnTo>
                    <a:pt x="3401" y="1429"/>
                  </a:lnTo>
                  <a:lnTo>
                    <a:pt x="3408" y="1446"/>
                  </a:lnTo>
                  <a:lnTo>
                    <a:pt x="3434" y="1446"/>
                  </a:lnTo>
                  <a:lnTo>
                    <a:pt x="3439" y="1462"/>
                  </a:lnTo>
                  <a:lnTo>
                    <a:pt x="3422" y="1472"/>
                  </a:lnTo>
                  <a:lnTo>
                    <a:pt x="3422" y="1479"/>
                  </a:lnTo>
                  <a:lnTo>
                    <a:pt x="3434" y="1479"/>
                  </a:lnTo>
                  <a:lnTo>
                    <a:pt x="3434" y="1484"/>
                  </a:lnTo>
                  <a:lnTo>
                    <a:pt x="3408" y="1495"/>
                  </a:lnTo>
                  <a:lnTo>
                    <a:pt x="3408" y="1484"/>
                  </a:lnTo>
                  <a:lnTo>
                    <a:pt x="3392" y="1479"/>
                  </a:lnTo>
                  <a:lnTo>
                    <a:pt x="3363" y="1500"/>
                  </a:lnTo>
                  <a:lnTo>
                    <a:pt x="3363" y="1495"/>
                  </a:lnTo>
                  <a:lnTo>
                    <a:pt x="3325" y="1517"/>
                  </a:lnTo>
                  <a:lnTo>
                    <a:pt x="3309" y="1512"/>
                  </a:lnTo>
                  <a:lnTo>
                    <a:pt x="3309" y="1517"/>
                  </a:lnTo>
                  <a:lnTo>
                    <a:pt x="3316" y="1512"/>
                  </a:lnTo>
                  <a:lnTo>
                    <a:pt x="3325" y="1517"/>
                  </a:lnTo>
                  <a:lnTo>
                    <a:pt x="3316" y="1533"/>
                  </a:lnTo>
                  <a:lnTo>
                    <a:pt x="3309" y="1528"/>
                  </a:lnTo>
                  <a:lnTo>
                    <a:pt x="3300" y="1528"/>
                  </a:lnTo>
                  <a:lnTo>
                    <a:pt x="3300" y="1550"/>
                  </a:lnTo>
                  <a:lnTo>
                    <a:pt x="3278" y="1557"/>
                  </a:lnTo>
                  <a:lnTo>
                    <a:pt x="3278" y="1550"/>
                  </a:lnTo>
                  <a:lnTo>
                    <a:pt x="3278" y="1540"/>
                  </a:lnTo>
                  <a:lnTo>
                    <a:pt x="3262" y="1550"/>
                  </a:lnTo>
                  <a:lnTo>
                    <a:pt x="3271" y="1566"/>
                  </a:lnTo>
                  <a:lnTo>
                    <a:pt x="3245" y="1583"/>
                  </a:lnTo>
                  <a:lnTo>
                    <a:pt x="3245" y="1590"/>
                  </a:lnTo>
                  <a:lnTo>
                    <a:pt x="3229" y="1595"/>
                  </a:lnTo>
                  <a:lnTo>
                    <a:pt x="3207" y="1639"/>
                  </a:lnTo>
                  <a:lnTo>
                    <a:pt x="3203" y="1639"/>
                  </a:lnTo>
                  <a:lnTo>
                    <a:pt x="3191" y="1651"/>
                  </a:lnTo>
                  <a:lnTo>
                    <a:pt x="3203" y="1661"/>
                  </a:lnTo>
                  <a:lnTo>
                    <a:pt x="3219" y="1668"/>
                  </a:lnTo>
                  <a:lnTo>
                    <a:pt x="3229" y="1684"/>
                  </a:lnTo>
                  <a:lnTo>
                    <a:pt x="3271" y="1701"/>
                  </a:lnTo>
                  <a:lnTo>
                    <a:pt x="3283" y="1755"/>
                  </a:lnTo>
                  <a:lnTo>
                    <a:pt x="3316" y="1812"/>
                  </a:lnTo>
                  <a:lnTo>
                    <a:pt x="3316" y="1833"/>
                  </a:lnTo>
                  <a:lnTo>
                    <a:pt x="3354" y="1862"/>
                  </a:lnTo>
                  <a:lnTo>
                    <a:pt x="3354" y="1871"/>
                  </a:lnTo>
                  <a:lnTo>
                    <a:pt x="3380" y="1888"/>
                  </a:lnTo>
                  <a:lnTo>
                    <a:pt x="3385" y="1904"/>
                  </a:lnTo>
                  <a:lnTo>
                    <a:pt x="3385" y="1916"/>
                  </a:lnTo>
                  <a:lnTo>
                    <a:pt x="3347" y="1899"/>
                  </a:lnTo>
                  <a:lnTo>
                    <a:pt x="3325" y="1899"/>
                  </a:lnTo>
                  <a:lnTo>
                    <a:pt x="3295" y="1883"/>
                  </a:lnTo>
                  <a:lnTo>
                    <a:pt x="3262" y="1888"/>
                  </a:lnTo>
                  <a:lnTo>
                    <a:pt x="3240" y="1862"/>
                  </a:lnTo>
                  <a:lnTo>
                    <a:pt x="3229" y="1866"/>
                  </a:lnTo>
                  <a:lnTo>
                    <a:pt x="3224" y="1871"/>
                  </a:lnTo>
                  <a:lnTo>
                    <a:pt x="3240" y="1871"/>
                  </a:lnTo>
                  <a:lnTo>
                    <a:pt x="3245" y="1888"/>
                  </a:lnTo>
                  <a:lnTo>
                    <a:pt x="3262" y="1888"/>
                  </a:lnTo>
                  <a:lnTo>
                    <a:pt x="3283" y="1883"/>
                  </a:lnTo>
                  <a:lnTo>
                    <a:pt x="3300" y="1888"/>
                  </a:lnTo>
                  <a:lnTo>
                    <a:pt x="3309" y="1899"/>
                  </a:lnTo>
                  <a:lnTo>
                    <a:pt x="3300" y="1899"/>
                  </a:lnTo>
                  <a:lnTo>
                    <a:pt x="3333" y="1904"/>
                  </a:lnTo>
                  <a:lnTo>
                    <a:pt x="3370" y="1937"/>
                  </a:lnTo>
                  <a:lnTo>
                    <a:pt x="3385" y="1973"/>
                  </a:lnTo>
                  <a:lnTo>
                    <a:pt x="3385" y="1977"/>
                  </a:lnTo>
                  <a:lnTo>
                    <a:pt x="3354" y="1977"/>
                  </a:lnTo>
                  <a:lnTo>
                    <a:pt x="3325" y="1999"/>
                  </a:lnTo>
                  <a:lnTo>
                    <a:pt x="3309" y="2015"/>
                  </a:lnTo>
                  <a:lnTo>
                    <a:pt x="3283" y="2015"/>
                  </a:lnTo>
                  <a:lnTo>
                    <a:pt x="3262" y="2032"/>
                  </a:lnTo>
                  <a:lnTo>
                    <a:pt x="3295" y="2015"/>
                  </a:lnTo>
                  <a:lnTo>
                    <a:pt x="3295" y="2032"/>
                  </a:lnTo>
                  <a:lnTo>
                    <a:pt x="3309" y="2039"/>
                  </a:lnTo>
                  <a:lnTo>
                    <a:pt x="3347" y="2027"/>
                  </a:lnTo>
                  <a:lnTo>
                    <a:pt x="3370" y="2048"/>
                  </a:lnTo>
                  <a:lnTo>
                    <a:pt x="3401" y="2055"/>
                  </a:lnTo>
                  <a:lnTo>
                    <a:pt x="3370" y="2081"/>
                  </a:lnTo>
                  <a:lnTo>
                    <a:pt x="3363" y="2081"/>
                  </a:lnTo>
                  <a:lnTo>
                    <a:pt x="3354" y="2088"/>
                  </a:lnTo>
                  <a:lnTo>
                    <a:pt x="3380" y="2081"/>
                  </a:lnTo>
                  <a:lnTo>
                    <a:pt x="3380" y="2088"/>
                  </a:lnTo>
                  <a:lnTo>
                    <a:pt x="3385" y="2081"/>
                  </a:lnTo>
                  <a:lnTo>
                    <a:pt x="3380" y="2081"/>
                  </a:lnTo>
                  <a:lnTo>
                    <a:pt x="3385" y="2072"/>
                  </a:lnTo>
                  <a:lnTo>
                    <a:pt x="3392" y="2081"/>
                  </a:lnTo>
                  <a:lnTo>
                    <a:pt x="3385" y="2105"/>
                  </a:lnTo>
                  <a:lnTo>
                    <a:pt x="3392" y="2105"/>
                  </a:lnTo>
                  <a:lnTo>
                    <a:pt x="3385" y="2110"/>
                  </a:lnTo>
                  <a:lnTo>
                    <a:pt x="3380" y="2093"/>
                  </a:lnTo>
                  <a:lnTo>
                    <a:pt x="3380" y="2110"/>
                  </a:lnTo>
                  <a:lnTo>
                    <a:pt x="3363" y="2105"/>
                  </a:lnTo>
                  <a:lnTo>
                    <a:pt x="3354" y="2110"/>
                  </a:lnTo>
                  <a:lnTo>
                    <a:pt x="3370" y="2121"/>
                  </a:lnTo>
                  <a:lnTo>
                    <a:pt x="3370" y="2126"/>
                  </a:lnTo>
                  <a:lnTo>
                    <a:pt x="3354" y="2126"/>
                  </a:lnTo>
                  <a:lnTo>
                    <a:pt x="3370" y="2138"/>
                  </a:lnTo>
                  <a:lnTo>
                    <a:pt x="3363" y="2143"/>
                  </a:lnTo>
                  <a:lnTo>
                    <a:pt x="3347" y="2143"/>
                  </a:lnTo>
                  <a:lnTo>
                    <a:pt x="3333" y="2138"/>
                  </a:lnTo>
                  <a:lnTo>
                    <a:pt x="3354" y="2150"/>
                  </a:lnTo>
                  <a:lnTo>
                    <a:pt x="3370" y="2176"/>
                  </a:lnTo>
                  <a:lnTo>
                    <a:pt x="3363" y="2183"/>
                  </a:lnTo>
                  <a:lnTo>
                    <a:pt x="3354" y="2176"/>
                  </a:lnTo>
                  <a:lnTo>
                    <a:pt x="3347" y="2192"/>
                  </a:lnTo>
                  <a:lnTo>
                    <a:pt x="3337" y="2176"/>
                  </a:lnTo>
                  <a:lnTo>
                    <a:pt x="3316" y="2199"/>
                  </a:lnTo>
                  <a:lnTo>
                    <a:pt x="3295" y="2199"/>
                  </a:lnTo>
                  <a:lnTo>
                    <a:pt x="3316" y="2204"/>
                  </a:lnTo>
                  <a:lnTo>
                    <a:pt x="3316" y="2216"/>
                  </a:lnTo>
                  <a:lnTo>
                    <a:pt x="3295" y="2232"/>
                  </a:lnTo>
                  <a:lnTo>
                    <a:pt x="3300" y="2249"/>
                  </a:lnTo>
                  <a:lnTo>
                    <a:pt x="3283" y="2258"/>
                  </a:lnTo>
                  <a:lnTo>
                    <a:pt x="3278" y="2254"/>
                  </a:lnTo>
                  <a:lnTo>
                    <a:pt x="3271" y="2254"/>
                  </a:lnTo>
                  <a:lnTo>
                    <a:pt x="3271" y="2258"/>
                  </a:lnTo>
                  <a:lnTo>
                    <a:pt x="3283" y="2270"/>
                  </a:lnTo>
                  <a:lnTo>
                    <a:pt x="3271" y="2270"/>
                  </a:lnTo>
                  <a:lnTo>
                    <a:pt x="3271" y="2287"/>
                  </a:lnTo>
                  <a:lnTo>
                    <a:pt x="3257" y="2287"/>
                  </a:lnTo>
                  <a:lnTo>
                    <a:pt x="3262" y="2310"/>
                  </a:lnTo>
                  <a:lnTo>
                    <a:pt x="3245" y="2315"/>
                  </a:lnTo>
                  <a:lnTo>
                    <a:pt x="3262" y="2294"/>
                  </a:lnTo>
                  <a:lnTo>
                    <a:pt x="3245" y="2294"/>
                  </a:lnTo>
                  <a:lnTo>
                    <a:pt x="3245" y="2310"/>
                  </a:lnTo>
                  <a:lnTo>
                    <a:pt x="3240" y="2294"/>
                  </a:lnTo>
                  <a:lnTo>
                    <a:pt x="3229" y="2294"/>
                  </a:lnTo>
                  <a:lnTo>
                    <a:pt x="3229" y="2303"/>
                  </a:lnTo>
                  <a:lnTo>
                    <a:pt x="3224" y="2294"/>
                  </a:lnTo>
                  <a:lnTo>
                    <a:pt x="3224" y="2310"/>
                  </a:lnTo>
                  <a:lnTo>
                    <a:pt x="3229" y="2310"/>
                  </a:lnTo>
                  <a:lnTo>
                    <a:pt x="3240" y="2327"/>
                  </a:lnTo>
                  <a:lnTo>
                    <a:pt x="3229" y="2315"/>
                  </a:lnTo>
                  <a:lnTo>
                    <a:pt x="3224" y="2327"/>
                  </a:lnTo>
                  <a:lnTo>
                    <a:pt x="3229" y="2332"/>
                  </a:lnTo>
                  <a:lnTo>
                    <a:pt x="3240" y="2327"/>
                  </a:lnTo>
                  <a:lnTo>
                    <a:pt x="3245" y="2327"/>
                  </a:lnTo>
                  <a:lnTo>
                    <a:pt x="3229" y="2332"/>
                  </a:lnTo>
                  <a:lnTo>
                    <a:pt x="3219" y="2360"/>
                  </a:lnTo>
                  <a:lnTo>
                    <a:pt x="3191" y="2343"/>
                  </a:lnTo>
                  <a:lnTo>
                    <a:pt x="3207" y="2360"/>
                  </a:lnTo>
                  <a:lnTo>
                    <a:pt x="3224" y="2348"/>
                  </a:lnTo>
                  <a:lnTo>
                    <a:pt x="3229" y="2360"/>
                  </a:lnTo>
                  <a:lnTo>
                    <a:pt x="3224" y="2365"/>
                  </a:lnTo>
                  <a:lnTo>
                    <a:pt x="3224" y="2381"/>
                  </a:lnTo>
                  <a:lnTo>
                    <a:pt x="3219" y="2381"/>
                  </a:lnTo>
                  <a:lnTo>
                    <a:pt x="3229" y="2402"/>
                  </a:lnTo>
                  <a:lnTo>
                    <a:pt x="3207" y="2386"/>
                  </a:lnTo>
                  <a:lnTo>
                    <a:pt x="3191" y="2402"/>
                  </a:lnTo>
                  <a:lnTo>
                    <a:pt x="3207" y="2414"/>
                  </a:lnTo>
                  <a:lnTo>
                    <a:pt x="3191" y="2426"/>
                  </a:lnTo>
                  <a:lnTo>
                    <a:pt x="3186" y="2419"/>
                  </a:lnTo>
                  <a:lnTo>
                    <a:pt x="3186" y="2414"/>
                  </a:lnTo>
                  <a:lnTo>
                    <a:pt x="3174" y="2414"/>
                  </a:lnTo>
                  <a:lnTo>
                    <a:pt x="3186" y="2419"/>
                  </a:lnTo>
                  <a:lnTo>
                    <a:pt x="3170" y="2426"/>
                  </a:lnTo>
                  <a:lnTo>
                    <a:pt x="3186" y="2438"/>
                  </a:lnTo>
                  <a:lnTo>
                    <a:pt x="3165" y="2443"/>
                  </a:lnTo>
                  <a:lnTo>
                    <a:pt x="3165" y="2438"/>
                  </a:lnTo>
                  <a:lnTo>
                    <a:pt x="3153" y="2443"/>
                  </a:lnTo>
                  <a:lnTo>
                    <a:pt x="3153" y="2454"/>
                  </a:lnTo>
                  <a:lnTo>
                    <a:pt x="3170" y="2454"/>
                  </a:lnTo>
                  <a:lnTo>
                    <a:pt x="3153" y="2471"/>
                  </a:lnTo>
                  <a:lnTo>
                    <a:pt x="3148" y="2459"/>
                  </a:lnTo>
                  <a:lnTo>
                    <a:pt x="3132" y="2471"/>
                  </a:lnTo>
                  <a:lnTo>
                    <a:pt x="3120" y="2459"/>
                  </a:lnTo>
                  <a:lnTo>
                    <a:pt x="3111" y="2471"/>
                  </a:lnTo>
                  <a:lnTo>
                    <a:pt x="3115" y="2471"/>
                  </a:lnTo>
                  <a:lnTo>
                    <a:pt x="3115" y="2476"/>
                  </a:lnTo>
                  <a:lnTo>
                    <a:pt x="3099" y="2476"/>
                  </a:lnTo>
                  <a:lnTo>
                    <a:pt x="3115" y="2476"/>
                  </a:lnTo>
                  <a:lnTo>
                    <a:pt x="3120" y="2492"/>
                  </a:lnTo>
                  <a:lnTo>
                    <a:pt x="3094" y="2513"/>
                  </a:lnTo>
                  <a:lnTo>
                    <a:pt x="3099" y="2509"/>
                  </a:lnTo>
                  <a:lnTo>
                    <a:pt x="3082" y="2525"/>
                  </a:lnTo>
                  <a:lnTo>
                    <a:pt x="3061" y="2530"/>
                  </a:lnTo>
                  <a:lnTo>
                    <a:pt x="3056" y="2537"/>
                  </a:lnTo>
                  <a:lnTo>
                    <a:pt x="3040" y="2530"/>
                  </a:lnTo>
                  <a:lnTo>
                    <a:pt x="3023" y="2563"/>
                  </a:lnTo>
                  <a:lnTo>
                    <a:pt x="3007" y="2554"/>
                  </a:lnTo>
                  <a:lnTo>
                    <a:pt x="3030" y="2570"/>
                  </a:lnTo>
                  <a:lnTo>
                    <a:pt x="3007" y="2570"/>
                  </a:lnTo>
                  <a:lnTo>
                    <a:pt x="3007" y="2587"/>
                  </a:lnTo>
                  <a:lnTo>
                    <a:pt x="2992" y="2591"/>
                  </a:lnTo>
                  <a:lnTo>
                    <a:pt x="2959" y="2603"/>
                  </a:lnTo>
                  <a:lnTo>
                    <a:pt x="2948" y="2591"/>
                  </a:lnTo>
                  <a:lnTo>
                    <a:pt x="2938" y="2591"/>
                  </a:lnTo>
                  <a:lnTo>
                    <a:pt x="2938" y="2608"/>
                  </a:lnTo>
                  <a:lnTo>
                    <a:pt x="2917" y="2603"/>
                  </a:lnTo>
                  <a:lnTo>
                    <a:pt x="2893" y="2608"/>
                  </a:lnTo>
                  <a:lnTo>
                    <a:pt x="2893" y="2620"/>
                  </a:lnTo>
                  <a:lnTo>
                    <a:pt x="2884" y="2620"/>
                  </a:lnTo>
                  <a:lnTo>
                    <a:pt x="2884" y="2603"/>
                  </a:lnTo>
                  <a:lnTo>
                    <a:pt x="2867" y="2608"/>
                  </a:lnTo>
                  <a:lnTo>
                    <a:pt x="2879" y="2624"/>
                  </a:lnTo>
                  <a:lnTo>
                    <a:pt x="2867" y="2624"/>
                  </a:lnTo>
                  <a:lnTo>
                    <a:pt x="2863" y="2620"/>
                  </a:lnTo>
                  <a:lnTo>
                    <a:pt x="2846" y="2620"/>
                  </a:lnTo>
                  <a:lnTo>
                    <a:pt x="2851" y="2624"/>
                  </a:lnTo>
                  <a:lnTo>
                    <a:pt x="2863" y="2624"/>
                  </a:lnTo>
                  <a:lnTo>
                    <a:pt x="2851" y="2636"/>
                  </a:lnTo>
                  <a:lnTo>
                    <a:pt x="2851" y="2641"/>
                  </a:lnTo>
                  <a:lnTo>
                    <a:pt x="2829" y="2636"/>
                  </a:lnTo>
                  <a:lnTo>
                    <a:pt x="2841" y="2624"/>
                  </a:lnTo>
                  <a:lnTo>
                    <a:pt x="2825" y="2624"/>
                  </a:lnTo>
                  <a:lnTo>
                    <a:pt x="2813" y="2603"/>
                  </a:lnTo>
                  <a:lnTo>
                    <a:pt x="2808" y="2591"/>
                  </a:lnTo>
                  <a:lnTo>
                    <a:pt x="2796" y="2580"/>
                  </a:lnTo>
                  <a:lnTo>
                    <a:pt x="2825" y="2580"/>
                  </a:lnTo>
                  <a:lnTo>
                    <a:pt x="2813" y="2570"/>
                  </a:lnTo>
                  <a:lnTo>
                    <a:pt x="2796" y="2580"/>
                  </a:lnTo>
                  <a:lnTo>
                    <a:pt x="2796" y="2591"/>
                  </a:lnTo>
                  <a:lnTo>
                    <a:pt x="2792" y="2591"/>
                  </a:lnTo>
                  <a:lnTo>
                    <a:pt x="2796" y="2620"/>
                  </a:lnTo>
                  <a:lnTo>
                    <a:pt x="2796" y="2641"/>
                  </a:lnTo>
                  <a:lnTo>
                    <a:pt x="2796" y="2653"/>
                  </a:lnTo>
                  <a:lnTo>
                    <a:pt x="2792" y="2653"/>
                  </a:lnTo>
                  <a:lnTo>
                    <a:pt x="2775" y="2620"/>
                  </a:lnTo>
                  <a:lnTo>
                    <a:pt x="2792" y="2653"/>
                  </a:lnTo>
                  <a:lnTo>
                    <a:pt x="2787" y="2653"/>
                  </a:lnTo>
                  <a:lnTo>
                    <a:pt x="2775" y="2658"/>
                  </a:lnTo>
                  <a:lnTo>
                    <a:pt x="2770" y="2658"/>
                  </a:lnTo>
                  <a:lnTo>
                    <a:pt x="2770" y="2641"/>
                  </a:lnTo>
                  <a:lnTo>
                    <a:pt x="2759" y="2674"/>
                  </a:lnTo>
                  <a:lnTo>
                    <a:pt x="2754" y="2665"/>
                  </a:lnTo>
                  <a:lnTo>
                    <a:pt x="2737" y="2681"/>
                  </a:lnTo>
                  <a:lnTo>
                    <a:pt x="2733" y="2674"/>
                  </a:lnTo>
                  <a:lnTo>
                    <a:pt x="2716" y="2681"/>
                  </a:lnTo>
                  <a:lnTo>
                    <a:pt x="2683" y="2665"/>
                  </a:lnTo>
                  <a:lnTo>
                    <a:pt x="2690" y="2681"/>
                  </a:lnTo>
                  <a:lnTo>
                    <a:pt x="2683" y="2691"/>
                  </a:lnTo>
                  <a:lnTo>
                    <a:pt x="2666" y="2674"/>
                  </a:lnTo>
                  <a:lnTo>
                    <a:pt x="2678" y="2691"/>
                  </a:lnTo>
                  <a:lnTo>
                    <a:pt x="2666" y="2698"/>
                  </a:lnTo>
                  <a:lnTo>
                    <a:pt x="2629" y="2707"/>
                  </a:lnTo>
                  <a:lnTo>
                    <a:pt x="2624" y="2698"/>
                  </a:lnTo>
                  <a:lnTo>
                    <a:pt x="2624" y="2707"/>
                  </a:lnTo>
                  <a:lnTo>
                    <a:pt x="2629" y="2698"/>
                  </a:lnTo>
                  <a:lnTo>
                    <a:pt x="2607" y="2707"/>
                  </a:lnTo>
                  <a:lnTo>
                    <a:pt x="2598" y="2714"/>
                  </a:lnTo>
                  <a:lnTo>
                    <a:pt x="2607" y="2707"/>
                  </a:lnTo>
                  <a:lnTo>
                    <a:pt x="2598" y="2707"/>
                  </a:lnTo>
                  <a:lnTo>
                    <a:pt x="2598" y="2719"/>
                  </a:lnTo>
                  <a:lnTo>
                    <a:pt x="2591" y="2719"/>
                  </a:lnTo>
                  <a:lnTo>
                    <a:pt x="2581" y="2719"/>
                  </a:lnTo>
                  <a:lnTo>
                    <a:pt x="2581" y="2707"/>
                  </a:lnTo>
                  <a:lnTo>
                    <a:pt x="2581" y="2719"/>
                  </a:lnTo>
                  <a:lnTo>
                    <a:pt x="2560" y="2736"/>
                  </a:lnTo>
                  <a:lnTo>
                    <a:pt x="2560" y="2747"/>
                  </a:lnTo>
                  <a:lnTo>
                    <a:pt x="2577" y="2747"/>
                  </a:lnTo>
                  <a:lnTo>
                    <a:pt x="2577" y="2764"/>
                  </a:lnTo>
                  <a:lnTo>
                    <a:pt x="2591" y="2776"/>
                  </a:lnTo>
                  <a:lnTo>
                    <a:pt x="2577" y="2792"/>
                  </a:lnTo>
                  <a:lnTo>
                    <a:pt x="2553" y="2792"/>
                  </a:lnTo>
                  <a:lnTo>
                    <a:pt x="2544" y="2792"/>
                  </a:lnTo>
                  <a:lnTo>
                    <a:pt x="2544" y="2785"/>
                  </a:lnTo>
                  <a:lnTo>
                    <a:pt x="2553" y="2776"/>
                  </a:lnTo>
                  <a:lnTo>
                    <a:pt x="2539" y="2764"/>
                  </a:lnTo>
                  <a:lnTo>
                    <a:pt x="2527" y="2747"/>
                  </a:lnTo>
                  <a:lnTo>
                    <a:pt x="2539" y="2714"/>
                  </a:lnTo>
                  <a:lnTo>
                    <a:pt x="2553" y="2707"/>
                  </a:lnTo>
                  <a:lnTo>
                    <a:pt x="2539" y="2707"/>
                  </a:lnTo>
                  <a:lnTo>
                    <a:pt x="2539" y="2691"/>
                  </a:lnTo>
                  <a:lnTo>
                    <a:pt x="2539" y="2698"/>
                  </a:lnTo>
                  <a:lnTo>
                    <a:pt x="2527" y="2698"/>
                  </a:lnTo>
                  <a:lnTo>
                    <a:pt x="2522" y="2681"/>
                  </a:lnTo>
                  <a:lnTo>
                    <a:pt x="2522" y="2691"/>
                  </a:lnTo>
                  <a:lnTo>
                    <a:pt x="2522" y="2698"/>
                  </a:lnTo>
                  <a:lnTo>
                    <a:pt x="2489" y="2707"/>
                  </a:lnTo>
                  <a:lnTo>
                    <a:pt x="2489" y="2691"/>
                  </a:lnTo>
                  <a:lnTo>
                    <a:pt x="2473" y="2681"/>
                  </a:lnTo>
                  <a:lnTo>
                    <a:pt x="2468" y="2674"/>
                  </a:lnTo>
                  <a:lnTo>
                    <a:pt x="2473" y="2691"/>
                  </a:lnTo>
                  <a:lnTo>
                    <a:pt x="2468" y="2691"/>
                  </a:lnTo>
                  <a:lnTo>
                    <a:pt x="2463" y="2665"/>
                  </a:lnTo>
                  <a:lnTo>
                    <a:pt x="2447" y="2665"/>
                  </a:lnTo>
                  <a:lnTo>
                    <a:pt x="2447" y="2674"/>
                  </a:lnTo>
                  <a:lnTo>
                    <a:pt x="2451" y="2681"/>
                  </a:lnTo>
                  <a:lnTo>
                    <a:pt x="2447" y="2691"/>
                  </a:lnTo>
                  <a:lnTo>
                    <a:pt x="2435" y="2698"/>
                  </a:lnTo>
                  <a:lnTo>
                    <a:pt x="2447" y="2691"/>
                  </a:lnTo>
                  <a:lnTo>
                    <a:pt x="2435" y="2681"/>
                  </a:lnTo>
                  <a:lnTo>
                    <a:pt x="2430" y="2698"/>
                  </a:lnTo>
                  <a:lnTo>
                    <a:pt x="2430" y="2691"/>
                  </a:lnTo>
                  <a:lnTo>
                    <a:pt x="2414" y="2698"/>
                  </a:lnTo>
                  <a:lnTo>
                    <a:pt x="2397" y="2691"/>
                  </a:lnTo>
                  <a:lnTo>
                    <a:pt x="2364" y="2691"/>
                  </a:lnTo>
                  <a:lnTo>
                    <a:pt x="2359" y="2681"/>
                  </a:lnTo>
                  <a:lnTo>
                    <a:pt x="2343" y="2674"/>
                  </a:lnTo>
                  <a:lnTo>
                    <a:pt x="2343" y="2665"/>
                  </a:lnTo>
                  <a:lnTo>
                    <a:pt x="2322" y="2658"/>
                  </a:lnTo>
                  <a:lnTo>
                    <a:pt x="2322" y="2641"/>
                  </a:lnTo>
                  <a:lnTo>
                    <a:pt x="2312" y="2624"/>
                  </a:lnTo>
                  <a:lnTo>
                    <a:pt x="2326" y="2603"/>
                  </a:lnTo>
                  <a:lnTo>
                    <a:pt x="2322" y="2591"/>
                  </a:lnTo>
                  <a:lnTo>
                    <a:pt x="2305" y="2587"/>
                  </a:lnTo>
                  <a:lnTo>
                    <a:pt x="2289" y="2591"/>
                  </a:lnTo>
                  <a:lnTo>
                    <a:pt x="2284" y="2587"/>
                  </a:lnTo>
                  <a:lnTo>
                    <a:pt x="2258" y="2591"/>
                  </a:lnTo>
                  <a:lnTo>
                    <a:pt x="2241" y="2580"/>
                  </a:lnTo>
                  <a:lnTo>
                    <a:pt x="2229" y="2563"/>
                  </a:lnTo>
                  <a:lnTo>
                    <a:pt x="2199" y="2570"/>
                  </a:lnTo>
                  <a:lnTo>
                    <a:pt x="2182" y="2603"/>
                  </a:lnTo>
                  <a:lnTo>
                    <a:pt x="2175" y="2591"/>
                  </a:lnTo>
                  <a:lnTo>
                    <a:pt x="2161" y="2608"/>
                  </a:lnTo>
                  <a:lnTo>
                    <a:pt x="2149" y="2603"/>
                  </a:lnTo>
                  <a:lnTo>
                    <a:pt x="2149" y="2591"/>
                  </a:lnTo>
                  <a:lnTo>
                    <a:pt x="2133" y="2603"/>
                  </a:lnTo>
                  <a:lnTo>
                    <a:pt x="2128" y="2624"/>
                  </a:lnTo>
                  <a:lnTo>
                    <a:pt x="2107" y="2603"/>
                  </a:lnTo>
                  <a:lnTo>
                    <a:pt x="2095" y="2620"/>
                  </a:lnTo>
                  <a:lnTo>
                    <a:pt x="2078" y="2603"/>
                  </a:lnTo>
                  <a:lnTo>
                    <a:pt x="2069" y="2624"/>
                  </a:lnTo>
                  <a:lnTo>
                    <a:pt x="2024" y="2603"/>
                  </a:lnTo>
                  <a:lnTo>
                    <a:pt x="2003" y="2636"/>
                  </a:lnTo>
                  <a:lnTo>
                    <a:pt x="1972" y="2624"/>
                  </a:lnTo>
                  <a:lnTo>
                    <a:pt x="1960" y="2641"/>
                  </a:lnTo>
                  <a:lnTo>
                    <a:pt x="1965" y="2665"/>
                  </a:lnTo>
                  <a:lnTo>
                    <a:pt x="1972" y="2674"/>
                  </a:lnTo>
                  <a:lnTo>
                    <a:pt x="1972" y="2714"/>
                  </a:lnTo>
                  <a:lnTo>
                    <a:pt x="1981" y="2719"/>
                  </a:lnTo>
                  <a:lnTo>
                    <a:pt x="1972" y="2731"/>
                  </a:lnTo>
                  <a:lnTo>
                    <a:pt x="1960" y="2719"/>
                  </a:lnTo>
                  <a:lnTo>
                    <a:pt x="1944" y="2719"/>
                  </a:lnTo>
                  <a:lnTo>
                    <a:pt x="1934" y="2691"/>
                  </a:lnTo>
                  <a:lnTo>
                    <a:pt x="1927" y="2681"/>
                  </a:lnTo>
                  <a:lnTo>
                    <a:pt x="1889" y="2707"/>
                  </a:lnTo>
                  <a:lnTo>
                    <a:pt x="1880" y="2698"/>
                  </a:lnTo>
                  <a:lnTo>
                    <a:pt x="1863" y="2707"/>
                  </a:lnTo>
                  <a:lnTo>
                    <a:pt x="1859" y="2698"/>
                  </a:lnTo>
                  <a:lnTo>
                    <a:pt x="1859" y="2691"/>
                  </a:lnTo>
                  <a:lnTo>
                    <a:pt x="1851" y="2681"/>
                  </a:lnTo>
                  <a:lnTo>
                    <a:pt x="1851" y="2658"/>
                  </a:lnTo>
                  <a:lnTo>
                    <a:pt x="1788" y="2653"/>
                  </a:lnTo>
                  <a:lnTo>
                    <a:pt x="1809" y="2624"/>
                  </a:lnTo>
                  <a:lnTo>
                    <a:pt x="1804" y="2608"/>
                  </a:lnTo>
                  <a:lnTo>
                    <a:pt x="1821" y="2587"/>
                  </a:lnTo>
                  <a:lnTo>
                    <a:pt x="1821" y="2580"/>
                  </a:lnTo>
                  <a:lnTo>
                    <a:pt x="1788" y="2580"/>
                  </a:lnTo>
                  <a:lnTo>
                    <a:pt x="1771" y="2570"/>
                  </a:lnTo>
                  <a:lnTo>
                    <a:pt x="1771" y="2554"/>
                  </a:lnTo>
                  <a:lnTo>
                    <a:pt x="1766" y="2547"/>
                  </a:lnTo>
                  <a:lnTo>
                    <a:pt x="1766" y="2530"/>
                  </a:lnTo>
                  <a:lnTo>
                    <a:pt x="1755" y="2525"/>
                  </a:lnTo>
                  <a:lnTo>
                    <a:pt x="1755" y="2513"/>
                  </a:lnTo>
                  <a:lnTo>
                    <a:pt x="1771" y="2497"/>
                  </a:lnTo>
                  <a:lnTo>
                    <a:pt x="1717" y="2497"/>
                  </a:lnTo>
                  <a:lnTo>
                    <a:pt x="1691" y="2525"/>
                  </a:lnTo>
                  <a:lnTo>
                    <a:pt x="1679" y="2513"/>
                  </a:lnTo>
                  <a:lnTo>
                    <a:pt x="1696" y="2497"/>
                  </a:lnTo>
                  <a:lnTo>
                    <a:pt x="1691" y="2476"/>
                  </a:lnTo>
                  <a:lnTo>
                    <a:pt x="1679" y="2476"/>
                  </a:lnTo>
                  <a:lnTo>
                    <a:pt x="1679" y="2454"/>
                  </a:lnTo>
                  <a:lnTo>
                    <a:pt x="1696" y="2438"/>
                  </a:lnTo>
                  <a:lnTo>
                    <a:pt x="1696" y="2414"/>
                  </a:lnTo>
                  <a:lnTo>
                    <a:pt x="1700" y="2419"/>
                  </a:lnTo>
                  <a:lnTo>
                    <a:pt x="1712" y="2414"/>
                  </a:lnTo>
                  <a:lnTo>
                    <a:pt x="1729" y="2386"/>
                  </a:lnTo>
                  <a:lnTo>
                    <a:pt x="1733" y="2386"/>
                  </a:lnTo>
                  <a:lnTo>
                    <a:pt x="1750" y="2365"/>
                  </a:lnTo>
                  <a:lnTo>
                    <a:pt x="1755" y="2365"/>
                  </a:lnTo>
                  <a:lnTo>
                    <a:pt x="1750" y="2348"/>
                  </a:lnTo>
                  <a:lnTo>
                    <a:pt x="1766" y="2343"/>
                  </a:lnTo>
                  <a:lnTo>
                    <a:pt x="1766" y="2294"/>
                  </a:lnTo>
                  <a:lnTo>
                    <a:pt x="1755" y="2237"/>
                  </a:lnTo>
                  <a:lnTo>
                    <a:pt x="1745" y="2232"/>
                  </a:lnTo>
                  <a:lnTo>
                    <a:pt x="1733" y="2237"/>
                  </a:lnTo>
                  <a:lnTo>
                    <a:pt x="1717" y="2192"/>
                  </a:lnTo>
                  <a:lnTo>
                    <a:pt x="1712" y="2183"/>
                  </a:lnTo>
                  <a:lnTo>
                    <a:pt x="1679" y="2159"/>
                  </a:lnTo>
                  <a:lnTo>
                    <a:pt x="1674" y="2176"/>
                  </a:lnTo>
                  <a:lnTo>
                    <a:pt x="1663" y="2183"/>
                  </a:lnTo>
                  <a:lnTo>
                    <a:pt x="1646" y="2176"/>
                  </a:lnTo>
                  <a:lnTo>
                    <a:pt x="1641" y="2176"/>
                  </a:lnTo>
                  <a:lnTo>
                    <a:pt x="1620" y="2166"/>
                  </a:lnTo>
                  <a:lnTo>
                    <a:pt x="1594" y="2176"/>
                  </a:lnTo>
                  <a:lnTo>
                    <a:pt x="1594" y="2159"/>
                  </a:lnTo>
                  <a:lnTo>
                    <a:pt x="1608" y="2143"/>
                  </a:lnTo>
                  <a:lnTo>
                    <a:pt x="1603" y="2121"/>
                  </a:lnTo>
                  <a:lnTo>
                    <a:pt x="1582" y="2126"/>
                  </a:lnTo>
                  <a:lnTo>
                    <a:pt x="1582" y="2121"/>
                  </a:lnTo>
                  <a:lnTo>
                    <a:pt x="1594" y="2105"/>
                  </a:lnTo>
                  <a:lnTo>
                    <a:pt x="1587" y="2105"/>
                  </a:lnTo>
                  <a:lnTo>
                    <a:pt x="1570" y="2088"/>
                  </a:lnTo>
                  <a:lnTo>
                    <a:pt x="1540" y="2105"/>
                  </a:lnTo>
                  <a:lnTo>
                    <a:pt x="1528" y="2121"/>
                  </a:lnTo>
                  <a:lnTo>
                    <a:pt x="1485" y="2110"/>
                  </a:lnTo>
                  <a:lnTo>
                    <a:pt x="1474" y="2093"/>
                  </a:lnTo>
                  <a:lnTo>
                    <a:pt x="1448" y="2121"/>
                  </a:lnTo>
                  <a:lnTo>
                    <a:pt x="1426" y="2150"/>
                  </a:lnTo>
                  <a:lnTo>
                    <a:pt x="1389" y="2150"/>
                  </a:lnTo>
                  <a:lnTo>
                    <a:pt x="1372" y="2176"/>
                  </a:lnTo>
                  <a:lnTo>
                    <a:pt x="1339" y="2192"/>
                  </a:lnTo>
                  <a:lnTo>
                    <a:pt x="1339" y="2204"/>
                  </a:lnTo>
                  <a:lnTo>
                    <a:pt x="1322" y="2216"/>
                  </a:lnTo>
                  <a:lnTo>
                    <a:pt x="1313" y="2216"/>
                  </a:lnTo>
                  <a:lnTo>
                    <a:pt x="1285" y="2221"/>
                  </a:lnTo>
                  <a:lnTo>
                    <a:pt x="1263" y="2221"/>
                  </a:lnTo>
                  <a:lnTo>
                    <a:pt x="1263" y="2204"/>
                  </a:lnTo>
                  <a:lnTo>
                    <a:pt x="1242" y="2199"/>
                  </a:lnTo>
                  <a:lnTo>
                    <a:pt x="1226" y="2204"/>
                  </a:lnTo>
                  <a:lnTo>
                    <a:pt x="1178" y="2199"/>
                  </a:lnTo>
                  <a:lnTo>
                    <a:pt x="1178" y="2183"/>
                  </a:lnTo>
                  <a:lnTo>
                    <a:pt x="1150" y="2176"/>
                  </a:lnTo>
                  <a:lnTo>
                    <a:pt x="1117" y="2199"/>
                  </a:lnTo>
                  <a:lnTo>
                    <a:pt x="1070" y="2254"/>
                  </a:lnTo>
                  <a:lnTo>
                    <a:pt x="1065" y="2237"/>
                  </a:lnTo>
                  <a:lnTo>
                    <a:pt x="1070" y="2216"/>
                  </a:lnTo>
                  <a:lnTo>
                    <a:pt x="1070" y="2199"/>
                  </a:lnTo>
                  <a:lnTo>
                    <a:pt x="1053" y="2192"/>
                  </a:lnTo>
                  <a:lnTo>
                    <a:pt x="1041" y="2199"/>
                  </a:lnTo>
                  <a:lnTo>
                    <a:pt x="1015" y="2204"/>
                  </a:lnTo>
                  <a:lnTo>
                    <a:pt x="1015" y="2216"/>
                  </a:lnTo>
                  <a:lnTo>
                    <a:pt x="999" y="2204"/>
                  </a:lnTo>
                  <a:lnTo>
                    <a:pt x="989" y="2216"/>
                  </a:lnTo>
                  <a:lnTo>
                    <a:pt x="956" y="2216"/>
                  </a:lnTo>
                  <a:lnTo>
                    <a:pt x="918" y="2192"/>
                  </a:lnTo>
                  <a:lnTo>
                    <a:pt x="907" y="2192"/>
                  </a:lnTo>
                  <a:lnTo>
                    <a:pt x="902" y="2204"/>
                  </a:lnTo>
                  <a:lnTo>
                    <a:pt x="885" y="2199"/>
                  </a:lnTo>
                  <a:lnTo>
                    <a:pt x="885" y="2192"/>
                  </a:lnTo>
                  <a:lnTo>
                    <a:pt x="881" y="2192"/>
                  </a:lnTo>
                  <a:lnTo>
                    <a:pt x="881" y="2204"/>
                  </a:lnTo>
                  <a:lnTo>
                    <a:pt x="869" y="2204"/>
                  </a:lnTo>
                  <a:lnTo>
                    <a:pt x="864" y="2192"/>
                  </a:lnTo>
                  <a:lnTo>
                    <a:pt x="848" y="2183"/>
                  </a:lnTo>
                  <a:lnTo>
                    <a:pt x="810" y="2176"/>
                  </a:lnTo>
                  <a:lnTo>
                    <a:pt x="810" y="2150"/>
                  </a:lnTo>
                  <a:lnTo>
                    <a:pt x="800" y="2150"/>
                  </a:lnTo>
                  <a:lnTo>
                    <a:pt x="784" y="2159"/>
                  </a:lnTo>
                  <a:lnTo>
                    <a:pt x="763" y="2143"/>
                  </a:lnTo>
                  <a:lnTo>
                    <a:pt x="746" y="2126"/>
                  </a:lnTo>
                  <a:lnTo>
                    <a:pt x="739" y="2105"/>
                  </a:lnTo>
                  <a:lnTo>
                    <a:pt x="725" y="2105"/>
                  </a:lnTo>
                  <a:lnTo>
                    <a:pt x="708" y="2110"/>
                  </a:lnTo>
                  <a:lnTo>
                    <a:pt x="701" y="2110"/>
                  </a:lnTo>
                  <a:lnTo>
                    <a:pt x="670" y="2072"/>
                  </a:lnTo>
                  <a:lnTo>
                    <a:pt x="649" y="2072"/>
                  </a:lnTo>
                  <a:lnTo>
                    <a:pt x="616" y="2039"/>
                  </a:lnTo>
                  <a:lnTo>
                    <a:pt x="600" y="2039"/>
                  </a:lnTo>
                  <a:lnTo>
                    <a:pt x="595" y="2015"/>
                  </a:lnTo>
                  <a:lnTo>
                    <a:pt x="545" y="2015"/>
                  </a:lnTo>
                  <a:lnTo>
                    <a:pt x="545" y="2032"/>
                  </a:lnTo>
                  <a:lnTo>
                    <a:pt x="529" y="2039"/>
                  </a:lnTo>
                  <a:lnTo>
                    <a:pt x="524" y="2039"/>
                  </a:lnTo>
                  <a:lnTo>
                    <a:pt x="524" y="2032"/>
                  </a:lnTo>
                  <a:lnTo>
                    <a:pt x="524" y="2032"/>
                  </a:lnTo>
                  <a:lnTo>
                    <a:pt x="524" y="2032"/>
                  </a:lnTo>
                  <a:close/>
                  <a:moveTo>
                    <a:pt x="3354" y="1278"/>
                  </a:moveTo>
                  <a:lnTo>
                    <a:pt x="3337" y="1278"/>
                  </a:lnTo>
                  <a:lnTo>
                    <a:pt x="3354" y="1273"/>
                  </a:lnTo>
                  <a:lnTo>
                    <a:pt x="3354" y="1278"/>
                  </a:lnTo>
                  <a:lnTo>
                    <a:pt x="3354" y="1278"/>
                  </a:lnTo>
                  <a:lnTo>
                    <a:pt x="3354" y="1278"/>
                  </a:lnTo>
                  <a:close/>
                  <a:moveTo>
                    <a:pt x="3229" y="1866"/>
                  </a:moveTo>
                  <a:lnTo>
                    <a:pt x="3240" y="1866"/>
                  </a:lnTo>
                  <a:lnTo>
                    <a:pt x="3245" y="1883"/>
                  </a:lnTo>
                  <a:lnTo>
                    <a:pt x="3229" y="1866"/>
                  </a:lnTo>
                  <a:lnTo>
                    <a:pt x="3229" y="1866"/>
                  </a:lnTo>
                  <a:lnTo>
                    <a:pt x="3229" y="1866"/>
                  </a:lnTo>
                  <a:close/>
                  <a:moveTo>
                    <a:pt x="3337" y="1904"/>
                  </a:moveTo>
                  <a:lnTo>
                    <a:pt x="3347" y="1899"/>
                  </a:lnTo>
                  <a:lnTo>
                    <a:pt x="3385" y="1928"/>
                  </a:lnTo>
                  <a:lnTo>
                    <a:pt x="3363" y="1921"/>
                  </a:lnTo>
                  <a:lnTo>
                    <a:pt x="3337" y="1904"/>
                  </a:lnTo>
                  <a:lnTo>
                    <a:pt x="3337" y="1904"/>
                  </a:lnTo>
                  <a:lnTo>
                    <a:pt x="3337" y="1904"/>
                  </a:lnTo>
                  <a:close/>
                  <a:moveTo>
                    <a:pt x="3401" y="2027"/>
                  </a:moveTo>
                  <a:lnTo>
                    <a:pt x="3408" y="2015"/>
                  </a:lnTo>
                  <a:lnTo>
                    <a:pt x="3408" y="2027"/>
                  </a:lnTo>
                  <a:lnTo>
                    <a:pt x="3401" y="2027"/>
                  </a:lnTo>
                  <a:lnTo>
                    <a:pt x="3401" y="2027"/>
                  </a:lnTo>
                  <a:lnTo>
                    <a:pt x="3401" y="2027"/>
                  </a:lnTo>
                  <a:close/>
                  <a:moveTo>
                    <a:pt x="3392" y="2039"/>
                  </a:moveTo>
                  <a:lnTo>
                    <a:pt x="3392" y="2032"/>
                  </a:lnTo>
                  <a:lnTo>
                    <a:pt x="3401" y="2032"/>
                  </a:lnTo>
                  <a:lnTo>
                    <a:pt x="3418" y="2039"/>
                  </a:lnTo>
                  <a:lnTo>
                    <a:pt x="3418" y="2048"/>
                  </a:lnTo>
                  <a:lnTo>
                    <a:pt x="3392" y="2039"/>
                  </a:lnTo>
                  <a:lnTo>
                    <a:pt x="3392" y="2039"/>
                  </a:lnTo>
                  <a:lnTo>
                    <a:pt x="3392" y="2039"/>
                  </a:lnTo>
                  <a:close/>
                  <a:moveTo>
                    <a:pt x="3385" y="2039"/>
                  </a:moveTo>
                  <a:lnTo>
                    <a:pt x="3385" y="2048"/>
                  </a:lnTo>
                  <a:lnTo>
                    <a:pt x="3385" y="2039"/>
                  </a:lnTo>
                  <a:lnTo>
                    <a:pt x="3385" y="2039"/>
                  </a:lnTo>
                  <a:lnTo>
                    <a:pt x="3385" y="2039"/>
                  </a:lnTo>
                  <a:close/>
                  <a:moveTo>
                    <a:pt x="3418" y="2048"/>
                  </a:moveTo>
                  <a:lnTo>
                    <a:pt x="3422" y="2048"/>
                  </a:lnTo>
                  <a:lnTo>
                    <a:pt x="3422" y="2055"/>
                  </a:lnTo>
                  <a:lnTo>
                    <a:pt x="3418" y="2048"/>
                  </a:lnTo>
                  <a:lnTo>
                    <a:pt x="3418" y="2048"/>
                  </a:lnTo>
                  <a:lnTo>
                    <a:pt x="3418" y="2048"/>
                  </a:lnTo>
                  <a:close/>
                  <a:moveTo>
                    <a:pt x="3401" y="2072"/>
                  </a:moveTo>
                  <a:lnTo>
                    <a:pt x="3392" y="2065"/>
                  </a:lnTo>
                  <a:lnTo>
                    <a:pt x="3401" y="2065"/>
                  </a:lnTo>
                  <a:lnTo>
                    <a:pt x="3408" y="2072"/>
                  </a:lnTo>
                  <a:lnTo>
                    <a:pt x="3401" y="2072"/>
                  </a:lnTo>
                  <a:lnTo>
                    <a:pt x="3401" y="2072"/>
                  </a:lnTo>
                  <a:lnTo>
                    <a:pt x="3401" y="2072"/>
                  </a:lnTo>
                  <a:close/>
                  <a:moveTo>
                    <a:pt x="3385" y="2121"/>
                  </a:moveTo>
                  <a:lnTo>
                    <a:pt x="3385" y="2110"/>
                  </a:lnTo>
                  <a:lnTo>
                    <a:pt x="3392" y="2110"/>
                  </a:lnTo>
                  <a:lnTo>
                    <a:pt x="3385" y="2121"/>
                  </a:lnTo>
                  <a:lnTo>
                    <a:pt x="3385" y="2121"/>
                  </a:lnTo>
                  <a:lnTo>
                    <a:pt x="3385" y="2121"/>
                  </a:lnTo>
                  <a:close/>
                  <a:moveTo>
                    <a:pt x="3333" y="2192"/>
                  </a:moveTo>
                  <a:lnTo>
                    <a:pt x="3337" y="2183"/>
                  </a:lnTo>
                  <a:lnTo>
                    <a:pt x="3337" y="2192"/>
                  </a:lnTo>
                  <a:lnTo>
                    <a:pt x="3337" y="2199"/>
                  </a:lnTo>
                  <a:lnTo>
                    <a:pt x="3333" y="2192"/>
                  </a:lnTo>
                  <a:lnTo>
                    <a:pt x="3333" y="2192"/>
                  </a:lnTo>
                  <a:lnTo>
                    <a:pt x="3333" y="2192"/>
                  </a:lnTo>
                  <a:close/>
                  <a:moveTo>
                    <a:pt x="3229" y="2398"/>
                  </a:moveTo>
                  <a:lnTo>
                    <a:pt x="3229" y="2386"/>
                  </a:lnTo>
                  <a:lnTo>
                    <a:pt x="3240" y="2381"/>
                  </a:lnTo>
                  <a:lnTo>
                    <a:pt x="3240" y="2386"/>
                  </a:lnTo>
                  <a:lnTo>
                    <a:pt x="3240" y="2402"/>
                  </a:lnTo>
                  <a:lnTo>
                    <a:pt x="3229" y="2398"/>
                  </a:lnTo>
                  <a:lnTo>
                    <a:pt x="3229" y="2398"/>
                  </a:lnTo>
                  <a:lnTo>
                    <a:pt x="3229" y="2398"/>
                  </a:lnTo>
                  <a:close/>
                  <a:moveTo>
                    <a:pt x="3115" y="2476"/>
                  </a:moveTo>
                  <a:lnTo>
                    <a:pt x="3120" y="2471"/>
                  </a:lnTo>
                  <a:lnTo>
                    <a:pt x="3115" y="2476"/>
                  </a:lnTo>
                  <a:lnTo>
                    <a:pt x="3115" y="2476"/>
                  </a:lnTo>
                  <a:lnTo>
                    <a:pt x="3115" y="2476"/>
                  </a:lnTo>
                  <a:close/>
                  <a:moveTo>
                    <a:pt x="3077" y="2530"/>
                  </a:moveTo>
                  <a:lnTo>
                    <a:pt x="3068" y="2537"/>
                  </a:lnTo>
                  <a:lnTo>
                    <a:pt x="3061" y="2537"/>
                  </a:lnTo>
                  <a:lnTo>
                    <a:pt x="3068" y="2525"/>
                  </a:lnTo>
                  <a:lnTo>
                    <a:pt x="3077" y="2530"/>
                  </a:lnTo>
                  <a:lnTo>
                    <a:pt x="3077" y="2530"/>
                  </a:lnTo>
                  <a:lnTo>
                    <a:pt x="3077" y="2530"/>
                  </a:lnTo>
                  <a:close/>
                  <a:moveTo>
                    <a:pt x="3056" y="2547"/>
                  </a:moveTo>
                  <a:lnTo>
                    <a:pt x="3056" y="2554"/>
                  </a:lnTo>
                  <a:lnTo>
                    <a:pt x="3040" y="2554"/>
                  </a:lnTo>
                  <a:lnTo>
                    <a:pt x="3056" y="2547"/>
                  </a:lnTo>
                  <a:lnTo>
                    <a:pt x="3056" y="2547"/>
                  </a:lnTo>
                  <a:lnTo>
                    <a:pt x="3056" y="2547"/>
                  </a:lnTo>
                  <a:close/>
                  <a:moveTo>
                    <a:pt x="2846" y="2641"/>
                  </a:moveTo>
                  <a:lnTo>
                    <a:pt x="2851" y="2641"/>
                  </a:lnTo>
                  <a:lnTo>
                    <a:pt x="2846" y="2641"/>
                  </a:lnTo>
                  <a:lnTo>
                    <a:pt x="2846" y="2641"/>
                  </a:lnTo>
                  <a:lnTo>
                    <a:pt x="2846" y="2641"/>
                  </a:lnTo>
                  <a:close/>
                  <a:moveTo>
                    <a:pt x="2792" y="2658"/>
                  </a:moveTo>
                  <a:lnTo>
                    <a:pt x="2787" y="2658"/>
                  </a:lnTo>
                  <a:lnTo>
                    <a:pt x="2792" y="2658"/>
                  </a:lnTo>
                  <a:lnTo>
                    <a:pt x="2792" y="2658"/>
                  </a:lnTo>
                  <a:lnTo>
                    <a:pt x="2792" y="2658"/>
                  </a:lnTo>
                  <a:close/>
                  <a:moveTo>
                    <a:pt x="2742" y="2691"/>
                  </a:moveTo>
                  <a:lnTo>
                    <a:pt x="2742" y="2681"/>
                  </a:lnTo>
                  <a:lnTo>
                    <a:pt x="2754" y="2681"/>
                  </a:lnTo>
                  <a:lnTo>
                    <a:pt x="2742" y="2691"/>
                  </a:lnTo>
                  <a:lnTo>
                    <a:pt x="2742" y="2691"/>
                  </a:lnTo>
                  <a:lnTo>
                    <a:pt x="2742" y="2691"/>
                  </a:lnTo>
                  <a:close/>
                  <a:moveTo>
                    <a:pt x="2683" y="2698"/>
                  </a:moveTo>
                  <a:lnTo>
                    <a:pt x="2683" y="2691"/>
                  </a:lnTo>
                  <a:lnTo>
                    <a:pt x="2690" y="2691"/>
                  </a:lnTo>
                  <a:lnTo>
                    <a:pt x="2683" y="2698"/>
                  </a:lnTo>
                  <a:lnTo>
                    <a:pt x="2683" y="2698"/>
                  </a:lnTo>
                  <a:lnTo>
                    <a:pt x="2683" y="2698"/>
                  </a:lnTo>
                  <a:close/>
                  <a:moveTo>
                    <a:pt x="2591" y="2719"/>
                  </a:moveTo>
                  <a:lnTo>
                    <a:pt x="2598" y="2719"/>
                  </a:lnTo>
                  <a:lnTo>
                    <a:pt x="2591" y="2731"/>
                  </a:lnTo>
                  <a:lnTo>
                    <a:pt x="2581" y="2719"/>
                  </a:lnTo>
                  <a:lnTo>
                    <a:pt x="2591" y="2719"/>
                  </a:lnTo>
                  <a:lnTo>
                    <a:pt x="2591" y="2719"/>
                  </a:lnTo>
                  <a:lnTo>
                    <a:pt x="2591" y="2719"/>
                  </a:lnTo>
                  <a:close/>
                  <a:moveTo>
                    <a:pt x="2581" y="2731"/>
                  </a:moveTo>
                  <a:lnTo>
                    <a:pt x="2591" y="2731"/>
                  </a:lnTo>
                  <a:lnTo>
                    <a:pt x="2591" y="2736"/>
                  </a:lnTo>
                  <a:lnTo>
                    <a:pt x="2570" y="2736"/>
                  </a:lnTo>
                  <a:lnTo>
                    <a:pt x="2570" y="2731"/>
                  </a:lnTo>
                  <a:lnTo>
                    <a:pt x="2581" y="2731"/>
                  </a:lnTo>
                  <a:lnTo>
                    <a:pt x="2581" y="2731"/>
                  </a:lnTo>
                  <a:lnTo>
                    <a:pt x="2581" y="2731"/>
                  </a:lnTo>
                  <a:close/>
                  <a:moveTo>
                    <a:pt x="2527" y="2941"/>
                  </a:moveTo>
                  <a:lnTo>
                    <a:pt x="2522" y="2953"/>
                  </a:lnTo>
                  <a:lnTo>
                    <a:pt x="2515" y="2941"/>
                  </a:lnTo>
                  <a:lnTo>
                    <a:pt x="2463" y="2920"/>
                  </a:lnTo>
                  <a:lnTo>
                    <a:pt x="2451" y="2880"/>
                  </a:lnTo>
                  <a:lnTo>
                    <a:pt x="2463" y="2858"/>
                  </a:lnTo>
                  <a:lnTo>
                    <a:pt x="2506" y="2830"/>
                  </a:lnTo>
                  <a:lnTo>
                    <a:pt x="2489" y="2830"/>
                  </a:lnTo>
                  <a:lnTo>
                    <a:pt x="2506" y="2818"/>
                  </a:lnTo>
                  <a:lnTo>
                    <a:pt x="2515" y="2825"/>
                  </a:lnTo>
                  <a:lnTo>
                    <a:pt x="2522" y="2809"/>
                  </a:lnTo>
                  <a:lnTo>
                    <a:pt x="2553" y="2818"/>
                  </a:lnTo>
                  <a:lnTo>
                    <a:pt x="2560" y="2809"/>
                  </a:lnTo>
                  <a:lnTo>
                    <a:pt x="2591" y="2809"/>
                  </a:lnTo>
                  <a:lnTo>
                    <a:pt x="2598" y="2802"/>
                  </a:lnTo>
                  <a:lnTo>
                    <a:pt x="2607" y="2809"/>
                  </a:lnTo>
                  <a:lnTo>
                    <a:pt x="2614" y="2809"/>
                  </a:lnTo>
                  <a:lnTo>
                    <a:pt x="2624" y="2842"/>
                  </a:lnTo>
                  <a:lnTo>
                    <a:pt x="2607" y="2847"/>
                  </a:lnTo>
                  <a:lnTo>
                    <a:pt x="2591" y="2875"/>
                  </a:lnTo>
                  <a:lnTo>
                    <a:pt x="2581" y="2875"/>
                  </a:lnTo>
                  <a:lnTo>
                    <a:pt x="2591" y="2880"/>
                  </a:lnTo>
                  <a:lnTo>
                    <a:pt x="2591" y="2901"/>
                  </a:lnTo>
                  <a:lnTo>
                    <a:pt x="2560" y="2920"/>
                  </a:lnTo>
                  <a:lnTo>
                    <a:pt x="2553" y="2936"/>
                  </a:lnTo>
                  <a:lnTo>
                    <a:pt x="2539" y="2936"/>
                  </a:lnTo>
                  <a:lnTo>
                    <a:pt x="2527" y="2941"/>
                  </a:lnTo>
                  <a:lnTo>
                    <a:pt x="2527" y="2941"/>
                  </a:lnTo>
                  <a:lnTo>
                    <a:pt x="2527" y="2941"/>
                  </a:lnTo>
                  <a:close/>
                </a:path>
              </a:pathLst>
            </a:custGeom>
            <a:solidFill>
              <a:schemeClr val="bg2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73" name="Freeform 415">
              <a:extLst>
                <a:ext uri="{FF2B5EF4-FFF2-40B4-BE49-F238E27FC236}">
                  <a16:creationId xmlns:a16="http://schemas.microsoft.com/office/drawing/2014/main" id="{60C2C2EF-5CEA-413F-8A7D-5C1842F34FA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983547" y="2937495"/>
              <a:ext cx="463034" cy="497775"/>
            </a:xfrm>
            <a:custGeom>
              <a:avLst/>
              <a:gdLst>
                <a:gd name="T0" fmla="*/ 2915 w 3017"/>
                <a:gd name="T1" fmla="*/ 404 h 3243"/>
                <a:gd name="T2" fmla="*/ 2736 w 3017"/>
                <a:gd name="T3" fmla="*/ 1103 h 3243"/>
                <a:gd name="T4" fmla="*/ 2698 w 3017"/>
                <a:gd name="T5" fmla="*/ 1609 h 3243"/>
                <a:gd name="T6" fmla="*/ 2643 w 3017"/>
                <a:gd name="T7" fmla="*/ 2086 h 3243"/>
                <a:gd name="T8" fmla="*/ 2596 w 3017"/>
                <a:gd name="T9" fmla="*/ 2490 h 3243"/>
                <a:gd name="T10" fmla="*/ 2811 w 3017"/>
                <a:gd name="T11" fmla="*/ 2877 h 3243"/>
                <a:gd name="T12" fmla="*/ 2651 w 3017"/>
                <a:gd name="T13" fmla="*/ 2939 h 3243"/>
                <a:gd name="T14" fmla="*/ 2596 w 3017"/>
                <a:gd name="T15" fmla="*/ 2917 h 3243"/>
                <a:gd name="T16" fmla="*/ 2551 w 3017"/>
                <a:gd name="T17" fmla="*/ 2877 h 3243"/>
                <a:gd name="T18" fmla="*/ 2537 w 3017"/>
                <a:gd name="T19" fmla="*/ 2872 h 3243"/>
                <a:gd name="T20" fmla="*/ 2466 w 3017"/>
                <a:gd name="T21" fmla="*/ 2712 h 3243"/>
                <a:gd name="T22" fmla="*/ 2483 w 3017"/>
                <a:gd name="T23" fmla="*/ 2580 h 3243"/>
                <a:gd name="T24" fmla="*/ 2504 w 3017"/>
                <a:gd name="T25" fmla="*/ 2457 h 3243"/>
                <a:gd name="T26" fmla="*/ 2407 w 3017"/>
                <a:gd name="T27" fmla="*/ 2358 h 3243"/>
                <a:gd name="T28" fmla="*/ 2483 w 3017"/>
                <a:gd name="T29" fmla="*/ 2346 h 3243"/>
                <a:gd name="T30" fmla="*/ 2542 w 3017"/>
                <a:gd name="T31" fmla="*/ 2069 h 3243"/>
                <a:gd name="T32" fmla="*/ 2483 w 3017"/>
                <a:gd name="T33" fmla="*/ 1857 h 3243"/>
                <a:gd name="T34" fmla="*/ 2665 w 3017"/>
                <a:gd name="T35" fmla="*/ 1165 h 3243"/>
                <a:gd name="T36" fmla="*/ 2736 w 3017"/>
                <a:gd name="T37" fmla="*/ 421 h 3243"/>
                <a:gd name="T38" fmla="*/ 2462 w 3017"/>
                <a:gd name="T39" fmla="*/ 2053 h 3243"/>
                <a:gd name="T40" fmla="*/ 2513 w 3017"/>
                <a:gd name="T41" fmla="*/ 2029 h 3243"/>
                <a:gd name="T42" fmla="*/ 2445 w 3017"/>
                <a:gd name="T43" fmla="*/ 2086 h 3243"/>
                <a:gd name="T44" fmla="*/ 2483 w 3017"/>
                <a:gd name="T45" fmla="*/ 2135 h 3243"/>
                <a:gd name="T46" fmla="*/ 2499 w 3017"/>
                <a:gd name="T47" fmla="*/ 2152 h 3243"/>
                <a:gd name="T48" fmla="*/ 2537 w 3017"/>
                <a:gd name="T49" fmla="*/ 2173 h 3243"/>
                <a:gd name="T50" fmla="*/ 2483 w 3017"/>
                <a:gd name="T51" fmla="*/ 2173 h 3243"/>
                <a:gd name="T52" fmla="*/ 2466 w 3017"/>
                <a:gd name="T53" fmla="*/ 2190 h 3243"/>
                <a:gd name="T54" fmla="*/ 2483 w 3017"/>
                <a:gd name="T55" fmla="*/ 2197 h 3243"/>
                <a:gd name="T56" fmla="*/ 2504 w 3017"/>
                <a:gd name="T57" fmla="*/ 2235 h 3243"/>
                <a:gd name="T58" fmla="*/ 2450 w 3017"/>
                <a:gd name="T59" fmla="*/ 2263 h 3243"/>
                <a:gd name="T60" fmla="*/ 2450 w 3017"/>
                <a:gd name="T61" fmla="*/ 2272 h 3243"/>
                <a:gd name="T62" fmla="*/ 2488 w 3017"/>
                <a:gd name="T63" fmla="*/ 2301 h 3243"/>
                <a:gd name="T64" fmla="*/ 2488 w 3017"/>
                <a:gd name="T65" fmla="*/ 2395 h 3243"/>
                <a:gd name="T66" fmla="*/ 2488 w 3017"/>
                <a:gd name="T67" fmla="*/ 2473 h 3243"/>
                <a:gd name="T68" fmla="*/ 2395 w 3017"/>
                <a:gd name="T69" fmla="*/ 2490 h 3243"/>
                <a:gd name="T70" fmla="*/ 2450 w 3017"/>
                <a:gd name="T71" fmla="*/ 2511 h 3243"/>
                <a:gd name="T72" fmla="*/ 2395 w 3017"/>
                <a:gd name="T73" fmla="*/ 2551 h 3243"/>
                <a:gd name="T74" fmla="*/ 2412 w 3017"/>
                <a:gd name="T75" fmla="*/ 2622 h 3243"/>
                <a:gd name="T76" fmla="*/ 2407 w 3017"/>
                <a:gd name="T77" fmla="*/ 2561 h 3243"/>
                <a:gd name="T78" fmla="*/ 2424 w 3017"/>
                <a:gd name="T79" fmla="*/ 2601 h 3243"/>
                <a:gd name="T80" fmla="*/ 2428 w 3017"/>
                <a:gd name="T81" fmla="*/ 2679 h 3243"/>
                <a:gd name="T82" fmla="*/ 2391 w 3017"/>
                <a:gd name="T83" fmla="*/ 2745 h 3243"/>
                <a:gd name="T84" fmla="*/ 2462 w 3017"/>
                <a:gd name="T85" fmla="*/ 2745 h 3243"/>
                <a:gd name="T86" fmla="*/ 2424 w 3017"/>
                <a:gd name="T87" fmla="*/ 2790 h 3243"/>
                <a:gd name="T88" fmla="*/ 2391 w 3017"/>
                <a:gd name="T89" fmla="*/ 2823 h 3243"/>
                <a:gd name="T90" fmla="*/ 2488 w 3017"/>
                <a:gd name="T91" fmla="*/ 2823 h 3243"/>
                <a:gd name="T92" fmla="*/ 2504 w 3017"/>
                <a:gd name="T93" fmla="*/ 2877 h 3243"/>
                <a:gd name="T94" fmla="*/ 2445 w 3017"/>
                <a:gd name="T95" fmla="*/ 2877 h 3243"/>
                <a:gd name="T96" fmla="*/ 2731 w 3017"/>
                <a:gd name="T97" fmla="*/ 3116 h 3243"/>
                <a:gd name="T98" fmla="*/ 2752 w 3017"/>
                <a:gd name="T99" fmla="*/ 3106 h 3243"/>
                <a:gd name="T100" fmla="*/ 2736 w 3017"/>
                <a:gd name="T101" fmla="*/ 2950 h 3243"/>
                <a:gd name="T102" fmla="*/ 2530 w 3017"/>
                <a:gd name="T103" fmla="*/ 2983 h 3243"/>
                <a:gd name="T104" fmla="*/ 2537 w 3017"/>
                <a:gd name="T105" fmla="*/ 3012 h 3243"/>
                <a:gd name="T106" fmla="*/ 2499 w 3017"/>
                <a:gd name="T107" fmla="*/ 3012 h 3243"/>
                <a:gd name="T108" fmla="*/ 2643 w 3017"/>
                <a:gd name="T109" fmla="*/ 3045 h 3243"/>
                <a:gd name="T110" fmla="*/ 2747 w 3017"/>
                <a:gd name="T111" fmla="*/ 3078 h 3243"/>
                <a:gd name="T112" fmla="*/ 2714 w 3017"/>
                <a:gd name="T113" fmla="*/ 3139 h 3243"/>
                <a:gd name="T114" fmla="*/ 2953 w 3017"/>
                <a:gd name="T115" fmla="*/ 3149 h 3243"/>
                <a:gd name="T116" fmla="*/ 2891 w 3017"/>
                <a:gd name="T117" fmla="*/ 3177 h 3243"/>
                <a:gd name="T118" fmla="*/ 2967 w 3017"/>
                <a:gd name="T119" fmla="*/ 3156 h 3243"/>
                <a:gd name="T120" fmla="*/ 2785 w 3017"/>
                <a:gd name="T121" fmla="*/ 3194 h 3243"/>
                <a:gd name="T122" fmla="*/ 2929 w 3017"/>
                <a:gd name="T123" fmla="*/ 3243 h 3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17" h="3243">
                  <a:moveTo>
                    <a:pt x="2736" y="66"/>
                  </a:moveTo>
                  <a:lnTo>
                    <a:pt x="2769" y="54"/>
                  </a:lnTo>
                  <a:lnTo>
                    <a:pt x="2785" y="38"/>
                  </a:lnTo>
                  <a:lnTo>
                    <a:pt x="2773" y="17"/>
                  </a:lnTo>
                  <a:lnTo>
                    <a:pt x="2790" y="17"/>
                  </a:lnTo>
                  <a:lnTo>
                    <a:pt x="2802" y="0"/>
                  </a:lnTo>
                  <a:lnTo>
                    <a:pt x="2811" y="38"/>
                  </a:lnTo>
                  <a:lnTo>
                    <a:pt x="2828" y="38"/>
                  </a:lnTo>
                  <a:lnTo>
                    <a:pt x="2823" y="50"/>
                  </a:lnTo>
                  <a:lnTo>
                    <a:pt x="2839" y="111"/>
                  </a:lnTo>
                  <a:lnTo>
                    <a:pt x="2877" y="144"/>
                  </a:lnTo>
                  <a:lnTo>
                    <a:pt x="2854" y="165"/>
                  </a:lnTo>
                  <a:lnTo>
                    <a:pt x="2865" y="182"/>
                  </a:lnTo>
                  <a:lnTo>
                    <a:pt x="2865" y="189"/>
                  </a:lnTo>
                  <a:lnTo>
                    <a:pt x="2854" y="199"/>
                  </a:lnTo>
                  <a:lnTo>
                    <a:pt x="2854" y="215"/>
                  </a:lnTo>
                  <a:lnTo>
                    <a:pt x="2854" y="222"/>
                  </a:lnTo>
                  <a:lnTo>
                    <a:pt x="2877" y="239"/>
                  </a:lnTo>
                  <a:lnTo>
                    <a:pt x="2865" y="250"/>
                  </a:lnTo>
                  <a:lnTo>
                    <a:pt x="2865" y="255"/>
                  </a:lnTo>
                  <a:lnTo>
                    <a:pt x="2877" y="260"/>
                  </a:lnTo>
                  <a:lnTo>
                    <a:pt x="2891" y="288"/>
                  </a:lnTo>
                  <a:lnTo>
                    <a:pt x="2891" y="310"/>
                  </a:lnTo>
                  <a:lnTo>
                    <a:pt x="2899" y="343"/>
                  </a:lnTo>
                  <a:lnTo>
                    <a:pt x="2908" y="350"/>
                  </a:lnTo>
                  <a:lnTo>
                    <a:pt x="2915" y="383"/>
                  </a:lnTo>
                  <a:lnTo>
                    <a:pt x="2915" y="404"/>
                  </a:lnTo>
                  <a:lnTo>
                    <a:pt x="2936" y="404"/>
                  </a:lnTo>
                  <a:lnTo>
                    <a:pt x="2962" y="404"/>
                  </a:lnTo>
                  <a:lnTo>
                    <a:pt x="2979" y="416"/>
                  </a:lnTo>
                  <a:lnTo>
                    <a:pt x="2953" y="494"/>
                  </a:lnTo>
                  <a:lnTo>
                    <a:pt x="2882" y="527"/>
                  </a:lnTo>
                  <a:lnTo>
                    <a:pt x="2865" y="548"/>
                  </a:lnTo>
                  <a:lnTo>
                    <a:pt x="2882" y="581"/>
                  </a:lnTo>
                  <a:lnTo>
                    <a:pt x="2865" y="581"/>
                  </a:lnTo>
                  <a:lnTo>
                    <a:pt x="2861" y="605"/>
                  </a:lnTo>
                  <a:lnTo>
                    <a:pt x="2877" y="659"/>
                  </a:lnTo>
                  <a:lnTo>
                    <a:pt x="2865" y="666"/>
                  </a:lnTo>
                  <a:lnTo>
                    <a:pt x="2861" y="683"/>
                  </a:lnTo>
                  <a:lnTo>
                    <a:pt x="2882" y="716"/>
                  </a:lnTo>
                  <a:lnTo>
                    <a:pt x="2877" y="732"/>
                  </a:lnTo>
                  <a:lnTo>
                    <a:pt x="2844" y="732"/>
                  </a:lnTo>
                  <a:lnTo>
                    <a:pt x="2823" y="803"/>
                  </a:lnTo>
                  <a:lnTo>
                    <a:pt x="2790" y="832"/>
                  </a:lnTo>
                  <a:lnTo>
                    <a:pt x="2785" y="886"/>
                  </a:lnTo>
                  <a:lnTo>
                    <a:pt x="2757" y="905"/>
                  </a:lnTo>
                  <a:lnTo>
                    <a:pt x="2773" y="976"/>
                  </a:lnTo>
                  <a:lnTo>
                    <a:pt x="2769" y="980"/>
                  </a:lnTo>
                  <a:lnTo>
                    <a:pt x="2752" y="992"/>
                  </a:lnTo>
                  <a:lnTo>
                    <a:pt x="2747" y="1025"/>
                  </a:lnTo>
                  <a:lnTo>
                    <a:pt x="2747" y="1037"/>
                  </a:lnTo>
                  <a:lnTo>
                    <a:pt x="2731" y="1054"/>
                  </a:lnTo>
                  <a:lnTo>
                    <a:pt x="2719" y="1082"/>
                  </a:lnTo>
                  <a:lnTo>
                    <a:pt x="2736" y="1103"/>
                  </a:lnTo>
                  <a:lnTo>
                    <a:pt x="2752" y="1108"/>
                  </a:lnTo>
                  <a:lnTo>
                    <a:pt x="2736" y="1124"/>
                  </a:lnTo>
                  <a:lnTo>
                    <a:pt x="2747" y="1136"/>
                  </a:lnTo>
                  <a:lnTo>
                    <a:pt x="2752" y="1160"/>
                  </a:lnTo>
                  <a:lnTo>
                    <a:pt x="2752" y="1176"/>
                  </a:lnTo>
                  <a:lnTo>
                    <a:pt x="2769" y="1193"/>
                  </a:lnTo>
                  <a:lnTo>
                    <a:pt x="2757" y="1214"/>
                  </a:lnTo>
                  <a:lnTo>
                    <a:pt x="2769" y="1219"/>
                  </a:lnTo>
                  <a:lnTo>
                    <a:pt x="2773" y="1219"/>
                  </a:lnTo>
                  <a:lnTo>
                    <a:pt x="2785" y="1231"/>
                  </a:lnTo>
                  <a:lnTo>
                    <a:pt x="2769" y="1259"/>
                  </a:lnTo>
                  <a:lnTo>
                    <a:pt x="2773" y="1292"/>
                  </a:lnTo>
                  <a:lnTo>
                    <a:pt x="2757" y="1304"/>
                  </a:lnTo>
                  <a:lnTo>
                    <a:pt x="2736" y="1370"/>
                  </a:lnTo>
                  <a:lnTo>
                    <a:pt x="2719" y="1380"/>
                  </a:lnTo>
                  <a:lnTo>
                    <a:pt x="2736" y="1387"/>
                  </a:lnTo>
                  <a:lnTo>
                    <a:pt x="2747" y="1424"/>
                  </a:lnTo>
                  <a:lnTo>
                    <a:pt x="2736" y="1453"/>
                  </a:lnTo>
                  <a:lnTo>
                    <a:pt x="2714" y="1458"/>
                  </a:lnTo>
                  <a:lnTo>
                    <a:pt x="2714" y="1474"/>
                  </a:lnTo>
                  <a:lnTo>
                    <a:pt x="2693" y="1481"/>
                  </a:lnTo>
                  <a:lnTo>
                    <a:pt x="2681" y="1507"/>
                  </a:lnTo>
                  <a:lnTo>
                    <a:pt x="2693" y="1531"/>
                  </a:lnTo>
                  <a:lnTo>
                    <a:pt x="2681" y="1547"/>
                  </a:lnTo>
                  <a:lnTo>
                    <a:pt x="2693" y="1564"/>
                  </a:lnTo>
                  <a:lnTo>
                    <a:pt x="2681" y="1580"/>
                  </a:lnTo>
                  <a:lnTo>
                    <a:pt x="2698" y="1609"/>
                  </a:lnTo>
                  <a:lnTo>
                    <a:pt x="2698" y="1642"/>
                  </a:lnTo>
                  <a:lnTo>
                    <a:pt x="2702" y="1658"/>
                  </a:lnTo>
                  <a:lnTo>
                    <a:pt x="2698" y="1663"/>
                  </a:lnTo>
                  <a:lnTo>
                    <a:pt x="2665" y="1680"/>
                  </a:lnTo>
                  <a:lnTo>
                    <a:pt x="2665" y="1713"/>
                  </a:lnTo>
                  <a:lnTo>
                    <a:pt x="2660" y="1746"/>
                  </a:lnTo>
                  <a:lnTo>
                    <a:pt x="2643" y="1736"/>
                  </a:lnTo>
                  <a:lnTo>
                    <a:pt x="2651" y="1769"/>
                  </a:lnTo>
                  <a:lnTo>
                    <a:pt x="2639" y="1791"/>
                  </a:lnTo>
                  <a:lnTo>
                    <a:pt x="2643" y="1802"/>
                  </a:lnTo>
                  <a:lnTo>
                    <a:pt x="2639" y="1807"/>
                  </a:lnTo>
                  <a:lnTo>
                    <a:pt x="2627" y="1840"/>
                  </a:lnTo>
                  <a:lnTo>
                    <a:pt x="2639" y="1857"/>
                  </a:lnTo>
                  <a:lnTo>
                    <a:pt x="2639" y="1913"/>
                  </a:lnTo>
                  <a:lnTo>
                    <a:pt x="2627" y="1918"/>
                  </a:lnTo>
                  <a:lnTo>
                    <a:pt x="2643" y="1951"/>
                  </a:lnTo>
                  <a:lnTo>
                    <a:pt x="2627" y="1958"/>
                  </a:lnTo>
                  <a:lnTo>
                    <a:pt x="2622" y="1958"/>
                  </a:lnTo>
                  <a:lnTo>
                    <a:pt x="2613" y="1975"/>
                  </a:lnTo>
                  <a:lnTo>
                    <a:pt x="2622" y="1975"/>
                  </a:lnTo>
                  <a:lnTo>
                    <a:pt x="2613" y="1996"/>
                  </a:lnTo>
                  <a:lnTo>
                    <a:pt x="2613" y="2041"/>
                  </a:lnTo>
                  <a:lnTo>
                    <a:pt x="2643" y="2046"/>
                  </a:lnTo>
                  <a:lnTo>
                    <a:pt x="2643" y="2062"/>
                  </a:lnTo>
                  <a:lnTo>
                    <a:pt x="2627" y="2062"/>
                  </a:lnTo>
                  <a:lnTo>
                    <a:pt x="2627" y="2069"/>
                  </a:lnTo>
                  <a:lnTo>
                    <a:pt x="2643" y="2086"/>
                  </a:lnTo>
                  <a:lnTo>
                    <a:pt x="2643" y="2095"/>
                  </a:lnTo>
                  <a:lnTo>
                    <a:pt x="2639" y="2102"/>
                  </a:lnTo>
                  <a:lnTo>
                    <a:pt x="2651" y="2119"/>
                  </a:lnTo>
                  <a:lnTo>
                    <a:pt x="2639" y="2135"/>
                  </a:lnTo>
                  <a:lnTo>
                    <a:pt x="2639" y="2157"/>
                  </a:lnTo>
                  <a:lnTo>
                    <a:pt x="2681" y="2157"/>
                  </a:lnTo>
                  <a:lnTo>
                    <a:pt x="2693" y="2161"/>
                  </a:lnTo>
                  <a:lnTo>
                    <a:pt x="2676" y="2190"/>
                  </a:lnTo>
                  <a:lnTo>
                    <a:pt x="2622" y="2190"/>
                  </a:lnTo>
                  <a:lnTo>
                    <a:pt x="2622" y="2206"/>
                  </a:lnTo>
                  <a:lnTo>
                    <a:pt x="2651" y="2206"/>
                  </a:lnTo>
                  <a:lnTo>
                    <a:pt x="2676" y="2235"/>
                  </a:lnTo>
                  <a:lnTo>
                    <a:pt x="2660" y="2251"/>
                  </a:lnTo>
                  <a:lnTo>
                    <a:pt x="2643" y="2263"/>
                  </a:lnTo>
                  <a:lnTo>
                    <a:pt x="2639" y="2268"/>
                  </a:lnTo>
                  <a:lnTo>
                    <a:pt x="2643" y="2284"/>
                  </a:lnTo>
                  <a:lnTo>
                    <a:pt x="2651" y="2301"/>
                  </a:lnTo>
                  <a:lnTo>
                    <a:pt x="2627" y="2317"/>
                  </a:lnTo>
                  <a:lnTo>
                    <a:pt x="2643" y="2324"/>
                  </a:lnTo>
                  <a:lnTo>
                    <a:pt x="2643" y="2362"/>
                  </a:lnTo>
                  <a:lnTo>
                    <a:pt x="2627" y="2374"/>
                  </a:lnTo>
                  <a:lnTo>
                    <a:pt x="2627" y="2395"/>
                  </a:lnTo>
                  <a:lnTo>
                    <a:pt x="2639" y="2412"/>
                  </a:lnTo>
                  <a:lnTo>
                    <a:pt x="2596" y="2433"/>
                  </a:lnTo>
                  <a:lnTo>
                    <a:pt x="2596" y="2440"/>
                  </a:lnTo>
                  <a:lnTo>
                    <a:pt x="2589" y="2473"/>
                  </a:lnTo>
                  <a:lnTo>
                    <a:pt x="2596" y="2490"/>
                  </a:lnTo>
                  <a:lnTo>
                    <a:pt x="2606" y="2511"/>
                  </a:lnTo>
                  <a:lnTo>
                    <a:pt x="2584" y="2523"/>
                  </a:lnTo>
                  <a:lnTo>
                    <a:pt x="2584" y="2551"/>
                  </a:lnTo>
                  <a:lnTo>
                    <a:pt x="2551" y="2568"/>
                  </a:lnTo>
                  <a:lnTo>
                    <a:pt x="2542" y="2596"/>
                  </a:lnTo>
                  <a:lnTo>
                    <a:pt x="2551" y="2601"/>
                  </a:lnTo>
                  <a:lnTo>
                    <a:pt x="2542" y="2601"/>
                  </a:lnTo>
                  <a:lnTo>
                    <a:pt x="2521" y="2601"/>
                  </a:lnTo>
                  <a:lnTo>
                    <a:pt x="2513" y="2622"/>
                  </a:lnTo>
                  <a:lnTo>
                    <a:pt x="2521" y="2650"/>
                  </a:lnTo>
                  <a:lnTo>
                    <a:pt x="2513" y="2655"/>
                  </a:lnTo>
                  <a:lnTo>
                    <a:pt x="2521" y="2662"/>
                  </a:lnTo>
                  <a:lnTo>
                    <a:pt x="2521" y="2679"/>
                  </a:lnTo>
                  <a:lnTo>
                    <a:pt x="2537" y="2695"/>
                  </a:lnTo>
                  <a:lnTo>
                    <a:pt x="2542" y="2733"/>
                  </a:lnTo>
                  <a:lnTo>
                    <a:pt x="2575" y="2728"/>
                  </a:lnTo>
                  <a:lnTo>
                    <a:pt x="2606" y="2728"/>
                  </a:lnTo>
                  <a:lnTo>
                    <a:pt x="2606" y="2761"/>
                  </a:lnTo>
                  <a:lnTo>
                    <a:pt x="2596" y="2773"/>
                  </a:lnTo>
                  <a:lnTo>
                    <a:pt x="2606" y="2783"/>
                  </a:lnTo>
                  <a:lnTo>
                    <a:pt x="2596" y="2806"/>
                  </a:lnTo>
                  <a:lnTo>
                    <a:pt x="2606" y="2828"/>
                  </a:lnTo>
                  <a:lnTo>
                    <a:pt x="2627" y="2844"/>
                  </a:lnTo>
                  <a:lnTo>
                    <a:pt x="2627" y="2856"/>
                  </a:lnTo>
                  <a:lnTo>
                    <a:pt x="2769" y="2856"/>
                  </a:lnTo>
                  <a:lnTo>
                    <a:pt x="2877" y="2894"/>
                  </a:lnTo>
                  <a:lnTo>
                    <a:pt x="2811" y="2877"/>
                  </a:lnTo>
                  <a:lnTo>
                    <a:pt x="2802" y="2884"/>
                  </a:lnTo>
                  <a:lnTo>
                    <a:pt x="2802" y="2894"/>
                  </a:lnTo>
                  <a:lnTo>
                    <a:pt x="2790" y="2910"/>
                  </a:lnTo>
                  <a:lnTo>
                    <a:pt x="2773" y="2901"/>
                  </a:lnTo>
                  <a:lnTo>
                    <a:pt x="2702" y="2927"/>
                  </a:lnTo>
                  <a:lnTo>
                    <a:pt x="2702" y="2950"/>
                  </a:lnTo>
                  <a:lnTo>
                    <a:pt x="2698" y="2988"/>
                  </a:lnTo>
                  <a:lnTo>
                    <a:pt x="2698" y="3028"/>
                  </a:lnTo>
                  <a:lnTo>
                    <a:pt x="2676" y="3045"/>
                  </a:lnTo>
                  <a:lnTo>
                    <a:pt x="2613" y="3021"/>
                  </a:lnTo>
                  <a:lnTo>
                    <a:pt x="2589" y="2995"/>
                  </a:lnTo>
                  <a:lnTo>
                    <a:pt x="2606" y="2983"/>
                  </a:lnTo>
                  <a:lnTo>
                    <a:pt x="2613" y="2983"/>
                  </a:lnTo>
                  <a:lnTo>
                    <a:pt x="2622" y="2988"/>
                  </a:lnTo>
                  <a:lnTo>
                    <a:pt x="2606" y="2995"/>
                  </a:lnTo>
                  <a:lnTo>
                    <a:pt x="2613" y="2995"/>
                  </a:lnTo>
                  <a:lnTo>
                    <a:pt x="2622" y="2988"/>
                  </a:lnTo>
                  <a:lnTo>
                    <a:pt x="2622" y="2972"/>
                  </a:lnTo>
                  <a:lnTo>
                    <a:pt x="2639" y="2972"/>
                  </a:lnTo>
                  <a:lnTo>
                    <a:pt x="2639" y="2995"/>
                  </a:lnTo>
                  <a:lnTo>
                    <a:pt x="2622" y="3012"/>
                  </a:lnTo>
                  <a:lnTo>
                    <a:pt x="2639" y="3005"/>
                  </a:lnTo>
                  <a:lnTo>
                    <a:pt x="2643" y="2972"/>
                  </a:lnTo>
                  <a:lnTo>
                    <a:pt x="2665" y="2967"/>
                  </a:lnTo>
                  <a:lnTo>
                    <a:pt x="2681" y="2939"/>
                  </a:lnTo>
                  <a:lnTo>
                    <a:pt x="2681" y="2934"/>
                  </a:lnTo>
                  <a:lnTo>
                    <a:pt x="2651" y="2939"/>
                  </a:lnTo>
                  <a:lnTo>
                    <a:pt x="2622" y="2967"/>
                  </a:lnTo>
                  <a:lnTo>
                    <a:pt x="2606" y="2955"/>
                  </a:lnTo>
                  <a:lnTo>
                    <a:pt x="2584" y="2967"/>
                  </a:lnTo>
                  <a:lnTo>
                    <a:pt x="2613" y="2972"/>
                  </a:lnTo>
                  <a:lnTo>
                    <a:pt x="2589" y="2972"/>
                  </a:lnTo>
                  <a:lnTo>
                    <a:pt x="2596" y="2983"/>
                  </a:lnTo>
                  <a:lnTo>
                    <a:pt x="2589" y="2988"/>
                  </a:lnTo>
                  <a:lnTo>
                    <a:pt x="2575" y="2988"/>
                  </a:lnTo>
                  <a:lnTo>
                    <a:pt x="2596" y="3005"/>
                  </a:lnTo>
                  <a:lnTo>
                    <a:pt x="2537" y="2972"/>
                  </a:lnTo>
                  <a:lnTo>
                    <a:pt x="2537" y="2967"/>
                  </a:lnTo>
                  <a:lnTo>
                    <a:pt x="2558" y="2972"/>
                  </a:lnTo>
                  <a:lnTo>
                    <a:pt x="2575" y="2983"/>
                  </a:lnTo>
                  <a:lnTo>
                    <a:pt x="2568" y="2972"/>
                  </a:lnTo>
                  <a:lnTo>
                    <a:pt x="2575" y="2967"/>
                  </a:lnTo>
                  <a:lnTo>
                    <a:pt x="2558" y="2967"/>
                  </a:lnTo>
                  <a:lnTo>
                    <a:pt x="2568" y="2955"/>
                  </a:lnTo>
                  <a:lnTo>
                    <a:pt x="2558" y="2939"/>
                  </a:lnTo>
                  <a:lnTo>
                    <a:pt x="2575" y="2927"/>
                  </a:lnTo>
                  <a:lnTo>
                    <a:pt x="2589" y="2934"/>
                  </a:lnTo>
                  <a:lnTo>
                    <a:pt x="2613" y="2917"/>
                  </a:lnTo>
                  <a:lnTo>
                    <a:pt x="2639" y="2927"/>
                  </a:lnTo>
                  <a:lnTo>
                    <a:pt x="2660" y="2917"/>
                  </a:lnTo>
                  <a:lnTo>
                    <a:pt x="2660" y="2910"/>
                  </a:lnTo>
                  <a:lnTo>
                    <a:pt x="2613" y="2910"/>
                  </a:lnTo>
                  <a:lnTo>
                    <a:pt x="2596" y="2910"/>
                  </a:lnTo>
                  <a:lnTo>
                    <a:pt x="2596" y="2917"/>
                  </a:lnTo>
                  <a:lnTo>
                    <a:pt x="2584" y="2917"/>
                  </a:lnTo>
                  <a:lnTo>
                    <a:pt x="2596" y="2910"/>
                  </a:lnTo>
                  <a:lnTo>
                    <a:pt x="2568" y="2910"/>
                  </a:lnTo>
                  <a:lnTo>
                    <a:pt x="2558" y="2917"/>
                  </a:lnTo>
                  <a:lnTo>
                    <a:pt x="2575" y="2917"/>
                  </a:lnTo>
                  <a:lnTo>
                    <a:pt x="2551" y="2939"/>
                  </a:lnTo>
                  <a:lnTo>
                    <a:pt x="2558" y="2955"/>
                  </a:lnTo>
                  <a:lnTo>
                    <a:pt x="2542" y="2967"/>
                  </a:lnTo>
                  <a:lnTo>
                    <a:pt x="2521" y="2955"/>
                  </a:lnTo>
                  <a:lnTo>
                    <a:pt x="2537" y="2939"/>
                  </a:lnTo>
                  <a:lnTo>
                    <a:pt x="2513" y="2934"/>
                  </a:lnTo>
                  <a:lnTo>
                    <a:pt x="2537" y="2934"/>
                  </a:lnTo>
                  <a:lnTo>
                    <a:pt x="2542" y="2910"/>
                  </a:lnTo>
                  <a:lnTo>
                    <a:pt x="2558" y="2910"/>
                  </a:lnTo>
                  <a:lnTo>
                    <a:pt x="2542" y="2901"/>
                  </a:lnTo>
                  <a:lnTo>
                    <a:pt x="2537" y="2927"/>
                  </a:lnTo>
                  <a:lnTo>
                    <a:pt x="2530" y="2917"/>
                  </a:lnTo>
                  <a:lnTo>
                    <a:pt x="2504" y="2927"/>
                  </a:lnTo>
                  <a:lnTo>
                    <a:pt x="2504" y="2917"/>
                  </a:lnTo>
                  <a:lnTo>
                    <a:pt x="2513" y="2910"/>
                  </a:lnTo>
                  <a:lnTo>
                    <a:pt x="2504" y="2901"/>
                  </a:lnTo>
                  <a:lnTo>
                    <a:pt x="2513" y="2884"/>
                  </a:lnTo>
                  <a:lnTo>
                    <a:pt x="2504" y="2861"/>
                  </a:lnTo>
                  <a:lnTo>
                    <a:pt x="2513" y="2877"/>
                  </a:lnTo>
                  <a:lnTo>
                    <a:pt x="2530" y="2877"/>
                  </a:lnTo>
                  <a:lnTo>
                    <a:pt x="2551" y="2861"/>
                  </a:lnTo>
                  <a:lnTo>
                    <a:pt x="2551" y="2877"/>
                  </a:lnTo>
                  <a:lnTo>
                    <a:pt x="2568" y="2884"/>
                  </a:lnTo>
                  <a:lnTo>
                    <a:pt x="2568" y="2861"/>
                  </a:lnTo>
                  <a:lnTo>
                    <a:pt x="2558" y="2877"/>
                  </a:lnTo>
                  <a:lnTo>
                    <a:pt x="2558" y="2861"/>
                  </a:lnTo>
                  <a:lnTo>
                    <a:pt x="2568" y="2856"/>
                  </a:lnTo>
                  <a:lnTo>
                    <a:pt x="2575" y="2856"/>
                  </a:lnTo>
                  <a:lnTo>
                    <a:pt x="2589" y="2877"/>
                  </a:lnTo>
                  <a:lnTo>
                    <a:pt x="2584" y="2884"/>
                  </a:lnTo>
                  <a:lnTo>
                    <a:pt x="2558" y="2901"/>
                  </a:lnTo>
                  <a:lnTo>
                    <a:pt x="2589" y="2884"/>
                  </a:lnTo>
                  <a:lnTo>
                    <a:pt x="2589" y="2877"/>
                  </a:lnTo>
                  <a:lnTo>
                    <a:pt x="2575" y="2856"/>
                  </a:lnTo>
                  <a:lnTo>
                    <a:pt x="2589" y="2856"/>
                  </a:lnTo>
                  <a:lnTo>
                    <a:pt x="2589" y="2839"/>
                  </a:lnTo>
                  <a:lnTo>
                    <a:pt x="2575" y="2816"/>
                  </a:lnTo>
                  <a:lnTo>
                    <a:pt x="2537" y="2806"/>
                  </a:lnTo>
                  <a:lnTo>
                    <a:pt x="2584" y="2839"/>
                  </a:lnTo>
                  <a:lnTo>
                    <a:pt x="2575" y="2839"/>
                  </a:lnTo>
                  <a:lnTo>
                    <a:pt x="2537" y="2823"/>
                  </a:lnTo>
                  <a:lnTo>
                    <a:pt x="2537" y="2828"/>
                  </a:lnTo>
                  <a:lnTo>
                    <a:pt x="2551" y="2839"/>
                  </a:lnTo>
                  <a:lnTo>
                    <a:pt x="2542" y="2844"/>
                  </a:lnTo>
                  <a:lnTo>
                    <a:pt x="2558" y="2844"/>
                  </a:lnTo>
                  <a:lnTo>
                    <a:pt x="2542" y="2856"/>
                  </a:lnTo>
                  <a:lnTo>
                    <a:pt x="2537" y="2861"/>
                  </a:lnTo>
                  <a:lnTo>
                    <a:pt x="2530" y="2823"/>
                  </a:lnTo>
                  <a:lnTo>
                    <a:pt x="2537" y="2872"/>
                  </a:lnTo>
                  <a:lnTo>
                    <a:pt x="2513" y="2861"/>
                  </a:lnTo>
                  <a:lnTo>
                    <a:pt x="2504" y="2839"/>
                  </a:lnTo>
                  <a:lnTo>
                    <a:pt x="2530" y="2861"/>
                  </a:lnTo>
                  <a:lnTo>
                    <a:pt x="2513" y="2828"/>
                  </a:lnTo>
                  <a:lnTo>
                    <a:pt x="2521" y="2828"/>
                  </a:lnTo>
                  <a:lnTo>
                    <a:pt x="2504" y="2839"/>
                  </a:lnTo>
                  <a:lnTo>
                    <a:pt x="2499" y="2823"/>
                  </a:lnTo>
                  <a:lnTo>
                    <a:pt x="2488" y="2823"/>
                  </a:lnTo>
                  <a:lnTo>
                    <a:pt x="2488" y="2799"/>
                  </a:lnTo>
                  <a:lnTo>
                    <a:pt x="2513" y="2823"/>
                  </a:lnTo>
                  <a:lnTo>
                    <a:pt x="2499" y="2783"/>
                  </a:lnTo>
                  <a:lnTo>
                    <a:pt x="2504" y="2790"/>
                  </a:lnTo>
                  <a:lnTo>
                    <a:pt x="2504" y="2773"/>
                  </a:lnTo>
                  <a:lnTo>
                    <a:pt x="2488" y="2783"/>
                  </a:lnTo>
                  <a:lnTo>
                    <a:pt x="2476" y="2783"/>
                  </a:lnTo>
                  <a:lnTo>
                    <a:pt x="2466" y="2761"/>
                  </a:lnTo>
                  <a:lnTo>
                    <a:pt x="2476" y="2750"/>
                  </a:lnTo>
                  <a:lnTo>
                    <a:pt x="2499" y="2750"/>
                  </a:lnTo>
                  <a:lnTo>
                    <a:pt x="2504" y="2728"/>
                  </a:lnTo>
                  <a:lnTo>
                    <a:pt x="2521" y="2733"/>
                  </a:lnTo>
                  <a:lnTo>
                    <a:pt x="2521" y="2728"/>
                  </a:lnTo>
                  <a:lnTo>
                    <a:pt x="2504" y="2717"/>
                  </a:lnTo>
                  <a:lnTo>
                    <a:pt x="2513" y="2707"/>
                  </a:lnTo>
                  <a:lnTo>
                    <a:pt x="2499" y="2717"/>
                  </a:lnTo>
                  <a:lnTo>
                    <a:pt x="2499" y="2745"/>
                  </a:lnTo>
                  <a:lnTo>
                    <a:pt x="2483" y="2745"/>
                  </a:lnTo>
                  <a:lnTo>
                    <a:pt x="2466" y="2712"/>
                  </a:lnTo>
                  <a:lnTo>
                    <a:pt x="2488" y="2717"/>
                  </a:lnTo>
                  <a:lnTo>
                    <a:pt x="2466" y="2707"/>
                  </a:lnTo>
                  <a:lnTo>
                    <a:pt x="2433" y="2688"/>
                  </a:lnTo>
                  <a:lnTo>
                    <a:pt x="2445" y="2679"/>
                  </a:lnTo>
                  <a:lnTo>
                    <a:pt x="2462" y="2672"/>
                  </a:lnTo>
                  <a:lnTo>
                    <a:pt x="2466" y="2688"/>
                  </a:lnTo>
                  <a:lnTo>
                    <a:pt x="2499" y="2695"/>
                  </a:lnTo>
                  <a:lnTo>
                    <a:pt x="2476" y="2688"/>
                  </a:lnTo>
                  <a:lnTo>
                    <a:pt x="2462" y="2662"/>
                  </a:lnTo>
                  <a:lnTo>
                    <a:pt x="2466" y="2662"/>
                  </a:lnTo>
                  <a:lnTo>
                    <a:pt x="2488" y="2672"/>
                  </a:lnTo>
                  <a:lnTo>
                    <a:pt x="2466" y="2655"/>
                  </a:lnTo>
                  <a:lnTo>
                    <a:pt x="2462" y="2650"/>
                  </a:lnTo>
                  <a:lnTo>
                    <a:pt x="2483" y="2639"/>
                  </a:lnTo>
                  <a:lnTo>
                    <a:pt x="2466" y="2639"/>
                  </a:lnTo>
                  <a:lnTo>
                    <a:pt x="2462" y="2634"/>
                  </a:lnTo>
                  <a:lnTo>
                    <a:pt x="2488" y="2622"/>
                  </a:lnTo>
                  <a:lnTo>
                    <a:pt x="2504" y="2639"/>
                  </a:lnTo>
                  <a:lnTo>
                    <a:pt x="2499" y="2634"/>
                  </a:lnTo>
                  <a:lnTo>
                    <a:pt x="2488" y="2622"/>
                  </a:lnTo>
                  <a:lnTo>
                    <a:pt x="2476" y="2617"/>
                  </a:lnTo>
                  <a:lnTo>
                    <a:pt x="2483" y="2601"/>
                  </a:lnTo>
                  <a:lnTo>
                    <a:pt x="2499" y="2606"/>
                  </a:lnTo>
                  <a:lnTo>
                    <a:pt x="2483" y="2601"/>
                  </a:lnTo>
                  <a:lnTo>
                    <a:pt x="2483" y="2584"/>
                  </a:lnTo>
                  <a:lnTo>
                    <a:pt x="2499" y="2580"/>
                  </a:lnTo>
                  <a:lnTo>
                    <a:pt x="2483" y="2580"/>
                  </a:lnTo>
                  <a:lnTo>
                    <a:pt x="2466" y="2622"/>
                  </a:lnTo>
                  <a:lnTo>
                    <a:pt x="2462" y="2617"/>
                  </a:lnTo>
                  <a:lnTo>
                    <a:pt x="2450" y="2551"/>
                  </a:lnTo>
                  <a:lnTo>
                    <a:pt x="2462" y="2544"/>
                  </a:lnTo>
                  <a:lnTo>
                    <a:pt x="2483" y="2551"/>
                  </a:lnTo>
                  <a:lnTo>
                    <a:pt x="2462" y="2544"/>
                  </a:lnTo>
                  <a:lnTo>
                    <a:pt x="2462" y="2539"/>
                  </a:lnTo>
                  <a:lnTo>
                    <a:pt x="2466" y="2523"/>
                  </a:lnTo>
                  <a:lnTo>
                    <a:pt x="2483" y="2528"/>
                  </a:lnTo>
                  <a:lnTo>
                    <a:pt x="2483" y="2523"/>
                  </a:lnTo>
                  <a:lnTo>
                    <a:pt x="2466" y="2511"/>
                  </a:lnTo>
                  <a:lnTo>
                    <a:pt x="2476" y="2511"/>
                  </a:lnTo>
                  <a:lnTo>
                    <a:pt x="2433" y="2485"/>
                  </a:lnTo>
                  <a:lnTo>
                    <a:pt x="2450" y="2485"/>
                  </a:lnTo>
                  <a:lnTo>
                    <a:pt x="2466" y="2506"/>
                  </a:lnTo>
                  <a:lnTo>
                    <a:pt x="2462" y="2485"/>
                  </a:lnTo>
                  <a:lnTo>
                    <a:pt x="2499" y="2485"/>
                  </a:lnTo>
                  <a:lnTo>
                    <a:pt x="2513" y="2506"/>
                  </a:lnTo>
                  <a:lnTo>
                    <a:pt x="2521" y="2495"/>
                  </a:lnTo>
                  <a:lnTo>
                    <a:pt x="2530" y="2495"/>
                  </a:lnTo>
                  <a:lnTo>
                    <a:pt x="2537" y="2490"/>
                  </a:lnTo>
                  <a:lnTo>
                    <a:pt x="2530" y="2495"/>
                  </a:lnTo>
                  <a:lnTo>
                    <a:pt x="2521" y="2490"/>
                  </a:lnTo>
                  <a:lnTo>
                    <a:pt x="2504" y="2473"/>
                  </a:lnTo>
                  <a:lnTo>
                    <a:pt x="2537" y="2485"/>
                  </a:lnTo>
                  <a:lnTo>
                    <a:pt x="2521" y="2473"/>
                  </a:lnTo>
                  <a:lnTo>
                    <a:pt x="2504" y="2457"/>
                  </a:lnTo>
                  <a:lnTo>
                    <a:pt x="2504" y="2452"/>
                  </a:lnTo>
                  <a:lnTo>
                    <a:pt x="2504" y="2433"/>
                  </a:lnTo>
                  <a:lnTo>
                    <a:pt x="2499" y="2457"/>
                  </a:lnTo>
                  <a:lnTo>
                    <a:pt x="2488" y="2469"/>
                  </a:lnTo>
                  <a:lnTo>
                    <a:pt x="2433" y="2457"/>
                  </a:lnTo>
                  <a:lnTo>
                    <a:pt x="2445" y="2440"/>
                  </a:lnTo>
                  <a:lnTo>
                    <a:pt x="2462" y="2440"/>
                  </a:lnTo>
                  <a:lnTo>
                    <a:pt x="2466" y="2457"/>
                  </a:lnTo>
                  <a:lnTo>
                    <a:pt x="2476" y="2457"/>
                  </a:lnTo>
                  <a:lnTo>
                    <a:pt x="2466" y="2457"/>
                  </a:lnTo>
                  <a:lnTo>
                    <a:pt x="2466" y="2452"/>
                  </a:lnTo>
                  <a:lnTo>
                    <a:pt x="2483" y="2440"/>
                  </a:lnTo>
                  <a:lnTo>
                    <a:pt x="2462" y="2440"/>
                  </a:lnTo>
                  <a:lnTo>
                    <a:pt x="2445" y="2428"/>
                  </a:lnTo>
                  <a:lnTo>
                    <a:pt x="2462" y="2412"/>
                  </a:lnTo>
                  <a:lnTo>
                    <a:pt x="2476" y="2412"/>
                  </a:lnTo>
                  <a:lnTo>
                    <a:pt x="2476" y="2417"/>
                  </a:lnTo>
                  <a:lnTo>
                    <a:pt x="2476" y="2412"/>
                  </a:lnTo>
                  <a:lnTo>
                    <a:pt x="2488" y="2395"/>
                  </a:lnTo>
                  <a:lnTo>
                    <a:pt x="2476" y="2384"/>
                  </a:lnTo>
                  <a:lnTo>
                    <a:pt x="2466" y="2374"/>
                  </a:lnTo>
                  <a:lnTo>
                    <a:pt x="2445" y="2374"/>
                  </a:lnTo>
                  <a:lnTo>
                    <a:pt x="2450" y="2379"/>
                  </a:lnTo>
                  <a:lnTo>
                    <a:pt x="2412" y="2374"/>
                  </a:lnTo>
                  <a:lnTo>
                    <a:pt x="2407" y="2358"/>
                  </a:lnTo>
                  <a:lnTo>
                    <a:pt x="2424" y="2341"/>
                  </a:lnTo>
                  <a:lnTo>
                    <a:pt x="2407" y="2358"/>
                  </a:lnTo>
                  <a:lnTo>
                    <a:pt x="2369" y="2374"/>
                  </a:lnTo>
                  <a:lnTo>
                    <a:pt x="2379" y="2362"/>
                  </a:lnTo>
                  <a:lnTo>
                    <a:pt x="2391" y="2379"/>
                  </a:lnTo>
                  <a:lnTo>
                    <a:pt x="2379" y="2384"/>
                  </a:lnTo>
                  <a:lnTo>
                    <a:pt x="2374" y="2384"/>
                  </a:lnTo>
                  <a:lnTo>
                    <a:pt x="2369" y="2362"/>
                  </a:lnTo>
                  <a:lnTo>
                    <a:pt x="2369" y="2346"/>
                  </a:lnTo>
                  <a:lnTo>
                    <a:pt x="2395" y="2329"/>
                  </a:lnTo>
                  <a:lnTo>
                    <a:pt x="2395" y="2341"/>
                  </a:lnTo>
                  <a:lnTo>
                    <a:pt x="2407" y="2317"/>
                  </a:lnTo>
                  <a:lnTo>
                    <a:pt x="2428" y="2308"/>
                  </a:lnTo>
                  <a:lnTo>
                    <a:pt x="2433" y="2284"/>
                  </a:lnTo>
                  <a:lnTo>
                    <a:pt x="2462" y="2284"/>
                  </a:lnTo>
                  <a:lnTo>
                    <a:pt x="2476" y="2284"/>
                  </a:lnTo>
                  <a:lnTo>
                    <a:pt x="2483" y="2301"/>
                  </a:lnTo>
                  <a:lnTo>
                    <a:pt x="2476" y="2308"/>
                  </a:lnTo>
                  <a:lnTo>
                    <a:pt x="2483" y="2301"/>
                  </a:lnTo>
                  <a:lnTo>
                    <a:pt x="2488" y="2308"/>
                  </a:lnTo>
                  <a:lnTo>
                    <a:pt x="2462" y="2324"/>
                  </a:lnTo>
                  <a:lnTo>
                    <a:pt x="2450" y="2317"/>
                  </a:lnTo>
                  <a:lnTo>
                    <a:pt x="2462" y="2324"/>
                  </a:lnTo>
                  <a:lnTo>
                    <a:pt x="2483" y="2317"/>
                  </a:lnTo>
                  <a:lnTo>
                    <a:pt x="2499" y="2329"/>
                  </a:lnTo>
                  <a:lnTo>
                    <a:pt x="2483" y="2317"/>
                  </a:lnTo>
                  <a:lnTo>
                    <a:pt x="2488" y="2317"/>
                  </a:lnTo>
                  <a:lnTo>
                    <a:pt x="2499" y="2324"/>
                  </a:lnTo>
                  <a:lnTo>
                    <a:pt x="2483" y="2346"/>
                  </a:lnTo>
                  <a:lnTo>
                    <a:pt x="2499" y="2358"/>
                  </a:lnTo>
                  <a:lnTo>
                    <a:pt x="2521" y="2308"/>
                  </a:lnTo>
                  <a:lnTo>
                    <a:pt x="2504" y="2329"/>
                  </a:lnTo>
                  <a:lnTo>
                    <a:pt x="2504" y="2301"/>
                  </a:lnTo>
                  <a:lnTo>
                    <a:pt x="2530" y="2272"/>
                  </a:lnTo>
                  <a:lnTo>
                    <a:pt x="2542" y="2268"/>
                  </a:lnTo>
                  <a:lnTo>
                    <a:pt x="2530" y="2268"/>
                  </a:lnTo>
                  <a:lnTo>
                    <a:pt x="2513" y="2272"/>
                  </a:lnTo>
                  <a:lnTo>
                    <a:pt x="2521" y="2251"/>
                  </a:lnTo>
                  <a:lnTo>
                    <a:pt x="2537" y="2235"/>
                  </a:lnTo>
                  <a:lnTo>
                    <a:pt x="2551" y="2251"/>
                  </a:lnTo>
                  <a:lnTo>
                    <a:pt x="2568" y="2247"/>
                  </a:lnTo>
                  <a:lnTo>
                    <a:pt x="2537" y="2230"/>
                  </a:lnTo>
                  <a:lnTo>
                    <a:pt x="2521" y="2235"/>
                  </a:lnTo>
                  <a:lnTo>
                    <a:pt x="2521" y="2230"/>
                  </a:lnTo>
                  <a:lnTo>
                    <a:pt x="2537" y="2218"/>
                  </a:lnTo>
                  <a:lnTo>
                    <a:pt x="2530" y="2206"/>
                  </a:lnTo>
                  <a:lnTo>
                    <a:pt x="2568" y="2190"/>
                  </a:lnTo>
                  <a:lnTo>
                    <a:pt x="2584" y="2161"/>
                  </a:lnTo>
                  <a:lnTo>
                    <a:pt x="2584" y="2157"/>
                  </a:lnTo>
                  <a:lnTo>
                    <a:pt x="2575" y="2161"/>
                  </a:lnTo>
                  <a:lnTo>
                    <a:pt x="2537" y="2135"/>
                  </a:lnTo>
                  <a:lnTo>
                    <a:pt x="2551" y="2102"/>
                  </a:lnTo>
                  <a:lnTo>
                    <a:pt x="2568" y="2102"/>
                  </a:lnTo>
                  <a:lnTo>
                    <a:pt x="2568" y="2095"/>
                  </a:lnTo>
                  <a:lnTo>
                    <a:pt x="2551" y="2095"/>
                  </a:lnTo>
                  <a:lnTo>
                    <a:pt x="2542" y="2069"/>
                  </a:lnTo>
                  <a:lnTo>
                    <a:pt x="2551" y="2062"/>
                  </a:lnTo>
                  <a:lnTo>
                    <a:pt x="2558" y="2053"/>
                  </a:lnTo>
                  <a:lnTo>
                    <a:pt x="2568" y="2041"/>
                  </a:lnTo>
                  <a:lnTo>
                    <a:pt x="2575" y="2041"/>
                  </a:lnTo>
                  <a:lnTo>
                    <a:pt x="2568" y="1996"/>
                  </a:lnTo>
                  <a:lnTo>
                    <a:pt x="2568" y="1991"/>
                  </a:lnTo>
                  <a:lnTo>
                    <a:pt x="2589" y="1996"/>
                  </a:lnTo>
                  <a:lnTo>
                    <a:pt x="2568" y="1968"/>
                  </a:lnTo>
                  <a:lnTo>
                    <a:pt x="2584" y="1958"/>
                  </a:lnTo>
                  <a:lnTo>
                    <a:pt x="2596" y="1984"/>
                  </a:lnTo>
                  <a:lnTo>
                    <a:pt x="2589" y="1942"/>
                  </a:lnTo>
                  <a:lnTo>
                    <a:pt x="2575" y="1942"/>
                  </a:lnTo>
                  <a:lnTo>
                    <a:pt x="2568" y="1935"/>
                  </a:lnTo>
                  <a:lnTo>
                    <a:pt x="2575" y="1930"/>
                  </a:lnTo>
                  <a:lnTo>
                    <a:pt x="2596" y="1918"/>
                  </a:lnTo>
                  <a:lnTo>
                    <a:pt x="2606" y="1897"/>
                  </a:lnTo>
                  <a:lnTo>
                    <a:pt x="2596" y="1918"/>
                  </a:lnTo>
                  <a:lnTo>
                    <a:pt x="2584" y="1918"/>
                  </a:lnTo>
                  <a:lnTo>
                    <a:pt x="2558" y="1902"/>
                  </a:lnTo>
                  <a:lnTo>
                    <a:pt x="2551" y="1902"/>
                  </a:lnTo>
                  <a:lnTo>
                    <a:pt x="2551" y="1918"/>
                  </a:lnTo>
                  <a:lnTo>
                    <a:pt x="2537" y="1930"/>
                  </a:lnTo>
                  <a:lnTo>
                    <a:pt x="2504" y="1930"/>
                  </a:lnTo>
                  <a:lnTo>
                    <a:pt x="2521" y="1902"/>
                  </a:lnTo>
                  <a:lnTo>
                    <a:pt x="2504" y="1913"/>
                  </a:lnTo>
                  <a:lnTo>
                    <a:pt x="2488" y="1902"/>
                  </a:lnTo>
                  <a:lnTo>
                    <a:pt x="2483" y="1857"/>
                  </a:lnTo>
                  <a:lnTo>
                    <a:pt x="2504" y="1819"/>
                  </a:lnTo>
                  <a:lnTo>
                    <a:pt x="2504" y="1791"/>
                  </a:lnTo>
                  <a:lnTo>
                    <a:pt x="2504" y="1786"/>
                  </a:lnTo>
                  <a:lnTo>
                    <a:pt x="2504" y="1774"/>
                  </a:lnTo>
                  <a:lnTo>
                    <a:pt x="2530" y="1769"/>
                  </a:lnTo>
                  <a:lnTo>
                    <a:pt x="2537" y="1729"/>
                  </a:lnTo>
                  <a:lnTo>
                    <a:pt x="2513" y="1642"/>
                  </a:lnTo>
                  <a:lnTo>
                    <a:pt x="2521" y="1609"/>
                  </a:lnTo>
                  <a:lnTo>
                    <a:pt x="2504" y="1585"/>
                  </a:lnTo>
                  <a:lnTo>
                    <a:pt x="2513" y="1564"/>
                  </a:lnTo>
                  <a:lnTo>
                    <a:pt x="2504" y="1552"/>
                  </a:lnTo>
                  <a:lnTo>
                    <a:pt x="2513" y="1535"/>
                  </a:lnTo>
                  <a:lnTo>
                    <a:pt x="2530" y="1535"/>
                  </a:lnTo>
                  <a:lnTo>
                    <a:pt x="2542" y="1531"/>
                  </a:lnTo>
                  <a:lnTo>
                    <a:pt x="2542" y="1498"/>
                  </a:lnTo>
                  <a:lnTo>
                    <a:pt x="2551" y="1498"/>
                  </a:lnTo>
                  <a:lnTo>
                    <a:pt x="2568" y="1436"/>
                  </a:lnTo>
                  <a:lnTo>
                    <a:pt x="2584" y="1424"/>
                  </a:lnTo>
                  <a:lnTo>
                    <a:pt x="2584" y="1403"/>
                  </a:lnTo>
                  <a:lnTo>
                    <a:pt x="2606" y="1363"/>
                  </a:lnTo>
                  <a:lnTo>
                    <a:pt x="2627" y="1309"/>
                  </a:lnTo>
                  <a:lnTo>
                    <a:pt x="2622" y="1287"/>
                  </a:lnTo>
                  <a:lnTo>
                    <a:pt x="2639" y="1259"/>
                  </a:lnTo>
                  <a:lnTo>
                    <a:pt x="2651" y="1252"/>
                  </a:lnTo>
                  <a:lnTo>
                    <a:pt x="2643" y="1202"/>
                  </a:lnTo>
                  <a:lnTo>
                    <a:pt x="2651" y="1198"/>
                  </a:lnTo>
                  <a:lnTo>
                    <a:pt x="2665" y="1165"/>
                  </a:lnTo>
                  <a:lnTo>
                    <a:pt x="2665" y="1148"/>
                  </a:lnTo>
                  <a:lnTo>
                    <a:pt x="2660" y="1136"/>
                  </a:lnTo>
                  <a:lnTo>
                    <a:pt x="2660" y="1091"/>
                  </a:lnTo>
                  <a:lnTo>
                    <a:pt x="2643" y="1013"/>
                  </a:lnTo>
                  <a:lnTo>
                    <a:pt x="2643" y="980"/>
                  </a:lnTo>
                  <a:lnTo>
                    <a:pt x="2665" y="976"/>
                  </a:lnTo>
                  <a:lnTo>
                    <a:pt x="2676" y="954"/>
                  </a:lnTo>
                  <a:lnTo>
                    <a:pt x="2676" y="914"/>
                  </a:lnTo>
                  <a:lnTo>
                    <a:pt x="2660" y="898"/>
                  </a:lnTo>
                  <a:lnTo>
                    <a:pt x="2660" y="869"/>
                  </a:lnTo>
                  <a:lnTo>
                    <a:pt x="2681" y="827"/>
                  </a:lnTo>
                  <a:lnTo>
                    <a:pt x="2693" y="787"/>
                  </a:lnTo>
                  <a:lnTo>
                    <a:pt x="2698" y="770"/>
                  </a:lnTo>
                  <a:lnTo>
                    <a:pt x="2698" y="737"/>
                  </a:lnTo>
                  <a:lnTo>
                    <a:pt x="2702" y="721"/>
                  </a:lnTo>
                  <a:lnTo>
                    <a:pt x="2702" y="716"/>
                  </a:lnTo>
                  <a:lnTo>
                    <a:pt x="2719" y="666"/>
                  </a:lnTo>
                  <a:lnTo>
                    <a:pt x="2719" y="643"/>
                  </a:lnTo>
                  <a:lnTo>
                    <a:pt x="2714" y="626"/>
                  </a:lnTo>
                  <a:lnTo>
                    <a:pt x="2736" y="593"/>
                  </a:lnTo>
                  <a:lnTo>
                    <a:pt x="2719" y="548"/>
                  </a:lnTo>
                  <a:lnTo>
                    <a:pt x="2731" y="482"/>
                  </a:lnTo>
                  <a:lnTo>
                    <a:pt x="2736" y="461"/>
                  </a:lnTo>
                  <a:lnTo>
                    <a:pt x="2731" y="454"/>
                  </a:lnTo>
                  <a:lnTo>
                    <a:pt x="2719" y="454"/>
                  </a:lnTo>
                  <a:lnTo>
                    <a:pt x="2719" y="421"/>
                  </a:lnTo>
                  <a:lnTo>
                    <a:pt x="2736" y="421"/>
                  </a:lnTo>
                  <a:lnTo>
                    <a:pt x="2747" y="404"/>
                  </a:lnTo>
                  <a:lnTo>
                    <a:pt x="2752" y="317"/>
                  </a:lnTo>
                  <a:lnTo>
                    <a:pt x="2757" y="293"/>
                  </a:lnTo>
                  <a:lnTo>
                    <a:pt x="2752" y="250"/>
                  </a:lnTo>
                  <a:lnTo>
                    <a:pt x="2757" y="189"/>
                  </a:lnTo>
                  <a:lnTo>
                    <a:pt x="2747" y="104"/>
                  </a:lnTo>
                  <a:lnTo>
                    <a:pt x="2747" y="71"/>
                  </a:lnTo>
                  <a:lnTo>
                    <a:pt x="2736" y="66"/>
                  </a:lnTo>
                  <a:lnTo>
                    <a:pt x="2736" y="66"/>
                  </a:lnTo>
                  <a:lnTo>
                    <a:pt x="2736" y="66"/>
                  </a:lnTo>
                  <a:close/>
                  <a:moveTo>
                    <a:pt x="0" y="737"/>
                  </a:moveTo>
                  <a:lnTo>
                    <a:pt x="0" y="732"/>
                  </a:lnTo>
                  <a:lnTo>
                    <a:pt x="17" y="732"/>
                  </a:lnTo>
                  <a:lnTo>
                    <a:pt x="0" y="737"/>
                  </a:lnTo>
                  <a:lnTo>
                    <a:pt x="0" y="737"/>
                  </a:lnTo>
                  <a:lnTo>
                    <a:pt x="0" y="737"/>
                  </a:lnTo>
                  <a:close/>
                  <a:moveTo>
                    <a:pt x="2138" y="1252"/>
                  </a:moveTo>
                  <a:lnTo>
                    <a:pt x="2143" y="1247"/>
                  </a:lnTo>
                  <a:lnTo>
                    <a:pt x="2152" y="1247"/>
                  </a:lnTo>
                  <a:lnTo>
                    <a:pt x="2138" y="1252"/>
                  </a:lnTo>
                  <a:lnTo>
                    <a:pt x="2138" y="1252"/>
                  </a:lnTo>
                  <a:lnTo>
                    <a:pt x="2138" y="1252"/>
                  </a:lnTo>
                  <a:close/>
                  <a:moveTo>
                    <a:pt x="2513" y="2029"/>
                  </a:moveTo>
                  <a:lnTo>
                    <a:pt x="2521" y="2046"/>
                  </a:lnTo>
                  <a:lnTo>
                    <a:pt x="2499" y="2046"/>
                  </a:lnTo>
                  <a:lnTo>
                    <a:pt x="2504" y="2069"/>
                  </a:lnTo>
                  <a:lnTo>
                    <a:pt x="2462" y="2053"/>
                  </a:lnTo>
                  <a:lnTo>
                    <a:pt x="2476" y="2024"/>
                  </a:lnTo>
                  <a:lnTo>
                    <a:pt x="2476" y="1996"/>
                  </a:lnTo>
                  <a:lnTo>
                    <a:pt x="2466" y="1991"/>
                  </a:lnTo>
                  <a:lnTo>
                    <a:pt x="2476" y="1968"/>
                  </a:lnTo>
                  <a:lnTo>
                    <a:pt x="2483" y="1951"/>
                  </a:lnTo>
                  <a:lnTo>
                    <a:pt x="2483" y="1930"/>
                  </a:lnTo>
                  <a:lnTo>
                    <a:pt x="2488" y="1930"/>
                  </a:lnTo>
                  <a:lnTo>
                    <a:pt x="2483" y="1935"/>
                  </a:lnTo>
                  <a:lnTo>
                    <a:pt x="2488" y="1935"/>
                  </a:lnTo>
                  <a:lnTo>
                    <a:pt x="2504" y="1930"/>
                  </a:lnTo>
                  <a:lnTo>
                    <a:pt x="2521" y="1935"/>
                  </a:lnTo>
                  <a:lnTo>
                    <a:pt x="2521" y="1942"/>
                  </a:lnTo>
                  <a:lnTo>
                    <a:pt x="2521" y="1951"/>
                  </a:lnTo>
                  <a:lnTo>
                    <a:pt x="2521" y="1958"/>
                  </a:lnTo>
                  <a:lnTo>
                    <a:pt x="2530" y="1968"/>
                  </a:lnTo>
                  <a:lnTo>
                    <a:pt x="2530" y="1975"/>
                  </a:lnTo>
                  <a:lnTo>
                    <a:pt x="2504" y="1975"/>
                  </a:lnTo>
                  <a:lnTo>
                    <a:pt x="2513" y="1991"/>
                  </a:lnTo>
                  <a:lnTo>
                    <a:pt x="2504" y="1991"/>
                  </a:lnTo>
                  <a:lnTo>
                    <a:pt x="2499" y="1984"/>
                  </a:lnTo>
                  <a:lnTo>
                    <a:pt x="2499" y="1991"/>
                  </a:lnTo>
                  <a:lnTo>
                    <a:pt x="2499" y="1996"/>
                  </a:lnTo>
                  <a:lnTo>
                    <a:pt x="2521" y="2013"/>
                  </a:lnTo>
                  <a:lnTo>
                    <a:pt x="2521" y="2024"/>
                  </a:lnTo>
                  <a:lnTo>
                    <a:pt x="2504" y="2024"/>
                  </a:lnTo>
                  <a:lnTo>
                    <a:pt x="2513" y="2029"/>
                  </a:lnTo>
                  <a:lnTo>
                    <a:pt x="2513" y="2029"/>
                  </a:lnTo>
                  <a:lnTo>
                    <a:pt x="2513" y="2029"/>
                  </a:lnTo>
                  <a:close/>
                  <a:moveTo>
                    <a:pt x="2589" y="1958"/>
                  </a:moveTo>
                  <a:lnTo>
                    <a:pt x="2584" y="1958"/>
                  </a:lnTo>
                  <a:lnTo>
                    <a:pt x="2589" y="1951"/>
                  </a:lnTo>
                  <a:lnTo>
                    <a:pt x="2589" y="1958"/>
                  </a:lnTo>
                  <a:lnTo>
                    <a:pt x="2589" y="1958"/>
                  </a:lnTo>
                  <a:lnTo>
                    <a:pt x="2589" y="1958"/>
                  </a:lnTo>
                  <a:close/>
                  <a:moveTo>
                    <a:pt x="2542" y="1975"/>
                  </a:moveTo>
                  <a:lnTo>
                    <a:pt x="2542" y="1968"/>
                  </a:lnTo>
                  <a:lnTo>
                    <a:pt x="2551" y="1968"/>
                  </a:lnTo>
                  <a:lnTo>
                    <a:pt x="2542" y="1975"/>
                  </a:lnTo>
                  <a:lnTo>
                    <a:pt x="2542" y="1975"/>
                  </a:lnTo>
                  <a:lnTo>
                    <a:pt x="2542" y="1975"/>
                  </a:lnTo>
                  <a:close/>
                  <a:moveTo>
                    <a:pt x="2521" y="1996"/>
                  </a:moveTo>
                  <a:lnTo>
                    <a:pt x="2504" y="1984"/>
                  </a:lnTo>
                  <a:lnTo>
                    <a:pt x="2521" y="1984"/>
                  </a:lnTo>
                  <a:lnTo>
                    <a:pt x="2521" y="1996"/>
                  </a:lnTo>
                  <a:lnTo>
                    <a:pt x="2521" y="1996"/>
                  </a:lnTo>
                  <a:lnTo>
                    <a:pt x="2521" y="1996"/>
                  </a:lnTo>
                  <a:close/>
                  <a:moveTo>
                    <a:pt x="2513" y="1996"/>
                  </a:moveTo>
                  <a:lnTo>
                    <a:pt x="2504" y="1996"/>
                  </a:lnTo>
                  <a:lnTo>
                    <a:pt x="2513" y="1996"/>
                  </a:lnTo>
                  <a:lnTo>
                    <a:pt x="2513" y="1996"/>
                  </a:lnTo>
                  <a:lnTo>
                    <a:pt x="2513" y="1996"/>
                  </a:lnTo>
                  <a:close/>
                  <a:moveTo>
                    <a:pt x="2428" y="2095"/>
                  </a:moveTo>
                  <a:lnTo>
                    <a:pt x="2424" y="2086"/>
                  </a:lnTo>
                  <a:lnTo>
                    <a:pt x="2445" y="2086"/>
                  </a:lnTo>
                  <a:lnTo>
                    <a:pt x="2428" y="2095"/>
                  </a:lnTo>
                  <a:lnTo>
                    <a:pt x="2428" y="2095"/>
                  </a:lnTo>
                  <a:lnTo>
                    <a:pt x="2428" y="2095"/>
                  </a:lnTo>
                  <a:close/>
                  <a:moveTo>
                    <a:pt x="2483" y="2119"/>
                  </a:moveTo>
                  <a:lnTo>
                    <a:pt x="2476" y="2107"/>
                  </a:lnTo>
                  <a:lnTo>
                    <a:pt x="2476" y="2102"/>
                  </a:lnTo>
                  <a:lnTo>
                    <a:pt x="2499" y="2102"/>
                  </a:lnTo>
                  <a:lnTo>
                    <a:pt x="2499" y="2107"/>
                  </a:lnTo>
                  <a:lnTo>
                    <a:pt x="2488" y="2107"/>
                  </a:lnTo>
                  <a:lnTo>
                    <a:pt x="2483" y="2119"/>
                  </a:lnTo>
                  <a:lnTo>
                    <a:pt x="2483" y="2119"/>
                  </a:lnTo>
                  <a:lnTo>
                    <a:pt x="2483" y="2119"/>
                  </a:lnTo>
                  <a:close/>
                  <a:moveTo>
                    <a:pt x="2542" y="2124"/>
                  </a:moveTo>
                  <a:lnTo>
                    <a:pt x="2537" y="2119"/>
                  </a:lnTo>
                  <a:lnTo>
                    <a:pt x="2537" y="2107"/>
                  </a:lnTo>
                  <a:lnTo>
                    <a:pt x="2542" y="2107"/>
                  </a:lnTo>
                  <a:lnTo>
                    <a:pt x="2542" y="2124"/>
                  </a:lnTo>
                  <a:lnTo>
                    <a:pt x="2542" y="2124"/>
                  </a:lnTo>
                  <a:lnTo>
                    <a:pt x="2542" y="2124"/>
                  </a:lnTo>
                  <a:close/>
                  <a:moveTo>
                    <a:pt x="2504" y="2135"/>
                  </a:moveTo>
                  <a:lnTo>
                    <a:pt x="2504" y="2119"/>
                  </a:lnTo>
                  <a:lnTo>
                    <a:pt x="2513" y="2124"/>
                  </a:lnTo>
                  <a:lnTo>
                    <a:pt x="2504" y="2135"/>
                  </a:lnTo>
                  <a:lnTo>
                    <a:pt x="2504" y="2135"/>
                  </a:lnTo>
                  <a:lnTo>
                    <a:pt x="2504" y="2135"/>
                  </a:lnTo>
                  <a:close/>
                  <a:moveTo>
                    <a:pt x="2488" y="2140"/>
                  </a:moveTo>
                  <a:lnTo>
                    <a:pt x="2483" y="2135"/>
                  </a:lnTo>
                  <a:lnTo>
                    <a:pt x="2488" y="2135"/>
                  </a:lnTo>
                  <a:lnTo>
                    <a:pt x="2488" y="2140"/>
                  </a:lnTo>
                  <a:lnTo>
                    <a:pt x="2488" y="2140"/>
                  </a:lnTo>
                  <a:lnTo>
                    <a:pt x="2488" y="2140"/>
                  </a:lnTo>
                  <a:close/>
                  <a:moveTo>
                    <a:pt x="2462" y="2140"/>
                  </a:moveTo>
                  <a:lnTo>
                    <a:pt x="2462" y="2135"/>
                  </a:lnTo>
                  <a:lnTo>
                    <a:pt x="2466" y="2135"/>
                  </a:lnTo>
                  <a:lnTo>
                    <a:pt x="2462" y="2140"/>
                  </a:lnTo>
                  <a:lnTo>
                    <a:pt x="2462" y="2140"/>
                  </a:lnTo>
                  <a:lnTo>
                    <a:pt x="2462" y="2140"/>
                  </a:lnTo>
                  <a:close/>
                  <a:moveTo>
                    <a:pt x="2483" y="2152"/>
                  </a:moveTo>
                  <a:lnTo>
                    <a:pt x="2476" y="2140"/>
                  </a:lnTo>
                  <a:lnTo>
                    <a:pt x="2483" y="2135"/>
                  </a:lnTo>
                  <a:lnTo>
                    <a:pt x="2488" y="2140"/>
                  </a:lnTo>
                  <a:lnTo>
                    <a:pt x="2483" y="2152"/>
                  </a:lnTo>
                  <a:lnTo>
                    <a:pt x="2483" y="2152"/>
                  </a:lnTo>
                  <a:lnTo>
                    <a:pt x="2483" y="2152"/>
                  </a:lnTo>
                  <a:close/>
                  <a:moveTo>
                    <a:pt x="2504" y="2152"/>
                  </a:moveTo>
                  <a:lnTo>
                    <a:pt x="2499" y="2140"/>
                  </a:lnTo>
                  <a:lnTo>
                    <a:pt x="2504" y="2140"/>
                  </a:lnTo>
                  <a:lnTo>
                    <a:pt x="2504" y="2152"/>
                  </a:lnTo>
                  <a:lnTo>
                    <a:pt x="2504" y="2152"/>
                  </a:lnTo>
                  <a:lnTo>
                    <a:pt x="2504" y="2152"/>
                  </a:lnTo>
                  <a:close/>
                  <a:moveTo>
                    <a:pt x="2499" y="2152"/>
                  </a:moveTo>
                  <a:lnTo>
                    <a:pt x="2488" y="2152"/>
                  </a:lnTo>
                  <a:lnTo>
                    <a:pt x="2499" y="2140"/>
                  </a:lnTo>
                  <a:lnTo>
                    <a:pt x="2499" y="2152"/>
                  </a:lnTo>
                  <a:lnTo>
                    <a:pt x="2499" y="2152"/>
                  </a:lnTo>
                  <a:lnTo>
                    <a:pt x="2499" y="2152"/>
                  </a:lnTo>
                  <a:close/>
                  <a:moveTo>
                    <a:pt x="2537" y="2157"/>
                  </a:moveTo>
                  <a:lnTo>
                    <a:pt x="2537" y="2152"/>
                  </a:lnTo>
                  <a:lnTo>
                    <a:pt x="2542" y="2157"/>
                  </a:lnTo>
                  <a:lnTo>
                    <a:pt x="2537" y="2157"/>
                  </a:lnTo>
                  <a:lnTo>
                    <a:pt x="2537" y="2157"/>
                  </a:lnTo>
                  <a:lnTo>
                    <a:pt x="2537" y="2157"/>
                  </a:lnTo>
                  <a:close/>
                  <a:moveTo>
                    <a:pt x="2488" y="2157"/>
                  </a:moveTo>
                  <a:lnTo>
                    <a:pt x="2476" y="2152"/>
                  </a:lnTo>
                  <a:lnTo>
                    <a:pt x="2488" y="2152"/>
                  </a:lnTo>
                  <a:lnTo>
                    <a:pt x="2488" y="2157"/>
                  </a:lnTo>
                  <a:lnTo>
                    <a:pt x="2488" y="2157"/>
                  </a:lnTo>
                  <a:lnTo>
                    <a:pt x="2488" y="2157"/>
                  </a:lnTo>
                  <a:close/>
                  <a:moveTo>
                    <a:pt x="2504" y="2157"/>
                  </a:moveTo>
                  <a:lnTo>
                    <a:pt x="2499" y="2157"/>
                  </a:lnTo>
                  <a:lnTo>
                    <a:pt x="2504" y="2152"/>
                  </a:lnTo>
                  <a:lnTo>
                    <a:pt x="2504" y="2157"/>
                  </a:lnTo>
                  <a:lnTo>
                    <a:pt x="2504" y="2157"/>
                  </a:lnTo>
                  <a:lnTo>
                    <a:pt x="2504" y="2157"/>
                  </a:lnTo>
                  <a:close/>
                  <a:moveTo>
                    <a:pt x="2568" y="2190"/>
                  </a:moveTo>
                  <a:lnTo>
                    <a:pt x="2537" y="2206"/>
                  </a:lnTo>
                  <a:lnTo>
                    <a:pt x="2530" y="2197"/>
                  </a:lnTo>
                  <a:lnTo>
                    <a:pt x="2537" y="2190"/>
                  </a:lnTo>
                  <a:lnTo>
                    <a:pt x="2530" y="2190"/>
                  </a:lnTo>
                  <a:lnTo>
                    <a:pt x="2521" y="2180"/>
                  </a:lnTo>
                  <a:lnTo>
                    <a:pt x="2537" y="2173"/>
                  </a:lnTo>
                  <a:lnTo>
                    <a:pt x="2537" y="2157"/>
                  </a:lnTo>
                  <a:lnTo>
                    <a:pt x="2551" y="2157"/>
                  </a:lnTo>
                  <a:lnTo>
                    <a:pt x="2575" y="2161"/>
                  </a:lnTo>
                  <a:lnTo>
                    <a:pt x="2568" y="2180"/>
                  </a:lnTo>
                  <a:lnTo>
                    <a:pt x="2551" y="2173"/>
                  </a:lnTo>
                  <a:lnTo>
                    <a:pt x="2568" y="2180"/>
                  </a:lnTo>
                  <a:lnTo>
                    <a:pt x="2568" y="2190"/>
                  </a:lnTo>
                  <a:lnTo>
                    <a:pt x="2568" y="2190"/>
                  </a:lnTo>
                  <a:lnTo>
                    <a:pt x="2568" y="2190"/>
                  </a:lnTo>
                  <a:close/>
                  <a:moveTo>
                    <a:pt x="2488" y="2161"/>
                  </a:moveTo>
                  <a:lnTo>
                    <a:pt x="2488" y="2157"/>
                  </a:lnTo>
                  <a:lnTo>
                    <a:pt x="2499" y="2157"/>
                  </a:lnTo>
                  <a:lnTo>
                    <a:pt x="2488" y="2161"/>
                  </a:lnTo>
                  <a:lnTo>
                    <a:pt x="2488" y="2161"/>
                  </a:lnTo>
                  <a:lnTo>
                    <a:pt x="2488" y="2161"/>
                  </a:lnTo>
                  <a:close/>
                  <a:moveTo>
                    <a:pt x="2462" y="2173"/>
                  </a:moveTo>
                  <a:lnTo>
                    <a:pt x="2445" y="2161"/>
                  </a:lnTo>
                  <a:lnTo>
                    <a:pt x="2462" y="2157"/>
                  </a:lnTo>
                  <a:lnTo>
                    <a:pt x="2466" y="2161"/>
                  </a:lnTo>
                  <a:lnTo>
                    <a:pt x="2462" y="2173"/>
                  </a:lnTo>
                  <a:lnTo>
                    <a:pt x="2462" y="2173"/>
                  </a:lnTo>
                  <a:lnTo>
                    <a:pt x="2462" y="2173"/>
                  </a:lnTo>
                  <a:close/>
                  <a:moveTo>
                    <a:pt x="2483" y="2173"/>
                  </a:moveTo>
                  <a:lnTo>
                    <a:pt x="2476" y="2157"/>
                  </a:lnTo>
                  <a:lnTo>
                    <a:pt x="2488" y="2161"/>
                  </a:lnTo>
                  <a:lnTo>
                    <a:pt x="2488" y="2173"/>
                  </a:lnTo>
                  <a:lnTo>
                    <a:pt x="2483" y="2173"/>
                  </a:lnTo>
                  <a:lnTo>
                    <a:pt x="2483" y="2173"/>
                  </a:lnTo>
                  <a:lnTo>
                    <a:pt x="2483" y="2173"/>
                  </a:lnTo>
                  <a:close/>
                  <a:moveTo>
                    <a:pt x="2462" y="2173"/>
                  </a:moveTo>
                  <a:lnTo>
                    <a:pt x="2462" y="2161"/>
                  </a:lnTo>
                  <a:lnTo>
                    <a:pt x="2466" y="2161"/>
                  </a:lnTo>
                  <a:lnTo>
                    <a:pt x="2476" y="2173"/>
                  </a:lnTo>
                  <a:lnTo>
                    <a:pt x="2462" y="2173"/>
                  </a:lnTo>
                  <a:lnTo>
                    <a:pt x="2462" y="2173"/>
                  </a:lnTo>
                  <a:lnTo>
                    <a:pt x="2462" y="2173"/>
                  </a:lnTo>
                  <a:close/>
                  <a:moveTo>
                    <a:pt x="2504" y="2190"/>
                  </a:moveTo>
                  <a:lnTo>
                    <a:pt x="2499" y="2173"/>
                  </a:lnTo>
                  <a:lnTo>
                    <a:pt x="2504" y="2173"/>
                  </a:lnTo>
                  <a:lnTo>
                    <a:pt x="2513" y="2180"/>
                  </a:lnTo>
                  <a:lnTo>
                    <a:pt x="2504" y="2190"/>
                  </a:lnTo>
                  <a:lnTo>
                    <a:pt x="2504" y="2190"/>
                  </a:lnTo>
                  <a:lnTo>
                    <a:pt x="2504" y="2190"/>
                  </a:lnTo>
                  <a:close/>
                  <a:moveTo>
                    <a:pt x="2428" y="2180"/>
                  </a:moveTo>
                  <a:lnTo>
                    <a:pt x="2428" y="2173"/>
                  </a:lnTo>
                  <a:lnTo>
                    <a:pt x="2433" y="2173"/>
                  </a:lnTo>
                  <a:lnTo>
                    <a:pt x="2428" y="2180"/>
                  </a:lnTo>
                  <a:lnTo>
                    <a:pt x="2428" y="2180"/>
                  </a:lnTo>
                  <a:lnTo>
                    <a:pt x="2428" y="2180"/>
                  </a:lnTo>
                  <a:close/>
                  <a:moveTo>
                    <a:pt x="2466" y="2190"/>
                  </a:moveTo>
                  <a:lnTo>
                    <a:pt x="2462" y="2180"/>
                  </a:lnTo>
                  <a:lnTo>
                    <a:pt x="2483" y="2173"/>
                  </a:lnTo>
                  <a:lnTo>
                    <a:pt x="2488" y="2180"/>
                  </a:lnTo>
                  <a:lnTo>
                    <a:pt x="2466" y="2190"/>
                  </a:lnTo>
                  <a:lnTo>
                    <a:pt x="2466" y="2190"/>
                  </a:lnTo>
                  <a:lnTo>
                    <a:pt x="2466" y="2190"/>
                  </a:lnTo>
                  <a:close/>
                  <a:moveTo>
                    <a:pt x="2450" y="2180"/>
                  </a:moveTo>
                  <a:lnTo>
                    <a:pt x="2433" y="2180"/>
                  </a:lnTo>
                  <a:lnTo>
                    <a:pt x="2445" y="2173"/>
                  </a:lnTo>
                  <a:lnTo>
                    <a:pt x="2450" y="2180"/>
                  </a:lnTo>
                  <a:lnTo>
                    <a:pt x="2450" y="2180"/>
                  </a:lnTo>
                  <a:lnTo>
                    <a:pt x="2450" y="2180"/>
                  </a:lnTo>
                  <a:close/>
                  <a:moveTo>
                    <a:pt x="2462" y="2197"/>
                  </a:moveTo>
                  <a:lnTo>
                    <a:pt x="2445" y="2190"/>
                  </a:lnTo>
                  <a:lnTo>
                    <a:pt x="2450" y="2190"/>
                  </a:lnTo>
                  <a:lnTo>
                    <a:pt x="2462" y="2197"/>
                  </a:lnTo>
                  <a:lnTo>
                    <a:pt x="2462" y="2197"/>
                  </a:lnTo>
                  <a:lnTo>
                    <a:pt x="2462" y="2197"/>
                  </a:lnTo>
                  <a:close/>
                  <a:moveTo>
                    <a:pt x="2504" y="2197"/>
                  </a:moveTo>
                  <a:lnTo>
                    <a:pt x="2504" y="2190"/>
                  </a:lnTo>
                  <a:lnTo>
                    <a:pt x="2513" y="2190"/>
                  </a:lnTo>
                  <a:lnTo>
                    <a:pt x="2504" y="2197"/>
                  </a:lnTo>
                  <a:lnTo>
                    <a:pt x="2504" y="2197"/>
                  </a:lnTo>
                  <a:lnTo>
                    <a:pt x="2504" y="2197"/>
                  </a:lnTo>
                  <a:close/>
                  <a:moveTo>
                    <a:pt x="2499" y="2206"/>
                  </a:moveTo>
                  <a:lnTo>
                    <a:pt x="2488" y="2197"/>
                  </a:lnTo>
                  <a:lnTo>
                    <a:pt x="2488" y="2190"/>
                  </a:lnTo>
                  <a:lnTo>
                    <a:pt x="2499" y="2206"/>
                  </a:lnTo>
                  <a:lnTo>
                    <a:pt x="2499" y="2206"/>
                  </a:lnTo>
                  <a:lnTo>
                    <a:pt x="2499" y="2206"/>
                  </a:lnTo>
                  <a:close/>
                  <a:moveTo>
                    <a:pt x="2483" y="2197"/>
                  </a:moveTo>
                  <a:lnTo>
                    <a:pt x="2476" y="2197"/>
                  </a:lnTo>
                  <a:lnTo>
                    <a:pt x="2488" y="2190"/>
                  </a:lnTo>
                  <a:lnTo>
                    <a:pt x="2483" y="2197"/>
                  </a:lnTo>
                  <a:lnTo>
                    <a:pt x="2483" y="2197"/>
                  </a:lnTo>
                  <a:lnTo>
                    <a:pt x="2483" y="2197"/>
                  </a:lnTo>
                  <a:close/>
                  <a:moveTo>
                    <a:pt x="2407" y="2206"/>
                  </a:moveTo>
                  <a:lnTo>
                    <a:pt x="2407" y="2197"/>
                  </a:lnTo>
                  <a:lnTo>
                    <a:pt x="2407" y="2190"/>
                  </a:lnTo>
                  <a:lnTo>
                    <a:pt x="2412" y="2197"/>
                  </a:lnTo>
                  <a:lnTo>
                    <a:pt x="2407" y="2206"/>
                  </a:lnTo>
                  <a:lnTo>
                    <a:pt x="2407" y="2206"/>
                  </a:lnTo>
                  <a:lnTo>
                    <a:pt x="2407" y="2206"/>
                  </a:lnTo>
                  <a:close/>
                  <a:moveTo>
                    <a:pt x="2466" y="2213"/>
                  </a:moveTo>
                  <a:lnTo>
                    <a:pt x="2462" y="2213"/>
                  </a:lnTo>
                  <a:lnTo>
                    <a:pt x="2476" y="2197"/>
                  </a:lnTo>
                  <a:lnTo>
                    <a:pt x="2488" y="2206"/>
                  </a:lnTo>
                  <a:lnTo>
                    <a:pt x="2466" y="2213"/>
                  </a:lnTo>
                  <a:lnTo>
                    <a:pt x="2466" y="2213"/>
                  </a:lnTo>
                  <a:lnTo>
                    <a:pt x="2466" y="2213"/>
                  </a:lnTo>
                  <a:close/>
                  <a:moveTo>
                    <a:pt x="2504" y="2235"/>
                  </a:moveTo>
                  <a:lnTo>
                    <a:pt x="2466" y="2230"/>
                  </a:lnTo>
                  <a:lnTo>
                    <a:pt x="2466" y="2218"/>
                  </a:lnTo>
                  <a:lnTo>
                    <a:pt x="2499" y="2213"/>
                  </a:lnTo>
                  <a:lnTo>
                    <a:pt x="2504" y="2218"/>
                  </a:lnTo>
                  <a:lnTo>
                    <a:pt x="2504" y="2235"/>
                  </a:lnTo>
                  <a:lnTo>
                    <a:pt x="2504" y="2235"/>
                  </a:lnTo>
                  <a:lnTo>
                    <a:pt x="2504" y="2235"/>
                  </a:lnTo>
                  <a:close/>
                  <a:moveTo>
                    <a:pt x="2462" y="2235"/>
                  </a:moveTo>
                  <a:lnTo>
                    <a:pt x="2450" y="2230"/>
                  </a:lnTo>
                  <a:lnTo>
                    <a:pt x="2462" y="2218"/>
                  </a:lnTo>
                  <a:lnTo>
                    <a:pt x="2466" y="2230"/>
                  </a:lnTo>
                  <a:lnTo>
                    <a:pt x="2462" y="2235"/>
                  </a:lnTo>
                  <a:lnTo>
                    <a:pt x="2462" y="2235"/>
                  </a:lnTo>
                  <a:lnTo>
                    <a:pt x="2462" y="2235"/>
                  </a:lnTo>
                  <a:close/>
                  <a:moveTo>
                    <a:pt x="2483" y="2247"/>
                  </a:moveTo>
                  <a:lnTo>
                    <a:pt x="2476" y="2230"/>
                  </a:lnTo>
                  <a:lnTo>
                    <a:pt x="2483" y="2230"/>
                  </a:lnTo>
                  <a:lnTo>
                    <a:pt x="2499" y="2235"/>
                  </a:lnTo>
                  <a:lnTo>
                    <a:pt x="2483" y="2247"/>
                  </a:lnTo>
                  <a:lnTo>
                    <a:pt x="2483" y="2247"/>
                  </a:lnTo>
                  <a:lnTo>
                    <a:pt x="2483" y="2247"/>
                  </a:lnTo>
                  <a:close/>
                  <a:moveTo>
                    <a:pt x="2462" y="2247"/>
                  </a:moveTo>
                  <a:lnTo>
                    <a:pt x="2445" y="2235"/>
                  </a:lnTo>
                  <a:lnTo>
                    <a:pt x="2462" y="2235"/>
                  </a:lnTo>
                  <a:lnTo>
                    <a:pt x="2462" y="2247"/>
                  </a:lnTo>
                  <a:lnTo>
                    <a:pt x="2462" y="2247"/>
                  </a:lnTo>
                  <a:lnTo>
                    <a:pt x="2462" y="2247"/>
                  </a:lnTo>
                  <a:close/>
                  <a:moveTo>
                    <a:pt x="2488" y="2251"/>
                  </a:moveTo>
                  <a:lnTo>
                    <a:pt x="2483" y="2247"/>
                  </a:lnTo>
                  <a:lnTo>
                    <a:pt x="2499" y="2247"/>
                  </a:lnTo>
                  <a:lnTo>
                    <a:pt x="2488" y="2251"/>
                  </a:lnTo>
                  <a:lnTo>
                    <a:pt x="2488" y="2251"/>
                  </a:lnTo>
                  <a:lnTo>
                    <a:pt x="2488" y="2251"/>
                  </a:lnTo>
                  <a:close/>
                  <a:moveTo>
                    <a:pt x="2450" y="2263"/>
                  </a:moveTo>
                  <a:lnTo>
                    <a:pt x="2445" y="2263"/>
                  </a:lnTo>
                  <a:lnTo>
                    <a:pt x="2450" y="2247"/>
                  </a:lnTo>
                  <a:lnTo>
                    <a:pt x="2450" y="2263"/>
                  </a:lnTo>
                  <a:lnTo>
                    <a:pt x="2450" y="2263"/>
                  </a:lnTo>
                  <a:lnTo>
                    <a:pt x="2450" y="2263"/>
                  </a:lnTo>
                  <a:close/>
                  <a:moveTo>
                    <a:pt x="2476" y="2263"/>
                  </a:moveTo>
                  <a:lnTo>
                    <a:pt x="2483" y="2247"/>
                  </a:lnTo>
                  <a:lnTo>
                    <a:pt x="2499" y="2251"/>
                  </a:lnTo>
                  <a:lnTo>
                    <a:pt x="2499" y="2263"/>
                  </a:lnTo>
                  <a:lnTo>
                    <a:pt x="2483" y="2251"/>
                  </a:lnTo>
                  <a:lnTo>
                    <a:pt x="2476" y="2263"/>
                  </a:lnTo>
                  <a:lnTo>
                    <a:pt x="2476" y="2263"/>
                  </a:lnTo>
                  <a:lnTo>
                    <a:pt x="2476" y="2263"/>
                  </a:lnTo>
                  <a:close/>
                  <a:moveTo>
                    <a:pt x="2504" y="2272"/>
                  </a:moveTo>
                  <a:lnTo>
                    <a:pt x="2499" y="2268"/>
                  </a:lnTo>
                  <a:lnTo>
                    <a:pt x="2504" y="2251"/>
                  </a:lnTo>
                  <a:lnTo>
                    <a:pt x="2513" y="2251"/>
                  </a:lnTo>
                  <a:lnTo>
                    <a:pt x="2504" y="2272"/>
                  </a:lnTo>
                  <a:lnTo>
                    <a:pt x="2504" y="2272"/>
                  </a:lnTo>
                  <a:lnTo>
                    <a:pt x="2504" y="2272"/>
                  </a:lnTo>
                  <a:close/>
                  <a:moveTo>
                    <a:pt x="2450" y="2272"/>
                  </a:moveTo>
                  <a:lnTo>
                    <a:pt x="2450" y="2263"/>
                  </a:lnTo>
                  <a:lnTo>
                    <a:pt x="2462" y="2251"/>
                  </a:lnTo>
                  <a:lnTo>
                    <a:pt x="2466" y="2268"/>
                  </a:lnTo>
                  <a:lnTo>
                    <a:pt x="2450" y="2272"/>
                  </a:lnTo>
                  <a:lnTo>
                    <a:pt x="2450" y="2272"/>
                  </a:lnTo>
                  <a:lnTo>
                    <a:pt x="2450" y="2272"/>
                  </a:lnTo>
                  <a:close/>
                  <a:moveTo>
                    <a:pt x="2483" y="2272"/>
                  </a:moveTo>
                  <a:lnTo>
                    <a:pt x="2476" y="2263"/>
                  </a:lnTo>
                  <a:lnTo>
                    <a:pt x="2483" y="2263"/>
                  </a:lnTo>
                  <a:lnTo>
                    <a:pt x="2488" y="2268"/>
                  </a:lnTo>
                  <a:lnTo>
                    <a:pt x="2483" y="2272"/>
                  </a:lnTo>
                  <a:lnTo>
                    <a:pt x="2483" y="2272"/>
                  </a:lnTo>
                  <a:lnTo>
                    <a:pt x="2483" y="2272"/>
                  </a:lnTo>
                  <a:close/>
                  <a:moveTo>
                    <a:pt x="2433" y="2272"/>
                  </a:moveTo>
                  <a:lnTo>
                    <a:pt x="2433" y="2268"/>
                  </a:lnTo>
                  <a:lnTo>
                    <a:pt x="2445" y="2263"/>
                  </a:lnTo>
                  <a:lnTo>
                    <a:pt x="2445" y="2272"/>
                  </a:lnTo>
                  <a:lnTo>
                    <a:pt x="2433" y="2272"/>
                  </a:lnTo>
                  <a:lnTo>
                    <a:pt x="2433" y="2272"/>
                  </a:lnTo>
                  <a:lnTo>
                    <a:pt x="2433" y="2272"/>
                  </a:lnTo>
                  <a:close/>
                  <a:moveTo>
                    <a:pt x="2483" y="2289"/>
                  </a:moveTo>
                  <a:lnTo>
                    <a:pt x="2476" y="2284"/>
                  </a:lnTo>
                  <a:lnTo>
                    <a:pt x="2483" y="2272"/>
                  </a:lnTo>
                  <a:lnTo>
                    <a:pt x="2488" y="2284"/>
                  </a:lnTo>
                  <a:lnTo>
                    <a:pt x="2483" y="2289"/>
                  </a:lnTo>
                  <a:lnTo>
                    <a:pt x="2483" y="2289"/>
                  </a:lnTo>
                  <a:lnTo>
                    <a:pt x="2483" y="2289"/>
                  </a:lnTo>
                  <a:close/>
                  <a:moveTo>
                    <a:pt x="2488" y="2301"/>
                  </a:moveTo>
                  <a:lnTo>
                    <a:pt x="2488" y="2289"/>
                  </a:lnTo>
                  <a:lnTo>
                    <a:pt x="2504" y="2284"/>
                  </a:lnTo>
                  <a:lnTo>
                    <a:pt x="2504" y="2289"/>
                  </a:lnTo>
                  <a:lnTo>
                    <a:pt x="2488" y="2301"/>
                  </a:lnTo>
                  <a:lnTo>
                    <a:pt x="2488" y="2301"/>
                  </a:lnTo>
                  <a:lnTo>
                    <a:pt x="2488" y="2301"/>
                  </a:lnTo>
                  <a:close/>
                  <a:moveTo>
                    <a:pt x="2412" y="2308"/>
                  </a:moveTo>
                  <a:lnTo>
                    <a:pt x="2407" y="2301"/>
                  </a:lnTo>
                  <a:lnTo>
                    <a:pt x="2424" y="2301"/>
                  </a:lnTo>
                  <a:lnTo>
                    <a:pt x="2412" y="2301"/>
                  </a:lnTo>
                  <a:lnTo>
                    <a:pt x="2407" y="2289"/>
                  </a:lnTo>
                  <a:lnTo>
                    <a:pt x="2424" y="2289"/>
                  </a:lnTo>
                  <a:lnTo>
                    <a:pt x="2433" y="2284"/>
                  </a:lnTo>
                  <a:lnTo>
                    <a:pt x="2428" y="2301"/>
                  </a:lnTo>
                  <a:lnTo>
                    <a:pt x="2412" y="2308"/>
                  </a:lnTo>
                  <a:lnTo>
                    <a:pt x="2412" y="2308"/>
                  </a:lnTo>
                  <a:lnTo>
                    <a:pt x="2412" y="2308"/>
                  </a:lnTo>
                  <a:close/>
                  <a:moveTo>
                    <a:pt x="2504" y="2301"/>
                  </a:moveTo>
                  <a:lnTo>
                    <a:pt x="2499" y="2301"/>
                  </a:lnTo>
                  <a:lnTo>
                    <a:pt x="2499" y="2289"/>
                  </a:lnTo>
                  <a:lnTo>
                    <a:pt x="2504" y="2301"/>
                  </a:lnTo>
                  <a:lnTo>
                    <a:pt x="2504" y="2301"/>
                  </a:lnTo>
                  <a:lnTo>
                    <a:pt x="2504" y="2301"/>
                  </a:lnTo>
                  <a:close/>
                  <a:moveTo>
                    <a:pt x="2499" y="2317"/>
                  </a:moveTo>
                  <a:lnTo>
                    <a:pt x="2488" y="2301"/>
                  </a:lnTo>
                  <a:lnTo>
                    <a:pt x="2504" y="2308"/>
                  </a:lnTo>
                  <a:lnTo>
                    <a:pt x="2499" y="2317"/>
                  </a:lnTo>
                  <a:lnTo>
                    <a:pt x="2499" y="2317"/>
                  </a:lnTo>
                  <a:lnTo>
                    <a:pt x="2499" y="2317"/>
                  </a:lnTo>
                  <a:close/>
                  <a:moveTo>
                    <a:pt x="2476" y="2400"/>
                  </a:moveTo>
                  <a:lnTo>
                    <a:pt x="2476" y="2395"/>
                  </a:lnTo>
                  <a:lnTo>
                    <a:pt x="2488" y="2395"/>
                  </a:lnTo>
                  <a:lnTo>
                    <a:pt x="2476" y="2400"/>
                  </a:lnTo>
                  <a:lnTo>
                    <a:pt x="2476" y="2400"/>
                  </a:lnTo>
                  <a:lnTo>
                    <a:pt x="2476" y="2400"/>
                  </a:lnTo>
                  <a:close/>
                  <a:moveTo>
                    <a:pt x="2450" y="2400"/>
                  </a:moveTo>
                  <a:lnTo>
                    <a:pt x="2450" y="2395"/>
                  </a:lnTo>
                  <a:lnTo>
                    <a:pt x="2462" y="2395"/>
                  </a:lnTo>
                  <a:lnTo>
                    <a:pt x="2450" y="2400"/>
                  </a:lnTo>
                  <a:lnTo>
                    <a:pt x="2450" y="2400"/>
                  </a:lnTo>
                  <a:lnTo>
                    <a:pt x="2450" y="2400"/>
                  </a:lnTo>
                  <a:close/>
                  <a:moveTo>
                    <a:pt x="2412" y="2457"/>
                  </a:moveTo>
                  <a:lnTo>
                    <a:pt x="2407" y="2452"/>
                  </a:lnTo>
                  <a:lnTo>
                    <a:pt x="2424" y="2457"/>
                  </a:lnTo>
                  <a:lnTo>
                    <a:pt x="2412" y="2457"/>
                  </a:lnTo>
                  <a:lnTo>
                    <a:pt x="2412" y="2457"/>
                  </a:lnTo>
                  <a:lnTo>
                    <a:pt x="2412" y="2457"/>
                  </a:lnTo>
                  <a:close/>
                  <a:moveTo>
                    <a:pt x="2407" y="2469"/>
                  </a:moveTo>
                  <a:lnTo>
                    <a:pt x="2391" y="2457"/>
                  </a:lnTo>
                  <a:lnTo>
                    <a:pt x="2407" y="2452"/>
                  </a:lnTo>
                  <a:lnTo>
                    <a:pt x="2412" y="2469"/>
                  </a:lnTo>
                  <a:lnTo>
                    <a:pt x="2407" y="2469"/>
                  </a:lnTo>
                  <a:lnTo>
                    <a:pt x="2407" y="2469"/>
                  </a:lnTo>
                  <a:lnTo>
                    <a:pt x="2407" y="2469"/>
                  </a:lnTo>
                  <a:close/>
                  <a:moveTo>
                    <a:pt x="2462" y="2485"/>
                  </a:moveTo>
                  <a:lnTo>
                    <a:pt x="2450" y="2473"/>
                  </a:lnTo>
                  <a:lnTo>
                    <a:pt x="2466" y="2469"/>
                  </a:lnTo>
                  <a:lnTo>
                    <a:pt x="2499" y="2473"/>
                  </a:lnTo>
                  <a:lnTo>
                    <a:pt x="2488" y="2473"/>
                  </a:lnTo>
                  <a:lnTo>
                    <a:pt x="2462" y="2485"/>
                  </a:lnTo>
                  <a:lnTo>
                    <a:pt x="2462" y="2485"/>
                  </a:lnTo>
                  <a:lnTo>
                    <a:pt x="2462" y="2485"/>
                  </a:lnTo>
                  <a:close/>
                  <a:moveTo>
                    <a:pt x="2424" y="2490"/>
                  </a:moveTo>
                  <a:lnTo>
                    <a:pt x="2412" y="2485"/>
                  </a:lnTo>
                  <a:lnTo>
                    <a:pt x="2395" y="2485"/>
                  </a:lnTo>
                  <a:lnTo>
                    <a:pt x="2428" y="2469"/>
                  </a:lnTo>
                  <a:lnTo>
                    <a:pt x="2428" y="2485"/>
                  </a:lnTo>
                  <a:lnTo>
                    <a:pt x="2424" y="2490"/>
                  </a:lnTo>
                  <a:lnTo>
                    <a:pt x="2424" y="2490"/>
                  </a:lnTo>
                  <a:lnTo>
                    <a:pt x="2424" y="2490"/>
                  </a:lnTo>
                  <a:close/>
                  <a:moveTo>
                    <a:pt x="2395" y="2544"/>
                  </a:moveTo>
                  <a:lnTo>
                    <a:pt x="2395" y="2539"/>
                  </a:lnTo>
                  <a:lnTo>
                    <a:pt x="2391" y="2523"/>
                  </a:lnTo>
                  <a:lnTo>
                    <a:pt x="2374" y="2523"/>
                  </a:lnTo>
                  <a:lnTo>
                    <a:pt x="2391" y="2506"/>
                  </a:lnTo>
                  <a:lnTo>
                    <a:pt x="2374" y="2511"/>
                  </a:lnTo>
                  <a:lnTo>
                    <a:pt x="2374" y="2490"/>
                  </a:lnTo>
                  <a:lnTo>
                    <a:pt x="2379" y="2485"/>
                  </a:lnTo>
                  <a:lnTo>
                    <a:pt x="2391" y="2485"/>
                  </a:lnTo>
                  <a:lnTo>
                    <a:pt x="2407" y="2528"/>
                  </a:lnTo>
                  <a:lnTo>
                    <a:pt x="2407" y="2539"/>
                  </a:lnTo>
                  <a:lnTo>
                    <a:pt x="2395" y="2544"/>
                  </a:lnTo>
                  <a:lnTo>
                    <a:pt x="2395" y="2544"/>
                  </a:lnTo>
                  <a:lnTo>
                    <a:pt x="2395" y="2544"/>
                  </a:lnTo>
                  <a:close/>
                  <a:moveTo>
                    <a:pt x="2412" y="2523"/>
                  </a:moveTo>
                  <a:lnTo>
                    <a:pt x="2395" y="2490"/>
                  </a:lnTo>
                  <a:lnTo>
                    <a:pt x="2428" y="2495"/>
                  </a:lnTo>
                  <a:lnTo>
                    <a:pt x="2428" y="2511"/>
                  </a:lnTo>
                  <a:lnTo>
                    <a:pt x="2412" y="2523"/>
                  </a:lnTo>
                  <a:lnTo>
                    <a:pt x="2412" y="2523"/>
                  </a:lnTo>
                  <a:lnTo>
                    <a:pt x="2412" y="2523"/>
                  </a:lnTo>
                  <a:close/>
                  <a:moveTo>
                    <a:pt x="2445" y="2511"/>
                  </a:moveTo>
                  <a:lnTo>
                    <a:pt x="2445" y="2506"/>
                  </a:lnTo>
                  <a:lnTo>
                    <a:pt x="2445" y="2490"/>
                  </a:lnTo>
                  <a:lnTo>
                    <a:pt x="2462" y="2506"/>
                  </a:lnTo>
                  <a:lnTo>
                    <a:pt x="2445" y="2511"/>
                  </a:lnTo>
                  <a:lnTo>
                    <a:pt x="2445" y="2511"/>
                  </a:lnTo>
                  <a:lnTo>
                    <a:pt x="2445" y="2511"/>
                  </a:lnTo>
                  <a:close/>
                  <a:moveTo>
                    <a:pt x="2445" y="2544"/>
                  </a:moveTo>
                  <a:lnTo>
                    <a:pt x="2412" y="2539"/>
                  </a:lnTo>
                  <a:lnTo>
                    <a:pt x="2412" y="2528"/>
                  </a:lnTo>
                  <a:lnTo>
                    <a:pt x="2424" y="2523"/>
                  </a:lnTo>
                  <a:lnTo>
                    <a:pt x="2433" y="2523"/>
                  </a:lnTo>
                  <a:lnTo>
                    <a:pt x="2428" y="2511"/>
                  </a:lnTo>
                  <a:lnTo>
                    <a:pt x="2433" y="2490"/>
                  </a:lnTo>
                  <a:lnTo>
                    <a:pt x="2445" y="2523"/>
                  </a:lnTo>
                  <a:lnTo>
                    <a:pt x="2445" y="2539"/>
                  </a:lnTo>
                  <a:lnTo>
                    <a:pt x="2450" y="2539"/>
                  </a:lnTo>
                  <a:lnTo>
                    <a:pt x="2445" y="2544"/>
                  </a:lnTo>
                  <a:lnTo>
                    <a:pt x="2445" y="2544"/>
                  </a:lnTo>
                  <a:lnTo>
                    <a:pt x="2445" y="2544"/>
                  </a:lnTo>
                  <a:close/>
                  <a:moveTo>
                    <a:pt x="2466" y="2523"/>
                  </a:moveTo>
                  <a:lnTo>
                    <a:pt x="2450" y="2511"/>
                  </a:lnTo>
                  <a:lnTo>
                    <a:pt x="2462" y="2506"/>
                  </a:lnTo>
                  <a:lnTo>
                    <a:pt x="2466" y="2523"/>
                  </a:lnTo>
                  <a:lnTo>
                    <a:pt x="2466" y="2523"/>
                  </a:lnTo>
                  <a:lnTo>
                    <a:pt x="2466" y="2523"/>
                  </a:lnTo>
                  <a:close/>
                  <a:moveTo>
                    <a:pt x="2483" y="2528"/>
                  </a:moveTo>
                  <a:lnTo>
                    <a:pt x="2466" y="2511"/>
                  </a:lnTo>
                  <a:lnTo>
                    <a:pt x="2483" y="2523"/>
                  </a:lnTo>
                  <a:lnTo>
                    <a:pt x="2483" y="2528"/>
                  </a:lnTo>
                  <a:lnTo>
                    <a:pt x="2483" y="2528"/>
                  </a:lnTo>
                  <a:lnTo>
                    <a:pt x="2483" y="2528"/>
                  </a:lnTo>
                  <a:close/>
                  <a:moveTo>
                    <a:pt x="2450" y="2528"/>
                  </a:moveTo>
                  <a:lnTo>
                    <a:pt x="2450" y="2523"/>
                  </a:lnTo>
                  <a:lnTo>
                    <a:pt x="2466" y="2523"/>
                  </a:lnTo>
                  <a:lnTo>
                    <a:pt x="2450" y="2528"/>
                  </a:lnTo>
                  <a:lnTo>
                    <a:pt x="2450" y="2528"/>
                  </a:lnTo>
                  <a:lnTo>
                    <a:pt x="2450" y="2528"/>
                  </a:lnTo>
                  <a:close/>
                  <a:moveTo>
                    <a:pt x="2374" y="2544"/>
                  </a:moveTo>
                  <a:lnTo>
                    <a:pt x="2379" y="2539"/>
                  </a:lnTo>
                  <a:lnTo>
                    <a:pt x="2369" y="2539"/>
                  </a:lnTo>
                  <a:lnTo>
                    <a:pt x="2374" y="2523"/>
                  </a:lnTo>
                  <a:lnTo>
                    <a:pt x="2391" y="2523"/>
                  </a:lnTo>
                  <a:lnTo>
                    <a:pt x="2391" y="2539"/>
                  </a:lnTo>
                  <a:lnTo>
                    <a:pt x="2374" y="2544"/>
                  </a:lnTo>
                  <a:lnTo>
                    <a:pt x="2374" y="2544"/>
                  </a:lnTo>
                  <a:lnTo>
                    <a:pt x="2374" y="2544"/>
                  </a:lnTo>
                  <a:close/>
                  <a:moveTo>
                    <a:pt x="2407" y="2561"/>
                  </a:moveTo>
                  <a:lnTo>
                    <a:pt x="2395" y="2551"/>
                  </a:lnTo>
                  <a:lnTo>
                    <a:pt x="2412" y="2539"/>
                  </a:lnTo>
                  <a:lnTo>
                    <a:pt x="2407" y="2561"/>
                  </a:lnTo>
                  <a:lnTo>
                    <a:pt x="2407" y="2561"/>
                  </a:lnTo>
                  <a:lnTo>
                    <a:pt x="2407" y="2561"/>
                  </a:lnTo>
                  <a:close/>
                  <a:moveTo>
                    <a:pt x="2374" y="2551"/>
                  </a:moveTo>
                  <a:lnTo>
                    <a:pt x="2369" y="2544"/>
                  </a:lnTo>
                  <a:lnTo>
                    <a:pt x="2391" y="2539"/>
                  </a:lnTo>
                  <a:lnTo>
                    <a:pt x="2395" y="2544"/>
                  </a:lnTo>
                  <a:lnTo>
                    <a:pt x="2374" y="2551"/>
                  </a:lnTo>
                  <a:lnTo>
                    <a:pt x="2374" y="2551"/>
                  </a:lnTo>
                  <a:lnTo>
                    <a:pt x="2374" y="2551"/>
                  </a:lnTo>
                  <a:close/>
                  <a:moveTo>
                    <a:pt x="2412" y="2551"/>
                  </a:moveTo>
                  <a:lnTo>
                    <a:pt x="2412" y="2539"/>
                  </a:lnTo>
                  <a:lnTo>
                    <a:pt x="2428" y="2544"/>
                  </a:lnTo>
                  <a:lnTo>
                    <a:pt x="2412" y="2551"/>
                  </a:lnTo>
                  <a:lnTo>
                    <a:pt x="2412" y="2551"/>
                  </a:lnTo>
                  <a:lnTo>
                    <a:pt x="2412" y="2551"/>
                  </a:lnTo>
                  <a:close/>
                  <a:moveTo>
                    <a:pt x="2428" y="2672"/>
                  </a:moveTo>
                  <a:lnTo>
                    <a:pt x="2424" y="2662"/>
                  </a:lnTo>
                  <a:lnTo>
                    <a:pt x="2433" y="2662"/>
                  </a:lnTo>
                  <a:lnTo>
                    <a:pt x="2433" y="2655"/>
                  </a:lnTo>
                  <a:lnTo>
                    <a:pt x="2424" y="2662"/>
                  </a:lnTo>
                  <a:lnTo>
                    <a:pt x="2424" y="2639"/>
                  </a:lnTo>
                  <a:lnTo>
                    <a:pt x="2424" y="2622"/>
                  </a:lnTo>
                  <a:lnTo>
                    <a:pt x="2433" y="2606"/>
                  </a:lnTo>
                  <a:lnTo>
                    <a:pt x="2424" y="2622"/>
                  </a:lnTo>
                  <a:lnTo>
                    <a:pt x="2412" y="2622"/>
                  </a:lnTo>
                  <a:lnTo>
                    <a:pt x="2412" y="2655"/>
                  </a:lnTo>
                  <a:lnTo>
                    <a:pt x="2407" y="2655"/>
                  </a:lnTo>
                  <a:lnTo>
                    <a:pt x="2391" y="2634"/>
                  </a:lnTo>
                  <a:lnTo>
                    <a:pt x="2395" y="2617"/>
                  </a:lnTo>
                  <a:lnTo>
                    <a:pt x="2379" y="2617"/>
                  </a:lnTo>
                  <a:lnTo>
                    <a:pt x="2379" y="2601"/>
                  </a:lnTo>
                  <a:lnTo>
                    <a:pt x="2391" y="2601"/>
                  </a:lnTo>
                  <a:lnTo>
                    <a:pt x="2407" y="2617"/>
                  </a:lnTo>
                  <a:lnTo>
                    <a:pt x="2391" y="2601"/>
                  </a:lnTo>
                  <a:lnTo>
                    <a:pt x="2407" y="2606"/>
                  </a:lnTo>
                  <a:lnTo>
                    <a:pt x="2407" y="2596"/>
                  </a:lnTo>
                  <a:lnTo>
                    <a:pt x="2424" y="2601"/>
                  </a:lnTo>
                  <a:lnTo>
                    <a:pt x="2428" y="2584"/>
                  </a:lnTo>
                  <a:lnTo>
                    <a:pt x="2412" y="2561"/>
                  </a:lnTo>
                  <a:lnTo>
                    <a:pt x="2428" y="2544"/>
                  </a:lnTo>
                  <a:lnTo>
                    <a:pt x="2450" y="2544"/>
                  </a:lnTo>
                  <a:lnTo>
                    <a:pt x="2450" y="2601"/>
                  </a:lnTo>
                  <a:lnTo>
                    <a:pt x="2445" y="2639"/>
                  </a:lnTo>
                  <a:lnTo>
                    <a:pt x="2450" y="2634"/>
                  </a:lnTo>
                  <a:lnTo>
                    <a:pt x="2462" y="2639"/>
                  </a:lnTo>
                  <a:lnTo>
                    <a:pt x="2450" y="2662"/>
                  </a:lnTo>
                  <a:lnTo>
                    <a:pt x="2428" y="2672"/>
                  </a:lnTo>
                  <a:lnTo>
                    <a:pt x="2428" y="2672"/>
                  </a:lnTo>
                  <a:lnTo>
                    <a:pt x="2428" y="2672"/>
                  </a:lnTo>
                  <a:close/>
                  <a:moveTo>
                    <a:pt x="2395" y="2568"/>
                  </a:moveTo>
                  <a:lnTo>
                    <a:pt x="2391" y="2551"/>
                  </a:lnTo>
                  <a:lnTo>
                    <a:pt x="2407" y="2561"/>
                  </a:lnTo>
                  <a:lnTo>
                    <a:pt x="2412" y="2568"/>
                  </a:lnTo>
                  <a:lnTo>
                    <a:pt x="2395" y="2568"/>
                  </a:lnTo>
                  <a:lnTo>
                    <a:pt x="2395" y="2568"/>
                  </a:lnTo>
                  <a:lnTo>
                    <a:pt x="2395" y="2568"/>
                  </a:lnTo>
                  <a:close/>
                  <a:moveTo>
                    <a:pt x="2395" y="2584"/>
                  </a:moveTo>
                  <a:lnTo>
                    <a:pt x="2391" y="2568"/>
                  </a:lnTo>
                  <a:lnTo>
                    <a:pt x="2379" y="2580"/>
                  </a:lnTo>
                  <a:lnTo>
                    <a:pt x="2369" y="2561"/>
                  </a:lnTo>
                  <a:lnTo>
                    <a:pt x="2391" y="2561"/>
                  </a:lnTo>
                  <a:lnTo>
                    <a:pt x="2395" y="2580"/>
                  </a:lnTo>
                  <a:lnTo>
                    <a:pt x="2395" y="2584"/>
                  </a:lnTo>
                  <a:lnTo>
                    <a:pt x="2395" y="2584"/>
                  </a:lnTo>
                  <a:lnTo>
                    <a:pt x="2395" y="2584"/>
                  </a:lnTo>
                  <a:close/>
                  <a:moveTo>
                    <a:pt x="2374" y="2601"/>
                  </a:moveTo>
                  <a:lnTo>
                    <a:pt x="2369" y="2596"/>
                  </a:lnTo>
                  <a:lnTo>
                    <a:pt x="2391" y="2568"/>
                  </a:lnTo>
                  <a:lnTo>
                    <a:pt x="2395" y="2584"/>
                  </a:lnTo>
                  <a:lnTo>
                    <a:pt x="2374" y="2601"/>
                  </a:lnTo>
                  <a:lnTo>
                    <a:pt x="2374" y="2601"/>
                  </a:lnTo>
                  <a:lnTo>
                    <a:pt x="2374" y="2601"/>
                  </a:lnTo>
                  <a:close/>
                  <a:moveTo>
                    <a:pt x="2424" y="2601"/>
                  </a:moveTo>
                  <a:lnTo>
                    <a:pt x="2395" y="2584"/>
                  </a:lnTo>
                  <a:lnTo>
                    <a:pt x="2407" y="2580"/>
                  </a:lnTo>
                  <a:lnTo>
                    <a:pt x="2412" y="2580"/>
                  </a:lnTo>
                  <a:lnTo>
                    <a:pt x="2424" y="2584"/>
                  </a:lnTo>
                  <a:lnTo>
                    <a:pt x="2424" y="2601"/>
                  </a:lnTo>
                  <a:lnTo>
                    <a:pt x="2424" y="2601"/>
                  </a:lnTo>
                  <a:lnTo>
                    <a:pt x="2424" y="2601"/>
                  </a:lnTo>
                  <a:close/>
                  <a:moveTo>
                    <a:pt x="2450" y="2634"/>
                  </a:moveTo>
                  <a:lnTo>
                    <a:pt x="2450" y="2617"/>
                  </a:lnTo>
                  <a:lnTo>
                    <a:pt x="2466" y="2622"/>
                  </a:lnTo>
                  <a:lnTo>
                    <a:pt x="2450" y="2634"/>
                  </a:lnTo>
                  <a:lnTo>
                    <a:pt x="2450" y="2634"/>
                  </a:lnTo>
                  <a:lnTo>
                    <a:pt x="2450" y="2634"/>
                  </a:lnTo>
                  <a:close/>
                  <a:moveTo>
                    <a:pt x="2407" y="2655"/>
                  </a:moveTo>
                  <a:lnTo>
                    <a:pt x="2379" y="2650"/>
                  </a:lnTo>
                  <a:lnTo>
                    <a:pt x="2374" y="2650"/>
                  </a:lnTo>
                  <a:lnTo>
                    <a:pt x="2374" y="2634"/>
                  </a:lnTo>
                  <a:lnTo>
                    <a:pt x="2391" y="2634"/>
                  </a:lnTo>
                  <a:lnTo>
                    <a:pt x="2407" y="2655"/>
                  </a:lnTo>
                  <a:lnTo>
                    <a:pt x="2407" y="2655"/>
                  </a:lnTo>
                  <a:lnTo>
                    <a:pt x="2407" y="2655"/>
                  </a:lnTo>
                  <a:close/>
                  <a:moveTo>
                    <a:pt x="2412" y="2695"/>
                  </a:moveTo>
                  <a:lnTo>
                    <a:pt x="2395" y="2712"/>
                  </a:lnTo>
                  <a:lnTo>
                    <a:pt x="2391" y="2707"/>
                  </a:lnTo>
                  <a:lnTo>
                    <a:pt x="2395" y="2695"/>
                  </a:lnTo>
                  <a:lnTo>
                    <a:pt x="2379" y="2707"/>
                  </a:lnTo>
                  <a:lnTo>
                    <a:pt x="2391" y="2679"/>
                  </a:lnTo>
                  <a:lnTo>
                    <a:pt x="2407" y="2688"/>
                  </a:lnTo>
                  <a:lnTo>
                    <a:pt x="2391" y="2672"/>
                  </a:lnTo>
                  <a:lnTo>
                    <a:pt x="2407" y="2672"/>
                  </a:lnTo>
                  <a:lnTo>
                    <a:pt x="2412" y="2679"/>
                  </a:lnTo>
                  <a:lnTo>
                    <a:pt x="2412" y="2688"/>
                  </a:lnTo>
                  <a:lnTo>
                    <a:pt x="2428" y="2679"/>
                  </a:lnTo>
                  <a:lnTo>
                    <a:pt x="2428" y="2688"/>
                  </a:lnTo>
                  <a:lnTo>
                    <a:pt x="2412" y="2695"/>
                  </a:lnTo>
                  <a:lnTo>
                    <a:pt x="2412" y="2695"/>
                  </a:lnTo>
                  <a:lnTo>
                    <a:pt x="2412" y="2695"/>
                  </a:lnTo>
                  <a:close/>
                  <a:moveTo>
                    <a:pt x="2428" y="2712"/>
                  </a:moveTo>
                  <a:lnTo>
                    <a:pt x="2428" y="2707"/>
                  </a:lnTo>
                  <a:lnTo>
                    <a:pt x="2445" y="2707"/>
                  </a:lnTo>
                  <a:lnTo>
                    <a:pt x="2428" y="2712"/>
                  </a:lnTo>
                  <a:lnTo>
                    <a:pt x="2428" y="2712"/>
                  </a:lnTo>
                  <a:lnTo>
                    <a:pt x="2428" y="2712"/>
                  </a:lnTo>
                  <a:close/>
                  <a:moveTo>
                    <a:pt x="2466" y="2745"/>
                  </a:moveTo>
                  <a:lnTo>
                    <a:pt x="2445" y="2728"/>
                  </a:lnTo>
                  <a:lnTo>
                    <a:pt x="2450" y="2717"/>
                  </a:lnTo>
                  <a:lnTo>
                    <a:pt x="2433" y="2712"/>
                  </a:lnTo>
                  <a:lnTo>
                    <a:pt x="2445" y="2707"/>
                  </a:lnTo>
                  <a:lnTo>
                    <a:pt x="2462" y="2712"/>
                  </a:lnTo>
                  <a:lnTo>
                    <a:pt x="2476" y="2745"/>
                  </a:lnTo>
                  <a:lnTo>
                    <a:pt x="2466" y="2745"/>
                  </a:lnTo>
                  <a:lnTo>
                    <a:pt x="2466" y="2745"/>
                  </a:lnTo>
                  <a:lnTo>
                    <a:pt x="2466" y="2745"/>
                  </a:lnTo>
                  <a:close/>
                  <a:moveTo>
                    <a:pt x="2391" y="2745"/>
                  </a:moveTo>
                  <a:lnTo>
                    <a:pt x="2374" y="2728"/>
                  </a:lnTo>
                  <a:lnTo>
                    <a:pt x="2391" y="2728"/>
                  </a:lnTo>
                  <a:lnTo>
                    <a:pt x="2379" y="2712"/>
                  </a:lnTo>
                  <a:lnTo>
                    <a:pt x="2407" y="2712"/>
                  </a:lnTo>
                  <a:lnTo>
                    <a:pt x="2395" y="2717"/>
                  </a:lnTo>
                  <a:lnTo>
                    <a:pt x="2391" y="2745"/>
                  </a:lnTo>
                  <a:lnTo>
                    <a:pt x="2391" y="2745"/>
                  </a:lnTo>
                  <a:lnTo>
                    <a:pt x="2391" y="2745"/>
                  </a:lnTo>
                  <a:close/>
                  <a:moveTo>
                    <a:pt x="2433" y="2717"/>
                  </a:moveTo>
                  <a:lnTo>
                    <a:pt x="2433" y="2712"/>
                  </a:lnTo>
                  <a:lnTo>
                    <a:pt x="2445" y="2717"/>
                  </a:lnTo>
                  <a:lnTo>
                    <a:pt x="2433" y="2717"/>
                  </a:lnTo>
                  <a:lnTo>
                    <a:pt x="2433" y="2717"/>
                  </a:lnTo>
                  <a:lnTo>
                    <a:pt x="2433" y="2717"/>
                  </a:lnTo>
                  <a:close/>
                  <a:moveTo>
                    <a:pt x="2412" y="2745"/>
                  </a:moveTo>
                  <a:lnTo>
                    <a:pt x="2407" y="2733"/>
                  </a:lnTo>
                  <a:lnTo>
                    <a:pt x="2412" y="2728"/>
                  </a:lnTo>
                  <a:lnTo>
                    <a:pt x="2412" y="2745"/>
                  </a:lnTo>
                  <a:lnTo>
                    <a:pt x="2412" y="2745"/>
                  </a:lnTo>
                  <a:lnTo>
                    <a:pt x="2412" y="2745"/>
                  </a:lnTo>
                  <a:close/>
                  <a:moveTo>
                    <a:pt x="2433" y="2750"/>
                  </a:moveTo>
                  <a:lnTo>
                    <a:pt x="2424" y="2750"/>
                  </a:lnTo>
                  <a:lnTo>
                    <a:pt x="2424" y="2733"/>
                  </a:lnTo>
                  <a:lnTo>
                    <a:pt x="2428" y="2733"/>
                  </a:lnTo>
                  <a:lnTo>
                    <a:pt x="2433" y="2750"/>
                  </a:lnTo>
                  <a:lnTo>
                    <a:pt x="2433" y="2750"/>
                  </a:lnTo>
                  <a:lnTo>
                    <a:pt x="2433" y="2750"/>
                  </a:lnTo>
                  <a:close/>
                  <a:moveTo>
                    <a:pt x="2433" y="2773"/>
                  </a:moveTo>
                  <a:lnTo>
                    <a:pt x="2424" y="2766"/>
                  </a:lnTo>
                  <a:lnTo>
                    <a:pt x="2424" y="2750"/>
                  </a:lnTo>
                  <a:lnTo>
                    <a:pt x="2445" y="2750"/>
                  </a:lnTo>
                  <a:lnTo>
                    <a:pt x="2433" y="2733"/>
                  </a:lnTo>
                  <a:lnTo>
                    <a:pt x="2462" y="2745"/>
                  </a:lnTo>
                  <a:lnTo>
                    <a:pt x="2462" y="2766"/>
                  </a:lnTo>
                  <a:lnTo>
                    <a:pt x="2450" y="2761"/>
                  </a:lnTo>
                  <a:lnTo>
                    <a:pt x="2433" y="2773"/>
                  </a:lnTo>
                  <a:lnTo>
                    <a:pt x="2433" y="2773"/>
                  </a:lnTo>
                  <a:lnTo>
                    <a:pt x="2433" y="2773"/>
                  </a:lnTo>
                  <a:close/>
                  <a:moveTo>
                    <a:pt x="2466" y="2783"/>
                  </a:moveTo>
                  <a:lnTo>
                    <a:pt x="2462" y="2750"/>
                  </a:lnTo>
                  <a:lnTo>
                    <a:pt x="2476" y="2783"/>
                  </a:lnTo>
                  <a:lnTo>
                    <a:pt x="2466" y="2783"/>
                  </a:lnTo>
                  <a:lnTo>
                    <a:pt x="2466" y="2783"/>
                  </a:lnTo>
                  <a:lnTo>
                    <a:pt x="2466" y="2783"/>
                  </a:lnTo>
                  <a:close/>
                  <a:moveTo>
                    <a:pt x="2450" y="2783"/>
                  </a:moveTo>
                  <a:lnTo>
                    <a:pt x="2445" y="2766"/>
                  </a:lnTo>
                  <a:lnTo>
                    <a:pt x="2450" y="2766"/>
                  </a:lnTo>
                  <a:lnTo>
                    <a:pt x="2462" y="2773"/>
                  </a:lnTo>
                  <a:lnTo>
                    <a:pt x="2450" y="2783"/>
                  </a:lnTo>
                  <a:lnTo>
                    <a:pt x="2450" y="2783"/>
                  </a:lnTo>
                  <a:lnTo>
                    <a:pt x="2450" y="2783"/>
                  </a:lnTo>
                  <a:close/>
                  <a:moveTo>
                    <a:pt x="2412" y="2773"/>
                  </a:moveTo>
                  <a:lnTo>
                    <a:pt x="2424" y="2766"/>
                  </a:lnTo>
                  <a:lnTo>
                    <a:pt x="2424" y="2773"/>
                  </a:lnTo>
                  <a:lnTo>
                    <a:pt x="2412" y="2773"/>
                  </a:lnTo>
                  <a:lnTo>
                    <a:pt x="2412" y="2773"/>
                  </a:lnTo>
                  <a:lnTo>
                    <a:pt x="2412" y="2773"/>
                  </a:lnTo>
                  <a:close/>
                  <a:moveTo>
                    <a:pt x="2412" y="2806"/>
                  </a:moveTo>
                  <a:lnTo>
                    <a:pt x="2428" y="2790"/>
                  </a:lnTo>
                  <a:lnTo>
                    <a:pt x="2424" y="2790"/>
                  </a:lnTo>
                  <a:lnTo>
                    <a:pt x="2428" y="2783"/>
                  </a:lnTo>
                  <a:lnTo>
                    <a:pt x="2445" y="2783"/>
                  </a:lnTo>
                  <a:lnTo>
                    <a:pt x="2445" y="2790"/>
                  </a:lnTo>
                  <a:lnTo>
                    <a:pt x="2445" y="2799"/>
                  </a:lnTo>
                  <a:lnTo>
                    <a:pt x="2433" y="2790"/>
                  </a:lnTo>
                  <a:lnTo>
                    <a:pt x="2412" y="2806"/>
                  </a:lnTo>
                  <a:lnTo>
                    <a:pt x="2412" y="2806"/>
                  </a:lnTo>
                  <a:lnTo>
                    <a:pt x="2412" y="2806"/>
                  </a:lnTo>
                  <a:close/>
                  <a:moveTo>
                    <a:pt x="2483" y="2799"/>
                  </a:moveTo>
                  <a:lnTo>
                    <a:pt x="2476" y="2783"/>
                  </a:lnTo>
                  <a:lnTo>
                    <a:pt x="2488" y="2783"/>
                  </a:lnTo>
                  <a:lnTo>
                    <a:pt x="2488" y="2790"/>
                  </a:lnTo>
                  <a:lnTo>
                    <a:pt x="2483" y="2799"/>
                  </a:lnTo>
                  <a:lnTo>
                    <a:pt x="2483" y="2799"/>
                  </a:lnTo>
                  <a:lnTo>
                    <a:pt x="2483" y="2799"/>
                  </a:lnTo>
                  <a:close/>
                  <a:moveTo>
                    <a:pt x="2499" y="2799"/>
                  </a:moveTo>
                  <a:lnTo>
                    <a:pt x="2488" y="2790"/>
                  </a:lnTo>
                  <a:lnTo>
                    <a:pt x="2499" y="2783"/>
                  </a:lnTo>
                  <a:lnTo>
                    <a:pt x="2499" y="2799"/>
                  </a:lnTo>
                  <a:lnTo>
                    <a:pt x="2499" y="2799"/>
                  </a:lnTo>
                  <a:lnTo>
                    <a:pt x="2499" y="2799"/>
                  </a:lnTo>
                  <a:close/>
                  <a:moveTo>
                    <a:pt x="2391" y="2823"/>
                  </a:moveTo>
                  <a:lnTo>
                    <a:pt x="2395" y="2790"/>
                  </a:lnTo>
                  <a:lnTo>
                    <a:pt x="2412" y="2790"/>
                  </a:lnTo>
                  <a:lnTo>
                    <a:pt x="2407" y="2816"/>
                  </a:lnTo>
                  <a:lnTo>
                    <a:pt x="2391" y="2823"/>
                  </a:lnTo>
                  <a:lnTo>
                    <a:pt x="2391" y="2823"/>
                  </a:lnTo>
                  <a:lnTo>
                    <a:pt x="2391" y="2823"/>
                  </a:lnTo>
                  <a:close/>
                  <a:moveTo>
                    <a:pt x="2476" y="2806"/>
                  </a:moveTo>
                  <a:lnTo>
                    <a:pt x="2466" y="2799"/>
                  </a:lnTo>
                  <a:lnTo>
                    <a:pt x="2466" y="2790"/>
                  </a:lnTo>
                  <a:lnTo>
                    <a:pt x="2476" y="2790"/>
                  </a:lnTo>
                  <a:lnTo>
                    <a:pt x="2476" y="2806"/>
                  </a:lnTo>
                  <a:lnTo>
                    <a:pt x="2476" y="2806"/>
                  </a:lnTo>
                  <a:lnTo>
                    <a:pt x="2476" y="2806"/>
                  </a:lnTo>
                  <a:close/>
                  <a:moveTo>
                    <a:pt x="2483" y="2839"/>
                  </a:moveTo>
                  <a:lnTo>
                    <a:pt x="2466" y="2828"/>
                  </a:lnTo>
                  <a:lnTo>
                    <a:pt x="2476" y="2816"/>
                  </a:lnTo>
                  <a:lnTo>
                    <a:pt x="2488" y="2828"/>
                  </a:lnTo>
                  <a:lnTo>
                    <a:pt x="2483" y="2839"/>
                  </a:lnTo>
                  <a:lnTo>
                    <a:pt x="2483" y="2839"/>
                  </a:lnTo>
                  <a:lnTo>
                    <a:pt x="2483" y="2839"/>
                  </a:lnTo>
                  <a:close/>
                  <a:moveTo>
                    <a:pt x="2412" y="2872"/>
                  </a:moveTo>
                  <a:lnTo>
                    <a:pt x="2412" y="2856"/>
                  </a:lnTo>
                  <a:lnTo>
                    <a:pt x="2424" y="2839"/>
                  </a:lnTo>
                  <a:lnTo>
                    <a:pt x="2428" y="2839"/>
                  </a:lnTo>
                  <a:lnTo>
                    <a:pt x="2424" y="2823"/>
                  </a:lnTo>
                  <a:lnTo>
                    <a:pt x="2428" y="2823"/>
                  </a:lnTo>
                  <a:lnTo>
                    <a:pt x="2428" y="2839"/>
                  </a:lnTo>
                  <a:lnTo>
                    <a:pt x="2412" y="2872"/>
                  </a:lnTo>
                  <a:lnTo>
                    <a:pt x="2412" y="2872"/>
                  </a:lnTo>
                  <a:lnTo>
                    <a:pt x="2412" y="2872"/>
                  </a:lnTo>
                  <a:close/>
                  <a:moveTo>
                    <a:pt x="2499" y="2839"/>
                  </a:moveTo>
                  <a:lnTo>
                    <a:pt x="2488" y="2823"/>
                  </a:lnTo>
                  <a:lnTo>
                    <a:pt x="2499" y="2828"/>
                  </a:lnTo>
                  <a:lnTo>
                    <a:pt x="2499" y="2839"/>
                  </a:lnTo>
                  <a:lnTo>
                    <a:pt x="2499" y="2839"/>
                  </a:lnTo>
                  <a:lnTo>
                    <a:pt x="2499" y="2839"/>
                  </a:lnTo>
                  <a:close/>
                  <a:moveTo>
                    <a:pt x="2476" y="2856"/>
                  </a:moveTo>
                  <a:lnTo>
                    <a:pt x="2462" y="2844"/>
                  </a:lnTo>
                  <a:lnTo>
                    <a:pt x="2450" y="2828"/>
                  </a:lnTo>
                  <a:lnTo>
                    <a:pt x="2476" y="2844"/>
                  </a:lnTo>
                  <a:lnTo>
                    <a:pt x="2476" y="2856"/>
                  </a:lnTo>
                  <a:lnTo>
                    <a:pt x="2476" y="2856"/>
                  </a:lnTo>
                  <a:lnTo>
                    <a:pt x="2476" y="2856"/>
                  </a:lnTo>
                  <a:close/>
                  <a:moveTo>
                    <a:pt x="2407" y="2844"/>
                  </a:moveTo>
                  <a:lnTo>
                    <a:pt x="2412" y="2828"/>
                  </a:lnTo>
                  <a:lnTo>
                    <a:pt x="2407" y="2844"/>
                  </a:lnTo>
                  <a:lnTo>
                    <a:pt x="2407" y="2844"/>
                  </a:lnTo>
                  <a:lnTo>
                    <a:pt x="2407" y="2844"/>
                  </a:lnTo>
                  <a:close/>
                  <a:moveTo>
                    <a:pt x="2424" y="2872"/>
                  </a:moveTo>
                  <a:lnTo>
                    <a:pt x="2428" y="2839"/>
                  </a:lnTo>
                  <a:lnTo>
                    <a:pt x="2445" y="2839"/>
                  </a:lnTo>
                  <a:lnTo>
                    <a:pt x="2424" y="2872"/>
                  </a:lnTo>
                  <a:lnTo>
                    <a:pt x="2424" y="2872"/>
                  </a:lnTo>
                  <a:lnTo>
                    <a:pt x="2424" y="2872"/>
                  </a:lnTo>
                  <a:close/>
                  <a:moveTo>
                    <a:pt x="2504" y="2877"/>
                  </a:moveTo>
                  <a:lnTo>
                    <a:pt x="2476" y="2856"/>
                  </a:lnTo>
                  <a:lnTo>
                    <a:pt x="2476" y="2844"/>
                  </a:lnTo>
                  <a:lnTo>
                    <a:pt x="2499" y="2861"/>
                  </a:lnTo>
                  <a:lnTo>
                    <a:pt x="2504" y="2877"/>
                  </a:lnTo>
                  <a:lnTo>
                    <a:pt x="2504" y="2877"/>
                  </a:lnTo>
                  <a:lnTo>
                    <a:pt x="2504" y="2877"/>
                  </a:lnTo>
                  <a:close/>
                  <a:moveTo>
                    <a:pt x="2428" y="2877"/>
                  </a:moveTo>
                  <a:lnTo>
                    <a:pt x="2428" y="2872"/>
                  </a:lnTo>
                  <a:lnTo>
                    <a:pt x="2445" y="2861"/>
                  </a:lnTo>
                  <a:lnTo>
                    <a:pt x="2428" y="2877"/>
                  </a:lnTo>
                  <a:lnTo>
                    <a:pt x="2428" y="2877"/>
                  </a:lnTo>
                  <a:lnTo>
                    <a:pt x="2428" y="2877"/>
                  </a:lnTo>
                  <a:close/>
                  <a:moveTo>
                    <a:pt x="2476" y="2894"/>
                  </a:moveTo>
                  <a:lnTo>
                    <a:pt x="2466" y="2877"/>
                  </a:lnTo>
                  <a:lnTo>
                    <a:pt x="2476" y="2877"/>
                  </a:lnTo>
                  <a:lnTo>
                    <a:pt x="2450" y="2872"/>
                  </a:lnTo>
                  <a:lnTo>
                    <a:pt x="2466" y="2861"/>
                  </a:lnTo>
                  <a:lnTo>
                    <a:pt x="2488" y="2884"/>
                  </a:lnTo>
                  <a:lnTo>
                    <a:pt x="2476" y="2894"/>
                  </a:lnTo>
                  <a:lnTo>
                    <a:pt x="2476" y="2894"/>
                  </a:lnTo>
                  <a:lnTo>
                    <a:pt x="2476" y="2894"/>
                  </a:lnTo>
                  <a:close/>
                  <a:moveTo>
                    <a:pt x="2499" y="2894"/>
                  </a:moveTo>
                  <a:lnTo>
                    <a:pt x="2476" y="2872"/>
                  </a:lnTo>
                  <a:lnTo>
                    <a:pt x="2499" y="2884"/>
                  </a:lnTo>
                  <a:lnTo>
                    <a:pt x="2504" y="2894"/>
                  </a:lnTo>
                  <a:lnTo>
                    <a:pt x="2499" y="2894"/>
                  </a:lnTo>
                  <a:lnTo>
                    <a:pt x="2499" y="2894"/>
                  </a:lnTo>
                  <a:lnTo>
                    <a:pt x="2499" y="2894"/>
                  </a:lnTo>
                  <a:close/>
                  <a:moveTo>
                    <a:pt x="2428" y="2884"/>
                  </a:moveTo>
                  <a:lnTo>
                    <a:pt x="2428" y="2877"/>
                  </a:lnTo>
                  <a:lnTo>
                    <a:pt x="2445" y="2877"/>
                  </a:lnTo>
                  <a:lnTo>
                    <a:pt x="2428" y="2884"/>
                  </a:lnTo>
                  <a:lnTo>
                    <a:pt x="2428" y="2884"/>
                  </a:lnTo>
                  <a:lnTo>
                    <a:pt x="2428" y="2884"/>
                  </a:lnTo>
                  <a:close/>
                  <a:moveTo>
                    <a:pt x="2488" y="2927"/>
                  </a:moveTo>
                  <a:lnTo>
                    <a:pt x="2483" y="2910"/>
                  </a:lnTo>
                  <a:lnTo>
                    <a:pt x="2504" y="2894"/>
                  </a:lnTo>
                  <a:lnTo>
                    <a:pt x="2504" y="2901"/>
                  </a:lnTo>
                  <a:lnTo>
                    <a:pt x="2504" y="2917"/>
                  </a:lnTo>
                  <a:lnTo>
                    <a:pt x="2488" y="2927"/>
                  </a:lnTo>
                  <a:lnTo>
                    <a:pt x="2488" y="2927"/>
                  </a:lnTo>
                  <a:lnTo>
                    <a:pt x="2488" y="2927"/>
                  </a:lnTo>
                  <a:close/>
                  <a:moveTo>
                    <a:pt x="2861" y="2917"/>
                  </a:moveTo>
                  <a:lnTo>
                    <a:pt x="2861" y="3132"/>
                  </a:lnTo>
                  <a:lnTo>
                    <a:pt x="2861" y="3139"/>
                  </a:lnTo>
                  <a:lnTo>
                    <a:pt x="2844" y="3132"/>
                  </a:lnTo>
                  <a:lnTo>
                    <a:pt x="2854" y="3139"/>
                  </a:lnTo>
                  <a:lnTo>
                    <a:pt x="2828" y="3149"/>
                  </a:lnTo>
                  <a:lnTo>
                    <a:pt x="2790" y="3132"/>
                  </a:lnTo>
                  <a:lnTo>
                    <a:pt x="2790" y="3123"/>
                  </a:lnTo>
                  <a:lnTo>
                    <a:pt x="2785" y="3132"/>
                  </a:lnTo>
                  <a:lnTo>
                    <a:pt x="2747" y="3139"/>
                  </a:lnTo>
                  <a:lnTo>
                    <a:pt x="2747" y="3132"/>
                  </a:lnTo>
                  <a:lnTo>
                    <a:pt x="2747" y="3123"/>
                  </a:lnTo>
                  <a:lnTo>
                    <a:pt x="2736" y="3132"/>
                  </a:lnTo>
                  <a:lnTo>
                    <a:pt x="2714" y="3139"/>
                  </a:lnTo>
                  <a:lnTo>
                    <a:pt x="2702" y="3132"/>
                  </a:lnTo>
                  <a:lnTo>
                    <a:pt x="2731" y="3116"/>
                  </a:lnTo>
                  <a:lnTo>
                    <a:pt x="2693" y="3132"/>
                  </a:lnTo>
                  <a:lnTo>
                    <a:pt x="2698" y="3116"/>
                  </a:lnTo>
                  <a:lnTo>
                    <a:pt x="2676" y="3123"/>
                  </a:lnTo>
                  <a:lnTo>
                    <a:pt x="2665" y="3106"/>
                  </a:lnTo>
                  <a:lnTo>
                    <a:pt x="2660" y="3123"/>
                  </a:lnTo>
                  <a:lnTo>
                    <a:pt x="2643" y="3116"/>
                  </a:lnTo>
                  <a:lnTo>
                    <a:pt x="2627" y="3116"/>
                  </a:lnTo>
                  <a:lnTo>
                    <a:pt x="2622" y="3099"/>
                  </a:lnTo>
                  <a:lnTo>
                    <a:pt x="2627" y="3099"/>
                  </a:lnTo>
                  <a:lnTo>
                    <a:pt x="2643" y="3106"/>
                  </a:lnTo>
                  <a:lnTo>
                    <a:pt x="2651" y="3106"/>
                  </a:lnTo>
                  <a:lnTo>
                    <a:pt x="2639" y="3095"/>
                  </a:lnTo>
                  <a:lnTo>
                    <a:pt x="2643" y="3095"/>
                  </a:lnTo>
                  <a:lnTo>
                    <a:pt x="2651" y="3099"/>
                  </a:lnTo>
                  <a:lnTo>
                    <a:pt x="2660" y="3099"/>
                  </a:lnTo>
                  <a:lnTo>
                    <a:pt x="2651" y="3095"/>
                  </a:lnTo>
                  <a:lnTo>
                    <a:pt x="2665" y="3095"/>
                  </a:lnTo>
                  <a:lnTo>
                    <a:pt x="2698" y="3099"/>
                  </a:lnTo>
                  <a:lnTo>
                    <a:pt x="2698" y="3083"/>
                  </a:lnTo>
                  <a:lnTo>
                    <a:pt x="2702" y="3083"/>
                  </a:lnTo>
                  <a:lnTo>
                    <a:pt x="2719" y="3083"/>
                  </a:lnTo>
                  <a:lnTo>
                    <a:pt x="2714" y="3106"/>
                  </a:lnTo>
                  <a:lnTo>
                    <a:pt x="2719" y="3116"/>
                  </a:lnTo>
                  <a:lnTo>
                    <a:pt x="2714" y="3106"/>
                  </a:lnTo>
                  <a:lnTo>
                    <a:pt x="2719" y="3095"/>
                  </a:lnTo>
                  <a:lnTo>
                    <a:pt x="2747" y="3106"/>
                  </a:lnTo>
                  <a:lnTo>
                    <a:pt x="2752" y="3106"/>
                  </a:lnTo>
                  <a:lnTo>
                    <a:pt x="2736" y="3095"/>
                  </a:lnTo>
                  <a:lnTo>
                    <a:pt x="2719" y="3083"/>
                  </a:lnTo>
                  <a:lnTo>
                    <a:pt x="2702" y="3078"/>
                  </a:lnTo>
                  <a:lnTo>
                    <a:pt x="2702" y="3066"/>
                  </a:lnTo>
                  <a:lnTo>
                    <a:pt x="2752" y="3095"/>
                  </a:lnTo>
                  <a:lnTo>
                    <a:pt x="2757" y="3095"/>
                  </a:lnTo>
                  <a:lnTo>
                    <a:pt x="2752" y="3083"/>
                  </a:lnTo>
                  <a:lnTo>
                    <a:pt x="2757" y="3078"/>
                  </a:lnTo>
                  <a:lnTo>
                    <a:pt x="2785" y="3106"/>
                  </a:lnTo>
                  <a:lnTo>
                    <a:pt x="2773" y="3083"/>
                  </a:lnTo>
                  <a:lnTo>
                    <a:pt x="2823" y="3099"/>
                  </a:lnTo>
                  <a:lnTo>
                    <a:pt x="2806" y="3116"/>
                  </a:lnTo>
                  <a:lnTo>
                    <a:pt x="2806" y="3123"/>
                  </a:lnTo>
                  <a:lnTo>
                    <a:pt x="2811" y="3106"/>
                  </a:lnTo>
                  <a:lnTo>
                    <a:pt x="2823" y="3106"/>
                  </a:lnTo>
                  <a:lnTo>
                    <a:pt x="2823" y="3099"/>
                  </a:lnTo>
                  <a:lnTo>
                    <a:pt x="2839" y="3095"/>
                  </a:lnTo>
                  <a:lnTo>
                    <a:pt x="2757" y="3061"/>
                  </a:lnTo>
                  <a:lnTo>
                    <a:pt x="2752" y="3038"/>
                  </a:lnTo>
                  <a:lnTo>
                    <a:pt x="2769" y="3021"/>
                  </a:lnTo>
                  <a:lnTo>
                    <a:pt x="2811" y="3005"/>
                  </a:lnTo>
                  <a:lnTo>
                    <a:pt x="2806" y="2988"/>
                  </a:lnTo>
                  <a:lnTo>
                    <a:pt x="2773" y="2988"/>
                  </a:lnTo>
                  <a:lnTo>
                    <a:pt x="2752" y="2995"/>
                  </a:lnTo>
                  <a:lnTo>
                    <a:pt x="2736" y="2988"/>
                  </a:lnTo>
                  <a:lnTo>
                    <a:pt x="2736" y="2955"/>
                  </a:lnTo>
                  <a:lnTo>
                    <a:pt x="2736" y="2950"/>
                  </a:lnTo>
                  <a:lnTo>
                    <a:pt x="2747" y="2955"/>
                  </a:lnTo>
                  <a:lnTo>
                    <a:pt x="2752" y="2955"/>
                  </a:lnTo>
                  <a:lnTo>
                    <a:pt x="2757" y="2939"/>
                  </a:lnTo>
                  <a:lnTo>
                    <a:pt x="2736" y="2934"/>
                  </a:lnTo>
                  <a:lnTo>
                    <a:pt x="2752" y="2927"/>
                  </a:lnTo>
                  <a:lnTo>
                    <a:pt x="2769" y="2934"/>
                  </a:lnTo>
                  <a:lnTo>
                    <a:pt x="2785" y="2934"/>
                  </a:lnTo>
                  <a:lnTo>
                    <a:pt x="2790" y="2910"/>
                  </a:lnTo>
                  <a:lnTo>
                    <a:pt x="2806" y="2901"/>
                  </a:lnTo>
                  <a:lnTo>
                    <a:pt x="2823" y="2927"/>
                  </a:lnTo>
                  <a:lnTo>
                    <a:pt x="2844" y="2910"/>
                  </a:lnTo>
                  <a:lnTo>
                    <a:pt x="2861" y="2917"/>
                  </a:lnTo>
                  <a:lnTo>
                    <a:pt x="2861" y="2917"/>
                  </a:lnTo>
                  <a:lnTo>
                    <a:pt x="2861" y="2917"/>
                  </a:lnTo>
                  <a:close/>
                  <a:moveTo>
                    <a:pt x="2530" y="2983"/>
                  </a:moveTo>
                  <a:lnTo>
                    <a:pt x="2551" y="2988"/>
                  </a:lnTo>
                  <a:lnTo>
                    <a:pt x="2521" y="2988"/>
                  </a:lnTo>
                  <a:lnTo>
                    <a:pt x="2488" y="2955"/>
                  </a:lnTo>
                  <a:lnTo>
                    <a:pt x="2462" y="2967"/>
                  </a:lnTo>
                  <a:lnTo>
                    <a:pt x="2433" y="2934"/>
                  </a:lnTo>
                  <a:lnTo>
                    <a:pt x="2433" y="2927"/>
                  </a:lnTo>
                  <a:lnTo>
                    <a:pt x="2462" y="2950"/>
                  </a:lnTo>
                  <a:lnTo>
                    <a:pt x="2513" y="2955"/>
                  </a:lnTo>
                  <a:lnTo>
                    <a:pt x="2521" y="2983"/>
                  </a:lnTo>
                  <a:lnTo>
                    <a:pt x="2521" y="2967"/>
                  </a:lnTo>
                  <a:lnTo>
                    <a:pt x="2537" y="2983"/>
                  </a:lnTo>
                  <a:lnTo>
                    <a:pt x="2530" y="2983"/>
                  </a:lnTo>
                  <a:lnTo>
                    <a:pt x="2530" y="2983"/>
                  </a:lnTo>
                  <a:lnTo>
                    <a:pt x="2530" y="2983"/>
                  </a:lnTo>
                  <a:close/>
                  <a:moveTo>
                    <a:pt x="2530" y="2950"/>
                  </a:moveTo>
                  <a:lnTo>
                    <a:pt x="2504" y="2939"/>
                  </a:lnTo>
                  <a:lnTo>
                    <a:pt x="2521" y="2939"/>
                  </a:lnTo>
                  <a:lnTo>
                    <a:pt x="2530" y="2950"/>
                  </a:lnTo>
                  <a:lnTo>
                    <a:pt x="2530" y="2950"/>
                  </a:lnTo>
                  <a:lnTo>
                    <a:pt x="2530" y="2950"/>
                  </a:lnTo>
                  <a:close/>
                  <a:moveTo>
                    <a:pt x="2521" y="2995"/>
                  </a:moveTo>
                  <a:lnTo>
                    <a:pt x="2530" y="3005"/>
                  </a:lnTo>
                  <a:lnTo>
                    <a:pt x="2521" y="3012"/>
                  </a:lnTo>
                  <a:lnTo>
                    <a:pt x="2499" y="2995"/>
                  </a:lnTo>
                  <a:lnTo>
                    <a:pt x="2513" y="2995"/>
                  </a:lnTo>
                  <a:lnTo>
                    <a:pt x="2521" y="2995"/>
                  </a:lnTo>
                  <a:lnTo>
                    <a:pt x="2513" y="2988"/>
                  </a:lnTo>
                  <a:lnTo>
                    <a:pt x="2521" y="2995"/>
                  </a:lnTo>
                  <a:lnTo>
                    <a:pt x="2521" y="2995"/>
                  </a:lnTo>
                  <a:lnTo>
                    <a:pt x="2521" y="2995"/>
                  </a:lnTo>
                  <a:close/>
                  <a:moveTo>
                    <a:pt x="2537" y="3038"/>
                  </a:moveTo>
                  <a:lnTo>
                    <a:pt x="2537" y="3021"/>
                  </a:lnTo>
                  <a:lnTo>
                    <a:pt x="2513" y="3028"/>
                  </a:lnTo>
                  <a:lnTo>
                    <a:pt x="2521" y="3021"/>
                  </a:lnTo>
                  <a:lnTo>
                    <a:pt x="2513" y="3012"/>
                  </a:lnTo>
                  <a:lnTo>
                    <a:pt x="2521" y="3012"/>
                  </a:lnTo>
                  <a:lnTo>
                    <a:pt x="2537" y="3021"/>
                  </a:lnTo>
                  <a:lnTo>
                    <a:pt x="2558" y="3021"/>
                  </a:lnTo>
                  <a:lnTo>
                    <a:pt x="2537" y="3012"/>
                  </a:lnTo>
                  <a:lnTo>
                    <a:pt x="2521" y="2995"/>
                  </a:lnTo>
                  <a:lnTo>
                    <a:pt x="2542" y="3005"/>
                  </a:lnTo>
                  <a:lnTo>
                    <a:pt x="2542" y="2995"/>
                  </a:lnTo>
                  <a:lnTo>
                    <a:pt x="2551" y="2995"/>
                  </a:lnTo>
                  <a:lnTo>
                    <a:pt x="2558" y="2995"/>
                  </a:lnTo>
                  <a:lnTo>
                    <a:pt x="2558" y="3021"/>
                  </a:lnTo>
                  <a:lnTo>
                    <a:pt x="2568" y="2995"/>
                  </a:lnTo>
                  <a:lnTo>
                    <a:pt x="2575" y="3012"/>
                  </a:lnTo>
                  <a:lnTo>
                    <a:pt x="2589" y="3012"/>
                  </a:lnTo>
                  <a:lnTo>
                    <a:pt x="2589" y="3028"/>
                  </a:lnTo>
                  <a:lnTo>
                    <a:pt x="2596" y="3021"/>
                  </a:lnTo>
                  <a:lnTo>
                    <a:pt x="2613" y="3038"/>
                  </a:lnTo>
                  <a:lnTo>
                    <a:pt x="2596" y="3045"/>
                  </a:lnTo>
                  <a:lnTo>
                    <a:pt x="2596" y="3061"/>
                  </a:lnTo>
                  <a:lnTo>
                    <a:pt x="2568" y="3066"/>
                  </a:lnTo>
                  <a:lnTo>
                    <a:pt x="2551" y="3061"/>
                  </a:lnTo>
                  <a:lnTo>
                    <a:pt x="2568" y="3050"/>
                  </a:lnTo>
                  <a:lnTo>
                    <a:pt x="2575" y="3038"/>
                  </a:lnTo>
                  <a:lnTo>
                    <a:pt x="2551" y="3038"/>
                  </a:lnTo>
                  <a:lnTo>
                    <a:pt x="2542" y="3050"/>
                  </a:lnTo>
                  <a:lnTo>
                    <a:pt x="2537" y="3038"/>
                  </a:lnTo>
                  <a:lnTo>
                    <a:pt x="2537" y="3038"/>
                  </a:lnTo>
                  <a:lnTo>
                    <a:pt x="2537" y="3038"/>
                  </a:lnTo>
                  <a:close/>
                  <a:moveTo>
                    <a:pt x="2499" y="3012"/>
                  </a:moveTo>
                  <a:lnTo>
                    <a:pt x="2499" y="2995"/>
                  </a:lnTo>
                  <a:lnTo>
                    <a:pt x="2504" y="3005"/>
                  </a:lnTo>
                  <a:lnTo>
                    <a:pt x="2499" y="3012"/>
                  </a:lnTo>
                  <a:lnTo>
                    <a:pt x="2499" y="3012"/>
                  </a:lnTo>
                  <a:lnTo>
                    <a:pt x="2499" y="3012"/>
                  </a:lnTo>
                  <a:close/>
                  <a:moveTo>
                    <a:pt x="2731" y="3078"/>
                  </a:moveTo>
                  <a:lnTo>
                    <a:pt x="2702" y="3061"/>
                  </a:lnTo>
                  <a:lnTo>
                    <a:pt x="2698" y="3038"/>
                  </a:lnTo>
                  <a:lnTo>
                    <a:pt x="2719" y="3038"/>
                  </a:lnTo>
                  <a:lnTo>
                    <a:pt x="2714" y="3021"/>
                  </a:lnTo>
                  <a:lnTo>
                    <a:pt x="2731" y="3012"/>
                  </a:lnTo>
                  <a:lnTo>
                    <a:pt x="2736" y="3050"/>
                  </a:lnTo>
                  <a:lnTo>
                    <a:pt x="2731" y="3050"/>
                  </a:lnTo>
                  <a:lnTo>
                    <a:pt x="2719" y="3045"/>
                  </a:lnTo>
                  <a:lnTo>
                    <a:pt x="2731" y="3078"/>
                  </a:lnTo>
                  <a:lnTo>
                    <a:pt x="2731" y="3078"/>
                  </a:lnTo>
                  <a:lnTo>
                    <a:pt x="2731" y="3078"/>
                  </a:lnTo>
                  <a:close/>
                  <a:moveTo>
                    <a:pt x="2643" y="3045"/>
                  </a:moveTo>
                  <a:lnTo>
                    <a:pt x="2651" y="3061"/>
                  </a:lnTo>
                  <a:lnTo>
                    <a:pt x="2643" y="3066"/>
                  </a:lnTo>
                  <a:lnTo>
                    <a:pt x="2627" y="3050"/>
                  </a:lnTo>
                  <a:lnTo>
                    <a:pt x="2643" y="3078"/>
                  </a:lnTo>
                  <a:lnTo>
                    <a:pt x="2639" y="3083"/>
                  </a:lnTo>
                  <a:lnTo>
                    <a:pt x="2613" y="3061"/>
                  </a:lnTo>
                  <a:lnTo>
                    <a:pt x="2606" y="3045"/>
                  </a:lnTo>
                  <a:lnTo>
                    <a:pt x="2622" y="3050"/>
                  </a:lnTo>
                  <a:lnTo>
                    <a:pt x="2627" y="3038"/>
                  </a:lnTo>
                  <a:lnTo>
                    <a:pt x="2643" y="3045"/>
                  </a:lnTo>
                  <a:lnTo>
                    <a:pt x="2643" y="3045"/>
                  </a:lnTo>
                  <a:lnTo>
                    <a:pt x="2643" y="3045"/>
                  </a:lnTo>
                  <a:close/>
                  <a:moveTo>
                    <a:pt x="2676" y="3050"/>
                  </a:moveTo>
                  <a:lnTo>
                    <a:pt x="2693" y="3061"/>
                  </a:lnTo>
                  <a:lnTo>
                    <a:pt x="2698" y="3078"/>
                  </a:lnTo>
                  <a:lnTo>
                    <a:pt x="2681" y="3095"/>
                  </a:lnTo>
                  <a:lnTo>
                    <a:pt x="2665" y="3083"/>
                  </a:lnTo>
                  <a:lnTo>
                    <a:pt x="2660" y="3066"/>
                  </a:lnTo>
                  <a:lnTo>
                    <a:pt x="2665" y="3061"/>
                  </a:lnTo>
                  <a:lnTo>
                    <a:pt x="2660" y="3078"/>
                  </a:lnTo>
                  <a:lnTo>
                    <a:pt x="2643" y="3066"/>
                  </a:lnTo>
                  <a:lnTo>
                    <a:pt x="2651" y="3045"/>
                  </a:lnTo>
                  <a:lnTo>
                    <a:pt x="2676" y="3050"/>
                  </a:lnTo>
                  <a:lnTo>
                    <a:pt x="2676" y="3050"/>
                  </a:lnTo>
                  <a:lnTo>
                    <a:pt x="2676" y="3050"/>
                  </a:lnTo>
                  <a:close/>
                  <a:moveTo>
                    <a:pt x="2537" y="3066"/>
                  </a:moveTo>
                  <a:lnTo>
                    <a:pt x="2521" y="3061"/>
                  </a:lnTo>
                  <a:lnTo>
                    <a:pt x="2542" y="3061"/>
                  </a:lnTo>
                  <a:lnTo>
                    <a:pt x="2537" y="3066"/>
                  </a:lnTo>
                  <a:lnTo>
                    <a:pt x="2537" y="3066"/>
                  </a:lnTo>
                  <a:lnTo>
                    <a:pt x="2537" y="3066"/>
                  </a:lnTo>
                  <a:close/>
                  <a:moveTo>
                    <a:pt x="2606" y="3061"/>
                  </a:moveTo>
                  <a:lnTo>
                    <a:pt x="2613" y="3066"/>
                  </a:lnTo>
                  <a:lnTo>
                    <a:pt x="2606" y="3078"/>
                  </a:lnTo>
                  <a:lnTo>
                    <a:pt x="2589" y="3078"/>
                  </a:lnTo>
                  <a:lnTo>
                    <a:pt x="2606" y="3061"/>
                  </a:lnTo>
                  <a:lnTo>
                    <a:pt x="2606" y="3061"/>
                  </a:lnTo>
                  <a:lnTo>
                    <a:pt x="2606" y="3061"/>
                  </a:lnTo>
                  <a:close/>
                  <a:moveTo>
                    <a:pt x="2747" y="3078"/>
                  </a:moveTo>
                  <a:lnTo>
                    <a:pt x="2731" y="3066"/>
                  </a:lnTo>
                  <a:lnTo>
                    <a:pt x="2752" y="3078"/>
                  </a:lnTo>
                  <a:lnTo>
                    <a:pt x="2747" y="3078"/>
                  </a:lnTo>
                  <a:lnTo>
                    <a:pt x="2747" y="3078"/>
                  </a:lnTo>
                  <a:lnTo>
                    <a:pt x="2747" y="3078"/>
                  </a:lnTo>
                  <a:close/>
                  <a:moveTo>
                    <a:pt x="2589" y="3095"/>
                  </a:moveTo>
                  <a:lnTo>
                    <a:pt x="2589" y="3083"/>
                  </a:lnTo>
                  <a:lnTo>
                    <a:pt x="2606" y="3083"/>
                  </a:lnTo>
                  <a:lnTo>
                    <a:pt x="2589" y="3095"/>
                  </a:lnTo>
                  <a:lnTo>
                    <a:pt x="2589" y="3095"/>
                  </a:lnTo>
                  <a:lnTo>
                    <a:pt x="2589" y="3095"/>
                  </a:lnTo>
                  <a:close/>
                  <a:moveTo>
                    <a:pt x="2627" y="3132"/>
                  </a:moveTo>
                  <a:lnTo>
                    <a:pt x="2622" y="3116"/>
                  </a:lnTo>
                  <a:lnTo>
                    <a:pt x="2627" y="3123"/>
                  </a:lnTo>
                  <a:lnTo>
                    <a:pt x="2627" y="3132"/>
                  </a:lnTo>
                  <a:lnTo>
                    <a:pt x="2627" y="3132"/>
                  </a:lnTo>
                  <a:lnTo>
                    <a:pt x="2627" y="3132"/>
                  </a:lnTo>
                  <a:close/>
                  <a:moveTo>
                    <a:pt x="2693" y="3149"/>
                  </a:moveTo>
                  <a:lnTo>
                    <a:pt x="2660" y="3139"/>
                  </a:lnTo>
                  <a:lnTo>
                    <a:pt x="2665" y="3132"/>
                  </a:lnTo>
                  <a:lnTo>
                    <a:pt x="2698" y="3149"/>
                  </a:lnTo>
                  <a:lnTo>
                    <a:pt x="2693" y="3149"/>
                  </a:lnTo>
                  <a:lnTo>
                    <a:pt x="2693" y="3149"/>
                  </a:lnTo>
                  <a:lnTo>
                    <a:pt x="2693" y="3149"/>
                  </a:lnTo>
                  <a:close/>
                  <a:moveTo>
                    <a:pt x="2731" y="3139"/>
                  </a:moveTo>
                  <a:lnTo>
                    <a:pt x="2736" y="3139"/>
                  </a:lnTo>
                  <a:lnTo>
                    <a:pt x="2714" y="3139"/>
                  </a:lnTo>
                  <a:lnTo>
                    <a:pt x="2731" y="3139"/>
                  </a:lnTo>
                  <a:lnTo>
                    <a:pt x="2731" y="3139"/>
                  </a:lnTo>
                  <a:lnTo>
                    <a:pt x="2731" y="3139"/>
                  </a:lnTo>
                  <a:close/>
                  <a:moveTo>
                    <a:pt x="2769" y="3156"/>
                  </a:moveTo>
                  <a:lnTo>
                    <a:pt x="2769" y="3149"/>
                  </a:lnTo>
                  <a:lnTo>
                    <a:pt x="2773" y="3139"/>
                  </a:lnTo>
                  <a:lnTo>
                    <a:pt x="2823" y="3149"/>
                  </a:lnTo>
                  <a:lnTo>
                    <a:pt x="2769" y="3156"/>
                  </a:lnTo>
                  <a:lnTo>
                    <a:pt x="2769" y="3156"/>
                  </a:lnTo>
                  <a:lnTo>
                    <a:pt x="2769" y="3156"/>
                  </a:lnTo>
                  <a:close/>
                  <a:moveTo>
                    <a:pt x="2736" y="3139"/>
                  </a:moveTo>
                  <a:lnTo>
                    <a:pt x="2714" y="3156"/>
                  </a:lnTo>
                  <a:lnTo>
                    <a:pt x="2747" y="3156"/>
                  </a:lnTo>
                  <a:lnTo>
                    <a:pt x="2747" y="3161"/>
                  </a:lnTo>
                  <a:lnTo>
                    <a:pt x="2736" y="3161"/>
                  </a:lnTo>
                  <a:lnTo>
                    <a:pt x="2736" y="3172"/>
                  </a:lnTo>
                  <a:lnTo>
                    <a:pt x="2731" y="3172"/>
                  </a:lnTo>
                  <a:lnTo>
                    <a:pt x="2719" y="3161"/>
                  </a:lnTo>
                  <a:lnTo>
                    <a:pt x="2714" y="3161"/>
                  </a:lnTo>
                  <a:lnTo>
                    <a:pt x="2693" y="3156"/>
                  </a:lnTo>
                  <a:lnTo>
                    <a:pt x="2698" y="3149"/>
                  </a:lnTo>
                  <a:lnTo>
                    <a:pt x="2719" y="3149"/>
                  </a:lnTo>
                  <a:lnTo>
                    <a:pt x="2736" y="3139"/>
                  </a:lnTo>
                  <a:lnTo>
                    <a:pt x="2736" y="3139"/>
                  </a:lnTo>
                  <a:lnTo>
                    <a:pt x="2736" y="3139"/>
                  </a:lnTo>
                  <a:close/>
                  <a:moveTo>
                    <a:pt x="2899" y="3139"/>
                  </a:moveTo>
                  <a:lnTo>
                    <a:pt x="2953" y="3149"/>
                  </a:lnTo>
                  <a:lnTo>
                    <a:pt x="2967" y="3161"/>
                  </a:lnTo>
                  <a:lnTo>
                    <a:pt x="2962" y="3177"/>
                  </a:lnTo>
                  <a:lnTo>
                    <a:pt x="2946" y="3177"/>
                  </a:lnTo>
                  <a:lnTo>
                    <a:pt x="2946" y="3172"/>
                  </a:lnTo>
                  <a:lnTo>
                    <a:pt x="2936" y="3172"/>
                  </a:lnTo>
                  <a:lnTo>
                    <a:pt x="2929" y="3177"/>
                  </a:lnTo>
                  <a:lnTo>
                    <a:pt x="2915" y="3177"/>
                  </a:lnTo>
                  <a:lnTo>
                    <a:pt x="2915" y="3172"/>
                  </a:lnTo>
                  <a:lnTo>
                    <a:pt x="2899" y="3177"/>
                  </a:lnTo>
                  <a:lnTo>
                    <a:pt x="2891" y="3149"/>
                  </a:lnTo>
                  <a:lnTo>
                    <a:pt x="2877" y="3149"/>
                  </a:lnTo>
                  <a:lnTo>
                    <a:pt x="2899" y="3139"/>
                  </a:lnTo>
                  <a:lnTo>
                    <a:pt x="2899" y="3139"/>
                  </a:lnTo>
                  <a:lnTo>
                    <a:pt x="2899" y="3139"/>
                  </a:lnTo>
                  <a:close/>
                  <a:moveTo>
                    <a:pt x="2802" y="3189"/>
                  </a:moveTo>
                  <a:lnTo>
                    <a:pt x="2785" y="3177"/>
                  </a:lnTo>
                  <a:lnTo>
                    <a:pt x="2802" y="3172"/>
                  </a:lnTo>
                  <a:lnTo>
                    <a:pt x="2773" y="3177"/>
                  </a:lnTo>
                  <a:lnTo>
                    <a:pt x="2757" y="3161"/>
                  </a:lnTo>
                  <a:lnTo>
                    <a:pt x="2773" y="3156"/>
                  </a:lnTo>
                  <a:lnTo>
                    <a:pt x="2865" y="3149"/>
                  </a:lnTo>
                  <a:lnTo>
                    <a:pt x="2882" y="3156"/>
                  </a:lnTo>
                  <a:lnTo>
                    <a:pt x="2861" y="3172"/>
                  </a:lnTo>
                  <a:lnTo>
                    <a:pt x="2828" y="3156"/>
                  </a:lnTo>
                  <a:lnTo>
                    <a:pt x="2854" y="3172"/>
                  </a:lnTo>
                  <a:lnTo>
                    <a:pt x="2882" y="3172"/>
                  </a:lnTo>
                  <a:lnTo>
                    <a:pt x="2891" y="3177"/>
                  </a:lnTo>
                  <a:lnTo>
                    <a:pt x="2854" y="3177"/>
                  </a:lnTo>
                  <a:lnTo>
                    <a:pt x="2891" y="3194"/>
                  </a:lnTo>
                  <a:lnTo>
                    <a:pt x="2908" y="3210"/>
                  </a:lnTo>
                  <a:lnTo>
                    <a:pt x="2899" y="3227"/>
                  </a:lnTo>
                  <a:lnTo>
                    <a:pt x="2877" y="3206"/>
                  </a:lnTo>
                  <a:lnTo>
                    <a:pt x="2844" y="3206"/>
                  </a:lnTo>
                  <a:lnTo>
                    <a:pt x="2839" y="3194"/>
                  </a:lnTo>
                  <a:lnTo>
                    <a:pt x="2854" y="3189"/>
                  </a:lnTo>
                  <a:lnTo>
                    <a:pt x="2844" y="3189"/>
                  </a:lnTo>
                  <a:lnTo>
                    <a:pt x="2844" y="3172"/>
                  </a:lnTo>
                  <a:lnTo>
                    <a:pt x="2828" y="3177"/>
                  </a:lnTo>
                  <a:lnTo>
                    <a:pt x="2823" y="3161"/>
                  </a:lnTo>
                  <a:lnTo>
                    <a:pt x="2806" y="3172"/>
                  </a:lnTo>
                  <a:lnTo>
                    <a:pt x="2811" y="3172"/>
                  </a:lnTo>
                  <a:lnTo>
                    <a:pt x="2806" y="3177"/>
                  </a:lnTo>
                  <a:lnTo>
                    <a:pt x="2811" y="3194"/>
                  </a:lnTo>
                  <a:lnTo>
                    <a:pt x="2823" y="3194"/>
                  </a:lnTo>
                  <a:lnTo>
                    <a:pt x="2823" y="3206"/>
                  </a:lnTo>
                  <a:lnTo>
                    <a:pt x="2806" y="3206"/>
                  </a:lnTo>
                  <a:lnTo>
                    <a:pt x="2802" y="3194"/>
                  </a:lnTo>
                  <a:lnTo>
                    <a:pt x="2806" y="3189"/>
                  </a:lnTo>
                  <a:lnTo>
                    <a:pt x="2802" y="3189"/>
                  </a:lnTo>
                  <a:lnTo>
                    <a:pt x="2802" y="3189"/>
                  </a:lnTo>
                  <a:lnTo>
                    <a:pt x="2802" y="3189"/>
                  </a:lnTo>
                  <a:close/>
                  <a:moveTo>
                    <a:pt x="2979" y="3156"/>
                  </a:moveTo>
                  <a:lnTo>
                    <a:pt x="2988" y="3161"/>
                  </a:lnTo>
                  <a:lnTo>
                    <a:pt x="2967" y="3156"/>
                  </a:lnTo>
                  <a:lnTo>
                    <a:pt x="2979" y="3156"/>
                  </a:lnTo>
                  <a:lnTo>
                    <a:pt x="2979" y="3156"/>
                  </a:lnTo>
                  <a:lnTo>
                    <a:pt x="2979" y="3156"/>
                  </a:lnTo>
                  <a:close/>
                  <a:moveTo>
                    <a:pt x="3005" y="3177"/>
                  </a:moveTo>
                  <a:lnTo>
                    <a:pt x="3000" y="3172"/>
                  </a:lnTo>
                  <a:lnTo>
                    <a:pt x="3017" y="3172"/>
                  </a:lnTo>
                  <a:lnTo>
                    <a:pt x="3005" y="3177"/>
                  </a:lnTo>
                  <a:lnTo>
                    <a:pt x="3005" y="3177"/>
                  </a:lnTo>
                  <a:lnTo>
                    <a:pt x="3005" y="3177"/>
                  </a:lnTo>
                  <a:close/>
                  <a:moveTo>
                    <a:pt x="2984" y="3177"/>
                  </a:moveTo>
                  <a:lnTo>
                    <a:pt x="2984" y="3189"/>
                  </a:lnTo>
                  <a:lnTo>
                    <a:pt x="2967" y="3189"/>
                  </a:lnTo>
                  <a:lnTo>
                    <a:pt x="2979" y="3177"/>
                  </a:lnTo>
                  <a:lnTo>
                    <a:pt x="2984" y="3177"/>
                  </a:lnTo>
                  <a:lnTo>
                    <a:pt x="2984" y="3177"/>
                  </a:lnTo>
                  <a:lnTo>
                    <a:pt x="2984" y="3177"/>
                  </a:lnTo>
                  <a:close/>
                  <a:moveTo>
                    <a:pt x="2769" y="3189"/>
                  </a:moveTo>
                  <a:lnTo>
                    <a:pt x="2757" y="3177"/>
                  </a:lnTo>
                  <a:lnTo>
                    <a:pt x="2769" y="3177"/>
                  </a:lnTo>
                  <a:lnTo>
                    <a:pt x="2769" y="3189"/>
                  </a:lnTo>
                  <a:lnTo>
                    <a:pt x="2769" y="3189"/>
                  </a:lnTo>
                  <a:lnTo>
                    <a:pt x="2769" y="3189"/>
                  </a:lnTo>
                  <a:close/>
                  <a:moveTo>
                    <a:pt x="2785" y="3194"/>
                  </a:moveTo>
                  <a:lnTo>
                    <a:pt x="2785" y="3189"/>
                  </a:lnTo>
                  <a:lnTo>
                    <a:pt x="2790" y="3189"/>
                  </a:lnTo>
                  <a:lnTo>
                    <a:pt x="2785" y="3194"/>
                  </a:lnTo>
                  <a:lnTo>
                    <a:pt x="2785" y="3194"/>
                  </a:lnTo>
                  <a:lnTo>
                    <a:pt x="2785" y="3194"/>
                  </a:lnTo>
                  <a:close/>
                  <a:moveTo>
                    <a:pt x="2925" y="3210"/>
                  </a:moveTo>
                  <a:lnTo>
                    <a:pt x="2929" y="3206"/>
                  </a:lnTo>
                  <a:lnTo>
                    <a:pt x="2936" y="3206"/>
                  </a:lnTo>
                  <a:lnTo>
                    <a:pt x="2925" y="3210"/>
                  </a:lnTo>
                  <a:lnTo>
                    <a:pt x="2925" y="3210"/>
                  </a:lnTo>
                  <a:lnTo>
                    <a:pt x="2925" y="3210"/>
                  </a:lnTo>
                  <a:close/>
                  <a:moveTo>
                    <a:pt x="2953" y="3234"/>
                  </a:moveTo>
                  <a:lnTo>
                    <a:pt x="2936" y="3227"/>
                  </a:lnTo>
                  <a:lnTo>
                    <a:pt x="2936" y="3217"/>
                  </a:lnTo>
                  <a:lnTo>
                    <a:pt x="2953" y="3210"/>
                  </a:lnTo>
                  <a:lnTo>
                    <a:pt x="2962" y="3227"/>
                  </a:lnTo>
                  <a:lnTo>
                    <a:pt x="2953" y="3234"/>
                  </a:lnTo>
                  <a:lnTo>
                    <a:pt x="2953" y="3234"/>
                  </a:lnTo>
                  <a:lnTo>
                    <a:pt x="2953" y="3234"/>
                  </a:lnTo>
                  <a:close/>
                  <a:moveTo>
                    <a:pt x="2967" y="3243"/>
                  </a:moveTo>
                  <a:lnTo>
                    <a:pt x="2962" y="3243"/>
                  </a:lnTo>
                  <a:lnTo>
                    <a:pt x="2967" y="3234"/>
                  </a:lnTo>
                  <a:lnTo>
                    <a:pt x="2967" y="3243"/>
                  </a:lnTo>
                  <a:lnTo>
                    <a:pt x="2967" y="3243"/>
                  </a:lnTo>
                  <a:lnTo>
                    <a:pt x="2967" y="3243"/>
                  </a:lnTo>
                  <a:close/>
                  <a:moveTo>
                    <a:pt x="2929" y="3243"/>
                  </a:moveTo>
                  <a:lnTo>
                    <a:pt x="2915" y="3234"/>
                  </a:lnTo>
                  <a:lnTo>
                    <a:pt x="2936" y="3234"/>
                  </a:lnTo>
                  <a:lnTo>
                    <a:pt x="2929" y="3243"/>
                  </a:lnTo>
                  <a:lnTo>
                    <a:pt x="2929" y="3243"/>
                  </a:lnTo>
                  <a:lnTo>
                    <a:pt x="2929" y="3243"/>
                  </a:lnTo>
                  <a:close/>
                  <a:moveTo>
                    <a:pt x="2962" y="3243"/>
                  </a:moveTo>
                  <a:lnTo>
                    <a:pt x="2946" y="3234"/>
                  </a:lnTo>
                  <a:lnTo>
                    <a:pt x="2962" y="3234"/>
                  </a:lnTo>
                  <a:lnTo>
                    <a:pt x="2962" y="3243"/>
                  </a:lnTo>
                  <a:lnTo>
                    <a:pt x="2962" y="3243"/>
                  </a:lnTo>
                  <a:lnTo>
                    <a:pt x="2962" y="3243"/>
                  </a:lnTo>
                  <a:close/>
                </a:path>
              </a:pathLst>
            </a:custGeom>
            <a:solidFill>
              <a:schemeClr val="bg2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74" name="Freeform 416">
              <a:extLst>
                <a:ext uri="{FF2B5EF4-FFF2-40B4-BE49-F238E27FC236}">
                  <a16:creationId xmlns:a16="http://schemas.microsoft.com/office/drawing/2014/main" id="{A64F94CA-5BFC-4D7F-A092-CE3117DB5EFE}"/>
                </a:ext>
              </a:extLst>
            </p:cNvPr>
            <p:cNvSpPr>
              <a:spLocks/>
            </p:cNvSpPr>
            <p:nvPr/>
          </p:nvSpPr>
          <p:spPr bwMode="gray">
            <a:xfrm>
              <a:off x="6252785" y="2597050"/>
              <a:ext cx="82723" cy="127705"/>
            </a:xfrm>
            <a:custGeom>
              <a:avLst/>
              <a:gdLst>
                <a:gd name="T0" fmla="*/ 21 w 539"/>
                <a:gd name="T1" fmla="*/ 572 h 832"/>
                <a:gd name="T2" fmla="*/ 26 w 539"/>
                <a:gd name="T3" fmla="*/ 522 h 832"/>
                <a:gd name="T4" fmla="*/ 80 w 539"/>
                <a:gd name="T5" fmla="*/ 477 h 832"/>
                <a:gd name="T6" fmla="*/ 97 w 539"/>
                <a:gd name="T7" fmla="*/ 461 h 832"/>
                <a:gd name="T8" fmla="*/ 123 w 539"/>
                <a:gd name="T9" fmla="*/ 449 h 832"/>
                <a:gd name="T10" fmla="*/ 144 w 539"/>
                <a:gd name="T11" fmla="*/ 437 h 832"/>
                <a:gd name="T12" fmla="*/ 182 w 539"/>
                <a:gd name="T13" fmla="*/ 482 h 832"/>
                <a:gd name="T14" fmla="*/ 215 w 539"/>
                <a:gd name="T15" fmla="*/ 465 h 832"/>
                <a:gd name="T16" fmla="*/ 236 w 539"/>
                <a:gd name="T17" fmla="*/ 437 h 832"/>
                <a:gd name="T18" fmla="*/ 232 w 539"/>
                <a:gd name="T19" fmla="*/ 421 h 832"/>
                <a:gd name="T20" fmla="*/ 243 w 539"/>
                <a:gd name="T21" fmla="*/ 387 h 832"/>
                <a:gd name="T22" fmla="*/ 258 w 539"/>
                <a:gd name="T23" fmla="*/ 338 h 832"/>
                <a:gd name="T24" fmla="*/ 274 w 539"/>
                <a:gd name="T25" fmla="*/ 326 h 832"/>
                <a:gd name="T26" fmla="*/ 295 w 539"/>
                <a:gd name="T27" fmla="*/ 317 h 832"/>
                <a:gd name="T28" fmla="*/ 328 w 539"/>
                <a:gd name="T29" fmla="*/ 255 h 832"/>
                <a:gd name="T30" fmla="*/ 345 w 539"/>
                <a:gd name="T31" fmla="*/ 215 h 832"/>
                <a:gd name="T32" fmla="*/ 366 w 539"/>
                <a:gd name="T33" fmla="*/ 149 h 832"/>
                <a:gd name="T34" fmla="*/ 399 w 539"/>
                <a:gd name="T35" fmla="*/ 132 h 832"/>
                <a:gd name="T36" fmla="*/ 432 w 539"/>
                <a:gd name="T37" fmla="*/ 95 h 832"/>
                <a:gd name="T38" fmla="*/ 421 w 539"/>
                <a:gd name="T39" fmla="*/ 54 h 832"/>
                <a:gd name="T40" fmla="*/ 395 w 539"/>
                <a:gd name="T41" fmla="*/ 0 h 832"/>
                <a:gd name="T42" fmla="*/ 421 w 539"/>
                <a:gd name="T43" fmla="*/ 21 h 832"/>
                <a:gd name="T44" fmla="*/ 449 w 539"/>
                <a:gd name="T45" fmla="*/ 71 h 832"/>
                <a:gd name="T46" fmla="*/ 458 w 539"/>
                <a:gd name="T47" fmla="*/ 116 h 832"/>
                <a:gd name="T48" fmla="*/ 458 w 539"/>
                <a:gd name="T49" fmla="*/ 165 h 832"/>
                <a:gd name="T50" fmla="*/ 508 w 539"/>
                <a:gd name="T51" fmla="*/ 227 h 832"/>
                <a:gd name="T52" fmla="*/ 399 w 539"/>
                <a:gd name="T53" fmla="*/ 227 h 832"/>
                <a:gd name="T54" fmla="*/ 404 w 539"/>
                <a:gd name="T55" fmla="*/ 281 h 832"/>
                <a:gd name="T56" fmla="*/ 491 w 539"/>
                <a:gd name="T57" fmla="*/ 383 h 832"/>
                <a:gd name="T58" fmla="*/ 491 w 539"/>
                <a:gd name="T59" fmla="*/ 404 h 832"/>
                <a:gd name="T60" fmla="*/ 449 w 539"/>
                <a:gd name="T61" fmla="*/ 494 h 832"/>
                <a:gd name="T62" fmla="*/ 421 w 539"/>
                <a:gd name="T63" fmla="*/ 522 h 832"/>
                <a:gd name="T64" fmla="*/ 432 w 539"/>
                <a:gd name="T65" fmla="*/ 548 h 832"/>
                <a:gd name="T66" fmla="*/ 432 w 539"/>
                <a:gd name="T67" fmla="*/ 572 h 832"/>
                <a:gd name="T68" fmla="*/ 458 w 539"/>
                <a:gd name="T69" fmla="*/ 631 h 832"/>
                <a:gd name="T70" fmla="*/ 458 w 539"/>
                <a:gd name="T71" fmla="*/ 659 h 832"/>
                <a:gd name="T72" fmla="*/ 529 w 539"/>
                <a:gd name="T73" fmla="*/ 737 h 832"/>
                <a:gd name="T74" fmla="*/ 539 w 539"/>
                <a:gd name="T75" fmla="*/ 782 h 832"/>
                <a:gd name="T76" fmla="*/ 539 w 539"/>
                <a:gd name="T77" fmla="*/ 827 h 832"/>
                <a:gd name="T78" fmla="*/ 508 w 539"/>
                <a:gd name="T79" fmla="*/ 810 h 832"/>
                <a:gd name="T80" fmla="*/ 421 w 539"/>
                <a:gd name="T81" fmla="*/ 794 h 832"/>
                <a:gd name="T82" fmla="*/ 328 w 539"/>
                <a:gd name="T83" fmla="*/ 782 h 832"/>
                <a:gd name="T84" fmla="*/ 269 w 539"/>
                <a:gd name="T85" fmla="*/ 782 h 832"/>
                <a:gd name="T86" fmla="*/ 199 w 539"/>
                <a:gd name="T87" fmla="*/ 794 h 832"/>
                <a:gd name="T88" fmla="*/ 90 w 539"/>
                <a:gd name="T89" fmla="*/ 777 h 832"/>
                <a:gd name="T90" fmla="*/ 97 w 539"/>
                <a:gd name="T91" fmla="*/ 716 h 832"/>
                <a:gd name="T92" fmla="*/ 90 w 539"/>
                <a:gd name="T93" fmla="*/ 687 h 832"/>
                <a:gd name="T94" fmla="*/ 76 w 539"/>
                <a:gd name="T95" fmla="*/ 671 h 832"/>
                <a:gd name="T96" fmla="*/ 69 w 539"/>
                <a:gd name="T97" fmla="*/ 650 h 832"/>
                <a:gd name="T98" fmla="*/ 69 w 539"/>
                <a:gd name="T99" fmla="*/ 666 h 832"/>
                <a:gd name="T100" fmla="*/ 26 w 539"/>
                <a:gd name="T101" fmla="*/ 614 h 832"/>
                <a:gd name="T102" fmla="*/ 26 w 539"/>
                <a:gd name="T103" fmla="*/ 614 h 832"/>
                <a:gd name="T104" fmla="*/ 14 w 539"/>
                <a:gd name="T105" fmla="*/ 626 h 832"/>
                <a:gd name="T106" fmla="*/ 5 w 539"/>
                <a:gd name="T107" fmla="*/ 605 h 832"/>
                <a:gd name="T108" fmla="*/ 5 w 539"/>
                <a:gd name="T109" fmla="*/ 605 h 8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539" h="832">
                  <a:moveTo>
                    <a:pt x="5" y="605"/>
                  </a:moveTo>
                  <a:lnTo>
                    <a:pt x="21" y="572"/>
                  </a:lnTo>
                  <a:lnTo>
                    <a:pt x="26" y="548"/>
                  </a:lnTo>
                  <a:lnTo>
                    <a:pt x="26" y="522"/>
                  </a:lnTo>
                  <a:lnTo>
                    <a:pt x="59" y="494"/>
                  </a:lnTo>
                  <a:lnTo>
                    <a:pt x="80" y="477"/>
                  </a:lnTo>
                  <a:lnTo>
                    <a:pt x="90" y="461"/>
                  </a:lnTo>
                  <a:lnTo>
                    <a:pt x="97" y="461"/>
                  </a:lnTo>
                  <a:lnTo>
                    <a:pt x="113" y="444"/>
                  </a:lnTo>
                  <a:lnTo>
                    <a:pt x="123" y="449"/>
                  </a:lnTo>
                  <a:lnTo>
                    <a:pt x="144" y="449"/>
                  </a:lnTo>
                  <a:lnTo>
                    <a:pt x="144" y="437"/>
                  </a:lnTo>
                  <a:lnTo>
                    <a:pt x="182" y="461"/>
                  </a:lnTo>
                  <a:lnTo>
                    <a:pt x="182" y="482"/>
                  </a:lnTo>
                  <a:lnTo>
                    <a:pt x="199" y="482"/>
                  </a:lnTo>
                  <a:lnTo>
                    <a:pt x="215" y="465"/>
                  </a:lnTo>
                  <a:lnTo>
                    <a:pt x="215" y="449"/>
                  </a:lnTo>
                  <a:lnTo>
                    <a:pt x="236" y="437"/>
                  </a:lnTo>
                  <a:lnTo>
                    <a:pt x="232" y="421"/>
                  </a:lnTo>
                  <a:lnTo>
                    <a:pt x="232" y="421"/>
                  </a:lnTo>
                  <a:lnTo>
                    <a:pt x="243" y="404"/>
                  </a:lnTo>
                  <a:lnTo>
                    <a:pt x="243" y="387"/>
                  </a:lnTo>
                  <a:lnTo>
                    <a:pt x="258" y="371"/>
                  </a:lnTo>
                  <a:lnTo>
                    <a:pt x="258" y="338"/>
                  </a:lnTo>
                  <a:lnTo>
                    <a:pt x="274" y="333"/>
                  </a:lnTo>
                  <a:lnTo>
                    <a:pt x="274" y="326"/>
                  </a:lnTo>
                  <a:lnTo>
                    <a:pt x="291" y="326"/>
                  </a:lnTo>
                  <a:lnTo>
                    <a:pt x="295" y="317"/>
                  </a:lnTo>
                  <a:lnTo>
                    <a:pt x="307" y="272"/>
                  </a:lnTo>
                  <a:lnTo>
                    <a:pt x="328" y="255"/>
                  </a:lnTo>
                  <a:lnTo>
                    <a:pt x="340" y="222"/>
                  </a:lnTo>
                  <a:lnTo>
                    <a:pt x="345" y="215"/>
                  </a:lnTo>
                  <a:lnTo>
                    <a:pt x="350" y="182"/>
                  </a:lnTo>
                  <a:lnTo>
                    <a:pt x="366" y="149"/>
                  </a:lnTo>
                  <a:lnTo>
                    <a:pt x="383" y="132"/>
                  </a:lnTo>
                  <a:lnTo>
                    <a:pt x="399" y="132"/>
                  </a:lnTo>
                  <a:lnTo>
                    <a:pt x="432" y="111"/>
                  </a:lnTo>
                  <a:lnTo>
                    <a:pt x="432" y="95"/>
                  </a:lnTo>
                  <a:lnTo>
                    <a:pt x="432" y="59"/>
                  </a:lnTo>
                  <a:lnTo>
                    <a:pt x="421" y="54"/>
                  </a:lnTo>
                  <a:lnTo>
                    <a:pt x="399" y="50"/>
                  </a:lnTo>
                  <a:lnTo>
                    <a:pt x="395" y="0"/>
                  </a:lnTo>
                  <a:lnTo>
                    <a:pt x="416" y="0"/>
                  </a:lnTo>
                  <a:lnTo>
                    <a:pt x="421" y="21"/>
                  </a:lnTo>
                  <a:lnTo>
                    <a:pt x="449" y="33"/>
                  </a:lnTo>
                  <a:lnTo>
                    <a:pt x="449" y="71"/>
                  </a:lnTo>
                  <a:lnTo>
                    <a:pt x="458" y="71"/>
                  </a:lnTo>
                  <a:lnTo>
                    <a:pt x="458" y="116"/>
                  </a:lnTo>
                  <a:lnTo>
                    <a:pt x="458" y="132"/>
                  </a:lnTo>
                  <a:lnTo>
                    <a:pt x="458" y="165"/>
                  </a:lnTo>
                  <a:lnTo>
                    <a:pt x="487" y="206"/>
                  </a:lnTo>
                  <a:lnTo>
                    <a:pt x="508" y="227"/>
                  </a:lnTo>
                  <a:lnTo>
                    <a:pt x="437" y="227"/>
                  </a:lnTo>
                  <a:lnTo>
                    <a:pt x="399" y="227"/>
                  </a:lnTo>
                  <a:lnTo>
                    <a:pt x="383" y="255"/>
                  </a:lnTo>
                  <a:lnTo>
                    <a:pt x="404" y="281"/>
                  </a:lnTo>
                  <a:lnTo>
                    <a:pt x="470" y="333"/>
                  </a:lnTo>
                  <a:lnTo>
                    <a:pt x="491" y="383"/>
                  </a:lnTo>
                  <a:lnTo>
                    <a:pt x="501" y="387"/>
                  </a:lnTo>
                  <a:lnTo>
                    <a:pt x="491" y="404"/>
                  </a:lnTo>
                  <a:lnTo>
                    <a:pt x="470" y="428"/>
                  </a:lnTo>
                  <a:lnTo>
                    <a:pt x="449" y="494"/>
                  </a:lnTo>
                  <a:lnTo>
                    <a:pt x="416" y="515"/>
                  </a:lnTo>
                  <a:lnTo>
                    <a:pt x="421" y="522"/>
                  </a:lnTo>
                  <a:lnTo>
                    <a:pt x="432" y="522"/>
                  </a:lnTo>
                  <a:lnTo>
                    <a:pt x="432" y="548"/>
                  </a:lnTo>
                  <a:lnTo>
                    <a:pt x="421" y="560"/>
                  </a:lnTo>
                  <a:lnTo>
                    <a:pt x="432" y="572"/>
                  </a:lnTo>
                  <a:lnTo>
                    <a:pt x="437" y="614"/>
                  </a:lnTo>
                  <a:lnTo>
                    <a:pt x="458" y="631"/>
                  </a:lnTo>
                  <a:lnTo>
                    <a:pt x="470" y="659"/>
                  </a:lnTo>
                  <a:lnTo>
                    <a:pt x="458" y="659"/>
                  </a:lnTo>
                  <a:lnTo>
                    <a:pt x="475" y="683"/>
                  </a:lnTo>
                  <a:lnTo>
                    <a:pt x="529" y="737"/>
                  </a:lnTo>
                  <a:lnTo>
                    <a:pt x="529" y="770"/>
                  </a:lnTo>
                  <a:lnTo>
                    <a:pt x="539" y="782"/>
                  </a:lnTo>
                  <a:lnTo>
                    <a:pt x="529" y="794"/>
                  </a:lnTo>
                  <a:lnTo>
                    <a:pt x="539" y="827"/>
                  </a:lnTo>
                  <a:lnTo>
                    <a:pt x="529" y="832"/>
                  </a:lnTo>
                  <a:lnTo>
                    <a:pt x="508" y="810"/>
                  </a:lnTo>
                  <a:lnTo>
                    <a:pt x="449" y="798"/>
                  </a:lnTo>
                  <a:lnTo>
                    <a:pt x="421" y="794"/>
                  </a:lnTo>
                  <a:lnTo>
                    <a:pt x="340" y="794"/>
                  </a:lnTo>
                  <a:lnTo>
                    <a:pt x="328" y="782"/>
                  </a:lnTo>
                  <a:lnTo>
                    <a:pt x="295" y="782"/>
                  </a:lnTo>
                  <a:lnTo>
                    <a:pt x="269" y="782"/>
                  </a:lnTo>
                  <a:lnTo>
                    <a:pt x="199" y="782"/>
                  </a:lnTo>
                  <a:lnTo>
                    <a:pt x="199" y="794"/>
                  </a:lnTo>
                  <a:lnTo>
                    <a:pt x="106" y="794"/>
                  </a:lnTo>
                  <a:lnTo>
                    <a:pt x="90" y="777"/>
                  </a:lnTo>
                  <a:lnTo>
                    <a:pt x="106" y="725"/>
                  </a:lnTo>
                  <a:lnTo>
                    <a:pt x="97" y="716"/>
                  </a:lnTo>
                  <a:lnTo>
                    <a:pt x="80" y="687"/>
                  </a:lnTo>
                  <a:lnTo>
                    <a:pt x="90" y="687"/>
                  </a:lnTo>
                  <a:lnTo>
                    <a:pt x="80" y="687"/>
                  </a:lnTo>
                  <a:lnTo>
                    <a:pt x="76" y="671"/>
                  </a:lnTo>
                  <a:lnTo>
                    <a:pt x="80" y="666"/>
                  </a:lnTo>
                  <a:lnTo>
                    <a:pt x="69" y="650"/>
                  </a:lnTo>
                  <a:lnTo>
                    <a:pt x="76" y="659"/>
                  </a:lnTo>
                  <a:lnTo>
                    <a:pt x="69" y="666"/>
                  </a:lnTo>
                  <a:lnTo>
                    <a:pt x="38" y="650"/>
                  </a:lnTo>
                  <a:lnTo>
                    <a:pt x="26" y="614"/>
                  </a:lnTo>
                  <a:lnTo>
                    <a:pt x="21" y="609"/>
                  </a:lnTo>
                  <a:lnTo>
                    <a:pt x="26" y="614"/>
                  </a:lnTo>
                  <a:lnTo>
                    <a:pt x="14" y="609"/>
                  </a:lnTo>
                  <a:lnTo>
                    <a:pt x="14" y="626"/>
                  </a:lnTo>
                  <a:lnTo>
                    <a:pt x="0" y="614"/>
                  </a:lnTo>
                  <a:lnTo>
                    <a:pt x="5" y="605"/>
                  </a:lnTo>
                  <a:lnTo>
                    <a:pt x="5" y="605"/>
                  </a:lnTo>
                  <a:lnTo>
                    <a:pt x="5" y="605"/>
                  </a:lnTo>
                  <a:close/>
                </a:path>
              </a:pathLst>
            </a:custGeom>
            <a:solidFill>
              <a:schemeClr val="bg2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75" name="Freeform 417">
              <a:extLst>
                <a:ext uri="{FF2B5EF4-FFF2-40B4-BE49-F238E27FC236}">
                  <a16:creationId xmlns:a16="http://schemas.microsoft.com/office/drawing/2014/main" id="{3951EA7E-858C-44A6-AAB7-28CADA1B3DFD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626650" y="2869038"/>
              <a:ext cx="14120" cy="11205"/>
            </a:xfrm>
            <a:custGeom>
              <a:avLst/>
              <a:gdLst>
                <a:gd name="T0" fmla="*/ 16 w 92"/>
                <a:gd name="T1" fmla="*/ 40 h 73"/>
                <a:gd name="T2" fmla="*/ 0 w 92"/>
                <a:gd name="T3" fmla="*/ 21 h 73"/>
                <a:gd name="T4" fmla="*/ 0 w 92"/>
                <a:gd name="T5" fmla="*/ 0 h 73"/>
                <a:gd name="T6" fmla="*/ 16 w 92"/>
                <a:gd name="T7" fmla="*/ 0 h 73"/>
                <a:gd name="T8" fmla="*/ 16 w 92"/>
                <a:gd name="T9" fmla="*/ 40 h 73"/>
                <a:gd name="T10" fmla="*/ 16 w 92"/>
                <a:gd name="T11" fmla="*/ 40 h 73"/>
                <a:gd name="T12" fmla="*/ 16 w 92"/>
                <a:gd name="T13" fmla="*/ 40 h 73"/>
                <a:gd name="T14" fmla="*/ 92 w 92"/>
                <a:gd name="T15" fmla="*/ 73 h 73"/>
                <a:gd name="T16" fmla="*/ 70 w 92"/>
                <a:gd name="T17" fmla="*/ 56 h 73"/>
                <a:gd name="T18" fmla="*/ 80 w 92"/>
                <a:gd name="T19" fmla="*/ 56 h 73"/>
                <a:gd name="T20" fmla="*/ 85 w 92"/>
                <a:gd name="T21" fmla="*/ 49 h 73"/>
                <a:gd name="T22" fmla="*/ 92 w 92"/>
                <a:gd name="T23" fmla="*/ 73 h 73"/>
                <a:gd name="T24" fmla="*/ 92 w 92"/>
                <a:gd name="T25" fmla="*/ 73 h 73"/>
                <a:gd name="T26" fmla="*/ 92 w 92"/>
                <a:gd name="T27" fmla="*/ 73 h 73"/>
                <a:gd name="T28" fmla="*/ 49 w 92"/>
                <a:gd name="T29" fmla="*/ 73 h 73"/>
                <a:gd name="T30" fmla="*/ 33 w 92"/>
                <a:gd name="T31" fmla="*/ 73 h 73"/>
                <a:gd name="T32" fmla="*/ 33 w 92"/>
                <a:gd name="T33" fmla="*/ 66 h 73"/>
                <a:gd name="T34" fmla="*/ 49 w 92"/>
                <a:gd name="T35" fmla="*/ 73 h 73"/>
                <a:gd name="T36" fmla="*/ 49 w 92"/>
                <a:gd name="T37" fmla="*/ 73 h 73"/>
                <a:gd name="T38" fmla="*/ 49 w 92"/>
                <a:gd name="T39" fmla="*/ 73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92" h="73">
                  <a:moveTo>
                    <a:pt x="16" y="40"/>
                  </a:moveTo>
                  <a:lnTo>
                    <a:pt x="0" y="21"/>
                  </a:lnTo>
                  <a:lnTo>
                    <a:pt x="0" y="0"/>
                  </a:lnTo>
                  <a:lnTo>
                    <a:pt x="16" y="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close/>
                  <a:moveTo>
                    <a:pt x="92" y="73"/>
                  </a:moveTo>
                  <a:lnTo>
                    <a:pt x="70" y="56"/>
                  </a:lnTo>
                  <a:lnTo>
                    <a:pt x="80" y="56"/>
                  </a:lnTo>
                  <a:lnTo>
                    <a:pt x="85" y="49"/>
                  </a:lnTo>
                  <a:lnTo>
                    <a:pt x="92" y="73"/>
                  </a:lnTo>
                  <a:lnTo>
                    <a:pt x="92" y="73"/>
                  </a:lnTo>
                  <a:lnTo>
                    <a:pt x="92" y="73"/>
                  </a:lnTo>
                  <a:close/>
                  <a:moveTo>
                    <a:pt x="49" y="73"/>
                  </a:moveTo>
                  <a:lnTo>
                    <a:pt x="33" y="73"/>
                  </a:lnTo>
                  <a:lnTo>
                    <a:pt x="33" y="66"/>
                  </a:lnTo>
                  <a:lnTo>
                    <a:pt x="49" y="73"/>
                  </a:lnTo>
                  <a:lnTo>
                    <a:pt x="49" y="73"/>
                  </a:lnTo>
                  <a:lnTo>
                    <a:pt x="49" y="73"/>
                  </a:lnTo>
                  <a:close/>
                </a:path>
              </a:pathLst>
            </a:custGeom>
            <a:solidFill>
              <a:schemeClr val="bg2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76" name="Freeform 418">
              <a:extLst>
                <a:ext uri="{FF2B5EF4-FFF2-40B4-BE49-F238E27FC236}">
                  <a16:creationId xmlns:a16="http://schemas.microsoft.com/office/drawing/2014/main" id="{BAEBFB1F-8A84-4D79-98E4-F177DEB9CB3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309528" y="2604724"/>
              <a:ext cx="131528" cy="184498"/>
            </a:xfrm>
            <a:custGeom>
              <a:avLst/>
              <a:gdLst>
                <a:gd name="T0" fmla="*/ 92 w 857"/>
                <a:gd name="T1" fmla="*/ 337 h 1202"/>
                <a:gd name="T2" fmla="*/ 134 w 857"/>
                <a:gd name="T3" fmla="*/ 321 h 1202"/>
                <a:gd name="T4" fmla="*/ 146 w 857"/>
                <a:gd name="T5" fmla="*/ 304 h 1202"/>
                <a:gd name="T6" fmla="*/ 163 w 857"/>
                <a:gd name="T7" fmla="*/ 288 h 1202"/>
                <a:gd name="T8" fmla="*/ 243 w 857"/>
                <a:gd name="T9" fmla="*/ 212 h 1202"/>
                <a:gd name="T10" fmla="*/ 269 w 857"/>
                <a:gd name="T11" fmla="*/ 122 h 1202"/>
                <a:gd name="T12" fmla="*/ 323 w 857"/>
                <a:gd name="T13" fmla="*/ 101 h 1202"/>
                <a:gd name="T14" fmla="*/ 335 w 857"/>
                <a:gd name="T15" fmla="*/ 122 h 1202"/>
                <a:gd name="T16" fmla="*/ 479 w 857"/>
                <a:gd name="T17" fmla="*/ 40 h 1202"/>
                <a:gd name="T18" fmla="*/ 496 w 857"/>
                <a:gd name="T19" fmla="*/ 11 h 1202"/>
                <a:gd name="T20" fmla="*/ 517 w 857"/>
                <a:gd name="T21" fmla="*/ 0 h 1202"/>
                <a:gd name="T22" fmla="*/ 503 w 857"/>
                <a:gd name="T23" fmla="*/ 56 h 1202"/>
                <a:gd name="T24" fmla="*/ 427 w 857"/>
                <a:gd name="T25" fmla="*/ 193 h 1202"/>
                <a:gd name="T26" fmla="*/ 441 w 857"/>
                <a:gd name="T27" fmla="*/ 245 h 1202"/>
                <a:gd name="T28" fmla="*/ 465 w 857"/>
                <a:gd name="T29" fmla="*/ 321 h 1202"/>
                <a:gd name="T30" fmla="*/ 524 w 857"/>
                <a:gd name="T31" fmla="*/ 389 h 1202"/>
                <a:gd name="T32" fmla="*/ 630 w 857"/>
                <a:gd name="T33" fmla="*/ 394 h 1202"/>
                <a:gd name="T34" fmla="*/ 701 w 857"/>
                <a:gd name="T35" fmla="*/ 448 h 1202"/>
                <a:gd name="T36" fmla="*/ 819 w 857"/>
                <a:gd name="T37" fmla="*/ 448 h 1202"/>
                <a:gd name="T38" fmla="*/ 789 w 857"/>
                <a:gd name="T39" fmla="*/ 510 h 1202"/>
                <a:gd name="T40" fmla="*/ 827 w 857"/>
                <a:gd name="T41" fmla="*/ 654 h 1202"/>
                <a:gd name="T42" fmla="*/ 836 w 857"/>
                <a:gd name="T43" fmla="*/ 732 h 1202"/>
                <a:gd name="T44" fmla="*/ 827 w 857"/>
                <a:gd name="T45" fmla="*/ 744 h 1202"/>
                <a:gd name="T46" fmla="*/ 756 w 857"/>
                <a:gd name="T47" fmla="*/ 765 h 1202"/>
                <a:gd name="T48" fmla="*/ 647 w 857"/>
                <a:gd name="T49" fmla="*/ 819 h 1202"/>
                <a:gd name="T50" fmla="*/ 685 w 857"/>
                <a:gd name="T51" fmla="*/ 852 h 1202"/>
                <a:gd name="T52" fmla="*/ 664 w 857"/>
                <a:gd name="T53" fmla="*/ 930 h 1202"/>
                <a:gd name="T54" fmla="*/ 642 w 857"/>
                <a:gd name="T55" fmla="*/ 1202 h 1202"/>
                <a:gd name="T56" fmla="*/ 630 w 857"/>
                <a:gd name="T57" fmla="*/ 1098 h 1202"/>
                <a:gd name="T58" fmla="*/ 541 w 857"/>
                <a:gd name="T59" fmla="*/ 1070 h 1202"/>
                <a:gd name="T60" fmla="*/ 479 w 857"/>
                <a:gd name="T61" fmla="*/ 1074 h 1202"/>
                <a:gd name="T62" fmla="*/ 415 w 857"/>
                <a:gd name="T63" fmla="*/ 1070 h 1202"/>
                <a:gd name="T64" fmla="*/ 411 w 857"/>
                <a:gd name="T65" fmla="*/ 1037 h 1202"/>
                <a:gd name="T66" fmla="*/ 340 w 857"/>
                <a:gd name="T67" fmla="*/ 970 h 1202"/>
                <a:gd name="T68" fmla="*/ 297 w 857"/>
                <a:gd name="T69" fmla="*/ 914 h 1202"/>
                <a:gd name="T70" fmla="*/ 215 w 857"/>
                <a:gd name="T71" fmla="*/ 876 h 1202"/>
                <a:gd name="T72" fmla="*/ 177 w 857"/>
                <a:gd name="T73" fmla="*/ 888 h 1202"/>
                <a:gd name="T74" fmla="*/ 101 w 857"/>
                <a:gd name="T75" fmla="*/ 836 h 1202"/>
                <a:gd name="T76" fmla="*/ 16 w 857"/>
                <a:gd name="T77" fmla="*/ 786 h 1202"/>
                <a:gd name="T78" fmla="*/ 38 w 857"/>
                <a:gd name="T79" fmla="*/ 760 h 1202"/>
                <a:gd name="T80" fmla="*/ 54 w 857"/>
                <a:gd name="T81" fmla="*/ 720 h 1202"/>
                <a:gd name="T82" fmla="*/ 87 w 857"/>
                <a:gd name="T83" fmla="*/ 708 h 1202"/>
                <a:gd name="T84" fmla="*/ 118 w 857"/>
                <a:gd name="T85" fmla="*/ 654 h 1202"/>
                <a:gd name="T86" fmla="*/ 125 w 857"/>
                <a:gd name="T87" fmla="*/ 616 h 1202"/>
                <a:gd name="T88" fmla="*/ 118 w 857"/>
                <a:gd name="T89" fmla="*/ 609 h 1202"/>
                <a:gd name="T90" fmla="*/ 125 w 857"/>
                <a:gd name="T91" fmla="*/ 567 h 1202"/>
                <a:gd name="T92" fmla="*/ 134 w 857"/>
                <a:gd name="T93" fmla="*/ 482 h 1202"/>
                <a:gd name="T94" fmla="*/ 125 w 857"/>
                <a:gd name="T95" fmla="*/ 427 h 1202"/>
                <a:gd name="T96" fmla="*/ 118 w 857"/>
                <a:gd name="T97" fmla="*/ 583 h 1202"/>
                <a:gd name="T98" fmla="*/ 118 w 857"/>
                <a:gd name="T99" fmla="*/ 583 h 1202"/>
                <a:gd name="T100" fmla="*/ 118 w 857"/>
                <a:gd name="T101" fmla="*/ 609 h 1202"/>
                <a:gd name="T102" fmla="*/ 118 w 857"/>
                <a:gd name="T103" fmla="*/ 666 h 1202"/>
                <a:gd name="T104" fmla="*/ 118 w 857"/>
                <a:gd name="T105" fmla="*/ 666 h 1202"/>
                <a:gd name="T106" fmla="*/ 108 w 857"/>
                <a:gd name="T107" fmla="*/ 675 h 1202"/>
                <a:gd name="T108" fmla="*/ 108 w 857"/>
                <a:gd name="T109" fmla="*/ 671 h 1202"/>
                <a:gd name="T110" fmla="*/ 87 w 857"/>
                <a:gd name="T111" fmla="*/ 708 h 1202"/>
                <a:gd name="T112" fmla="*/ 71 w 857"/>
                <a:gd name="T113" fmla="*/ 708 h 1202"/>
                <a:gd name="T114" fmla="*/ 80 w 857"/>
                <a:gd name="T115" fmla="*/ 720 h 1202"/>
                <a:gd name="T116" fmla="*/ 71 w 857"/>
                <a:gd name="T117" fmla="*/ 720 h 1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857" h="1202">
                  <a:moveTo>
                    <a:pt x="87" y="378"/>
                  </a:moveTo>
                  <a:lnTo>
                    <a:pt x="92" y="361"/>
                  </a:lnTo>
                  <a:lnTo>
                    <a:pt x="92" y="354"/>
                  </a:lnTo>
                  <a:lnTo>
                    <a:pt x="92" y="337"/>
                  </a:lnTo>
                  <a:lnTo>
                    <a:pt x="108" y="354"/>
                  </a:lnTo>
                  <a:lnTo>
                    <a:pt x="125" y="345"/>
                  </a:lnTo>
                  <a:lnTo>
                    <a:pt x="125" y="337"/>
                  </a:lnTo>
                  <a:lnTo>
                    <a:pt x="134" y="321"/>
                  </a:lnTo>
                  <a:lnTo>
                    <a:pt x="134" y="316"/>
                  </a:lnTo>
                  <a:lnTo>
                    <a:pt x="118" y="283"/>
                  </a:lnTo>
                  <a:lnTo>
                    <a:pt x="125" y="278"/>
                  </a:lnTo>
                  <a:lnTo>
                    <a:pt x="146" y="304"/>
                  </a:lnTo>
                  <a:lnTo>
                    <a:pt x="156" y="316"/>
                  </a:lnTo>
                  <a:lnTo>
                    <a:pt x="156" y="321"/>
                  </a:lnTo>
                  <a:lnTo>
                    <a:pt x="163" y="333"/>
                  </a:lnTo>
                  <a:lnTo>
                    <a:pt x="163" y="288"/>
                  </a:lnTo>
                  <a:lnTo>
                    <a:pt x="156" y="283"/>
                  </a:lnTo>
                  <a:lnTo>
                    <a:pt x="193" y="250"/>
                  </a:lnTo>
                  <a:lnTo>
                    <a:pt x="210" y="229"/>
                  </a:lnTo>
                  <a:lnTo>
                    <a:pt x="243" y="212"/>
                  </a:lnTo>
                  <a:lnTo>
                    <a:pt x="248" y="205"/>
                  </a:lnTo>
                  <a:lnTo>
                    <a:pt x="243" y="193"/>
                  </a:lnTo>
                  <a:lnTo>
                    <a:pt x="252" y="134"/>
                  </a:lnTo>
                  <a:lnTo>
                    <a:pt x="269" y="122"/>
                  </a:lnTo>
                  <a:lnTo>
                    <a:pt x="269" y="118"/>
                  </a:lnTo>
                  <a:lnTo>
                    <a:pt x="286" y="111"/>
                  </a:lnTo>
                  <a:lnTo>
                    <a:pt x="297" y="94"/>
                  </a:lnTo>
                  <a:lnTo>
                    <a:pt x="323" y="101"/>
                  </a:lnTo>
                  <a:lnTo>
                    <a:pt x="340" y="101"/>
                  </a:lnTo>
                  <a:lnTo>
                    <a:pt x="319" y="111"/>
                  </a:lnTo>
                  <a:lnTo>
                    <a:pt x="319" y="118"/>
                  </a:lnTo>
                  <a:lnTo>
                    <a:pt x="335" y="122"/>
                  </a:lnTo>
                  <a:lnTo>
                    <a:pt x="352" y="78"/>
                  </a:lnTo>
                  <a:lnTo>
                    <a:pt x="411" y="85"/>
                  </a:lnTo>
                  <a:lnTo>
                    <a:pt x="449" y="56"/>
                  </a:lnTo>
                  <a:lnTo>
                    <a:pt x="479" y="40"/>
                  </a:lnTo>
                  <a:lnTo>
                    <a:pt x="486" y="23"/>
                  </a:lnTo>
                  <a:lnTo>
                    <a:pt x="486" y="11"/>
                  </a:lnTo>
                  <a:lnTo>
                    <a:pt x="503" y="11"/>
                  </a:lnTo>
                  <a:lnTo>
                    <a:pt x="496" y="11"/>
                  </a:lnTo>
                  <a:lnTo>
                    <a:pt x="503" y="23"/>
                  </a:lnTo>
                  <a:lnTo>
                    <a:pt x="524" y="0"/>
                  </a:lnTo>
                  <a:lnTo>
                    <a:pt x="517" y="0"/>
                  </a:lnTo>
                  <a:lnTo>
                    <a:pt x="517" y="0"/>
                  </a:lnTo>
                  <a:lnTo>
                    <a:pt x="555" y="7"/>
                  </a:lnTo>
                  <a:lnTo>
                    <a:pt x="555" y="28"/>
                  </a:lnTo>
                  <a:lnTo>
                    <a:pt x="550" y="40"/>
                  </a:lnTo>
                  <a:lnTo>
                    <a:pt x="503" y="56"/>
                  </a:lnTo>
                  <a:lnTo>
                    <a:pt x="486" y="85"/>
                  </a:lnTo>
                  <a:lnTo>
                    <a:pt x="465" y="94"/>
                  </a:lnTo>
                  <a:lnTo>
                    <a:pt x="432" y="139"/>
                  </a:lnTo>
                  <a:lnTo>
                    <a:pt x="427" y="193"/>
                  </a:lnTo>
                  <a:lnTo>
                    <a:pt x="404" y="234"/>
                  </a:lnTo>
                  <a:lnTo>
                    <a:pt x="427" y="229"/>
                  </a:lnTo>
                  <a:lnTo>
                    <a:pt x="432" y="234"/>
                  </a:lnTo>
                  <a:lnTo>
                    <a:pt x="441" y="245"/>
                  </a:lnTo>
                  <a:lnTo>
                    <a:pt x="449" y="278"/>
                  </a:lnTo>
                  <a:lnTo>
                    <a:pt x="470" y="288"/>
                  </a:lnTo>
                  <a:lnTo>
                    <a:pt x="470" y="316"/>
                  </a:lnTo>
                  <a:lnTo>
                    <a:pt x="465" y="321"/>
                  </a:lnTo>
                  <a:lnTo>
                    <a:pt x="465" y="354"/>
                  </a:lnTo>
                  <a:lnTo>
                    <a:pt x="486" y="373"/>
                  </a:lnTo>
                  <a:lnTo>
                    <a:pt x="496" y="394"/>
                  </a:lnTo>
                  <a:lnTo>
                    <a:pt x="524" y="389"/>
                  </a:lnTo>
                  <a:lnTo>
                    <a:pt x="555" y="394"/>
                  </a:lnTo>
                  <a:lnTo>
                    <a:pt x="588" y="389"/>
                  </a:lnTo>
                  <a:lnTo>
                    <a:pt x="621" y="394"/>
                  </a:lnTo>
                  <a:lnTo>
                    <a:pt x="630" y="394"/>
                  </a:lnTo>
                  <a:lnTo>
                    <a:pt x="680" y="456"/>
                  </a:lnTo>
                  <a:lnTo>
                    <a:pt x="685" y="456"/>
                  </a:lnTo>
                  <a:lnTo>
                    <a:pt x="697" y="456"/>
                  </a:lnTo>
                  <a:lnTo>
                    <a:pt x="701" y="448"/>
                  </a:lnTo>
                  <a:lnTo>
                    <a:pt x="734" y="456"/>
                  </a:lnTo>
                  <a:lnTo>
                    <a:pt x="782" y="448"/>
                  </a:lnTo>
                  <a:lnTo>
                    <a:pt x="789" y="444"/>
                  </a:lnTo>
                  <a:lnTo>
                    <a:pt x="819" y="448"/>
                  </a:lnTo>
                  <a:lnTo>
                    <a:pt x="819" y="465"/>
                  </a:lnTo>
                  <a:lnTo>
                    <a:pt x="805" y="482"/>
                  </a:lnTo>
                  <a:lnTo>
                    <a:pt x="805" y="498"/>
                  </a:lnTo>
                  <a:lnTo>
                    <a:pt x="789" y="510"/>
                  </a:lnTo>
                  <a:lnTo>
                    <a:pt x="789" y="567"/>
                  </a:lnTo>
                  <a:lnTo>
                    <a:pt x="805" y="621"/>
                  </a:lnTo>
                  <a:lnTo>
                    <a:pt x="810" y="633"/>
                  </a:lnTo>
                  <a:lnTo>
                    <a:pt x="827" y="654"/>
                  </a:lnTo>
                  <a:lnTo>
                    <a:pt x="789" y="692"/>
                  </a:lnTo>
                  <a:lnTo>
                    <a:pt x="805" y="692"/>
                  </a:lnTo>
                  <a:lnTo>
                    <a:pt x="836" y="727"/>
                  </a:lnTo>
                  <a:lnTo>
                    <a:pt x="836" y="732"/>
                  </a:lnTo>
                  <a:lnTo>
                    <a:pt x="857" y="815"/>
                  </a:lnTo>
                  <a:lnTo>
                    <a:pt x="843" y="815"/>
                  </a:lnTo>
                  <a:lnTo>
                    <a:pt x="843" y="782"/>
                  </a:lnTo>
                  <a:lnTo>
                    <a:pt x="827" y="744"/>
                  </a:lnTo>
                  <a:lnTo>
                    <a:pt x="819" y="744"/>
                  </a:lnTo>
                  <a:lnTo>
                    <a:pt x="789" y="777"/>
                  </a:lnTo>
                  <a:lnTo>
                    <a:pt x="767" y="760"/>
                  </a:lnTo>
                  <a:lnTo>
                    <a:pt x="756" y="765"/>
                  </a:lnTo>
                  <a:lnTo>
                    <a:pt x="767" y="777"/>
                  </a:lnTo>
                  <a:lnTo>
                    <a:pt x="675" y="765"/>
                  </a:lnTo>
                  <a:lnTo>
                    <a:pt x="647" y="777"/>
                  </a:lnTo>
                  <a:lnTo>
                    <a:pt x="647" y="819"/>
                  </a:lnTo>
                  <a:lnTo>
                    <a:pt x="685" y="819"/>
                  </a:lnTo>
                  <a:lnTo>
                    <a:pt x="697" y="836"/>
                  </a:lnTo>
                  <a:lnTo>
                    <a:pt x="701" y="852"/>
                  </a:lnTo>
                  <a:lnTo>
                    <a:pt x="685" y="852"/>
                  </a:lnTo>
                  <a:lnTo>
                    <a:pt x="680" y="848"/>
                  </a:lnTo>
                  <a:lnTo>
                    <a:pt x="630" y="852"/>
                  </a:lnTo>
                  <a:lnTo>
                    <a:pt x="630" y="909"/>
                  </a:lnTo>
                  <a:lnTo>
                    <a:pt x="664" y="930"/>
                  </a:lnTo>
                  <a:lnTo>
                    <a:pt x="664" y="947"/>
                  </a:lnTo>
                  <a:lnTo>
                    <a:pt x="680" y="970"/>
                  </a:lnTo>
                  <a:lnTo>
                    <a:pt x="680" y="996"/>
                  </a:lnTo>
                  <a:lnTo>
                    <a:pt x="642" y="1202"/>
                  </a:lnTo>
                  <a:lnTo>
                    <a:pt x="621" y="1169"/>
                  </a:lnTo>
                  <a:lnTo>
                    <a:pt x="604" y="1181"/>
                  </a:lnTo>
                  <a:lnTo>
                    <a:pt x="588" y="1169"/>
                  </a:lnTo>
                  <a:lnTo>
                    <a:pt x="630" y="1098"/>
                  </a:lnTo>
                  <a:lnTo>
                    <a:pt x="621" y="1074"/>
                  </a:lnTo>
                  <a:lnTo>
                    <a:pt x="593" y="1074"/>
                  </a:lnTo>
                  <a:lnTo>
                    <a:pt x="578" y="1058"/>
                  </a:lnTo>
                  <a:lnTo>
                    <a:pt x="541" y="1070"/>
                  </a:lnTo>
                  <a:lnTo>
                    <a:pt x="517" y="1058"/>
                  </a:lnTo>
                  <a:lnTo>
                    <a:pt x="517" y="1053"/>
                  </a:lnTo>
                  <a:lnTo>
                    <a:pt x="503" y="1070"/>
                  </a:lnTo>
                  <a:lnTo>
                    <a:pt x="479" y="1074"/>
                  </a:lnTo>
                  <a:lnTo>
                    <a:pt x="458" y="1070"/>
                  </a:lnTo>
                  <a:lnTo>
                    <a:pt x="432" y="1074"/>
                  </a:lnTo>
                  <a:lnTo>
                    <a:pt x="432" y="1070"/>
                  </a:lnTo>
                  <a:lnTo>
                    <a:pt x="415" y="1070"/>
                  </a:lnTo>
                  <a:lnTo>
                    <a:pt x="427" y="1053"/>
                  </a:lnTo>
                  <a:lnTo>
                    <a:pt x="415" y="1025"/>
                  </a:lnTo>
                  <a:lnTo>
                    <a:pt x="415" y="1025"/>
                  </a:lnTo>
                  <a:lnTo>
                    <a:pt x="411" y="1037"/>
                  </a:lnTo>
                  <a:lnTo>
                    <a:pt x="394" y="1020"/>
                  </a:lnTo>
                  <a:lnTo>
                    <a:pt x="394" y="1013"/>
                  </a:lnTo>
                  <a:lnTo>
                    <a:pt x="389" y="996"/>
                  </a:lnTo>
                  <a:lnTo>
                    <a:pt x="340" y="970"/>
                  </a:lnTo>
                  <a:lnTo>
                    <a:pt x="335" y="942"/>
                  </a:lnTo>
                  <a:lnTo>
                    <a:pt x="307" y="926"/>
                  </a:lnTo>
                  <a:lnTo>
                    <a:pt x="302" y="909"/>
                  </a:lnTo>
                  <a:lnTo>
                    <a:pt x="297" y="914"/>
                  </a:lnTo>
                  <a:lnTo>
                    <a:pt x="269" y="904"/>
                  </a:lnTo>
                  <a:lnTo>
                    <a:pt x="269" y="909"/>
                  </a:lnTo>
                  <a:lnTo>
                    <a:pt x="231" y="893"/>
                  </a:lnTo>
                  <a:lnTo>
                    <a:pt x="215" y="876"/>
                  </a:lnTo>
                  <a:lnTo>
                    <a:pt x="201" y="869"/>
                  </a:lnTo>
                  <a:lnTo>
                    <a:pt x="189" y="869"/>
                  </a:lnTo>
                  <a:lnTo>
                    <a:pt x="189" y="876"/>
                  </a:lnTo>
                  <a:lnTo>
                    <a:pt x="177" y="888"/>
                  </a:lnTo>
                  <a:lnTo>
                    <a:pt x="125" y="869"/>
                  </a:lnTo>
                  <a:lnTo>
                    <a:pt x="118" y="852"/>
                  </a:lnTo>
                  <a:lnTo>
                    <a:pt x="101" y="848"/>
                  </a:lnTo>
                  <a:lnTo>
                    <a:pt x="101" y="836"/>
                  </a:lnTo>
                  <a:lnTo>
                    <a:pt x="87" y="836"/>
                  </a:lnTo>
                  <a:lnTo>
                    <a:pt x="71" y="831"/>
                  </a:lnTo>
                  <a:lnTo>
                    <a:pt x="26" y="798"/>
                  </a:lnTo>
                  <a:lnTo>
                    <a:pt x="16" y="786"/>
                  </a:lnTo>
                  <a:lnTo>
                    <a:pt x="0" y="782"/>
                  </a:lnTo>
                  <a:lnTo>
                    <a:pt x="16" y="765"/>
                  </a:lnTo>
                  <a:lnTo>
                    <a:pt x="38" y="777"/>
                  </a:lnTo>
                  <a:lnTo>
                    <a:pt x="38" y="760"/>
                  </a:lnTo>
                  <a:lnTo>
                    <a:pt x="33" y="744"/>
                  </a:lnTo>
                  <a:lnTo>
                    <a:pt x="38" y="727"/>
                  </a:lnTo>
                  <a:lnTo>
                    <a:pt x="49" y="720"/>
                  </a:lnTo>
                  <a:lnTo>
                    <a:pt x="54" y="720"/>
                  </a:lnTo>
                  <a:lnTo>
                    <a:pt x="64" y="720"/>
                  </a:lnTo>
                  <a:lnTo>
                    <a:pt x="80" y="720"/>
                  </a:lnTo>
                  <a:lnTo>
                    <a:pt x="80" y="704"/>
                  </a:lnTo>
                  <a:lnTo>
                    <a:pt x="87" y="708"/>
                  </a:lnTo>
                  <a:lnTo>
                    <a:pt x="92" y="708"/>
                  </a:lnTo>
                  <a:lnTo>
                    <a:pt x="92" y="704"/>
                  </a:lnTo>
                  <a:lnTo>
                    <a:pt x="118" y="666"/>
                  </a:lnTo>
                  <a:lnTo>
                    <a:pt x="118" y="654"/>
                  </a:lnTo>
                  <a:lnTo>
                    <a:pt x="139" y="633"/>
                  </a:lnTo>
                  <a:lnTo>
                    <a:pt x="146" y="616"/>
                  </a:lnTo>
                  <a:lnTo>
                    <a:pt x="134" y="621"/>
                  </a:lnTo>
                  <a:lnTo>
                    <a:pt x="125" y="616"/>
                  </a:lnTo>
                  <a:lnTo>
                    <a:pt x="134" y="609"/>
                  </a:lnTo>
                  <a:lnTo>
                    <a:pt x="134" y="600"/>
                  </a:lnTo>
                  <a:lnTo>
                    <a:pt x="125" y="616"/>
                  </a:lnTo>
                  <a:lnTo>
                    <a:pt x="118" y="609"/>
                  </a:lnTo>
                  <a:lnTo>
                    <a:pt x="118" y="600"/>
                  </a:lnTo>
                  <a:lnTo>
                    <a:pt x="134" y="593"/>
                  </a:lnTo>
                  <a:lnTo>
                    <a:pt x="118" y="583"/>
                  </a:lnTo>
                  <a:lnTo>
                    <a:pt x="125" y="567"/>
                  </a:lnTo>
                  <a:lnTo>
                    <a:pt x="125" y="522"/>
                  </a:lnTo>
                  <a:lnTo>
                    <a:pt x="118" y="505"/>
                  </a:lnTo>
                  <a:lnTo>
                    <a:pt x="108" y="498"/>
                  </a:lnTo>
                  <a:lnTo>
                    <a:pt x="134" y="482"/>
                  </a:lnTo>
                  <a:lnTo>
                    <a:pt x="118" y="448"/>
                  </a:lnTo>
                  <a:lnTo>
                    <a:pt x="118" y="444"/>
                  </a:lnTo>
                  <a:lnTo>
                    <a:pt x="118" y="448"/>
                  </a:lnTo>
                  <a:lnTo>
                    <a:pt x="125" y="427"/>
                  </a:lnTo>
                  <a:lnTo>
                    <a:pt x="87" y="378"/>
                  </a:lnTo>
                  <a:lnTo>
                    <a:pt x="87" y="378"/>
                  </a:lnTo>
                  <a:lnTo>
                    <a:pt x="87" y="378"/>
                  </a:lnTo>
                  <a:close/>
                  <a:moveTo>
                    <a:pt x="118" y="583"/>
                  </a:moveTo>
                  <a:lnTo>
                    <a:pt x="125" y="593"/>
                  </a:lnTo>
                  <a:lnTo>
                    <a:pt x="108" y="593"/>
                  </a:lnTo>
                  <a:lnTo>
                    <a:pt x="118" y="583"/>
                  </a:lnTo>
                  <a:lnTo>
                    <a:pt x="118" y="583"/>
                  </a:lnTo>
                  <a:lnTo>
                    <a:pt x="118" y="583"/>
                  </a:lnTo>
                  <a:close/>
                  <a:moveTo>
                    <a:pt x="108" y="600"/>
                  </a:moveTo>
                  <a:lnTo>
                    <a:pt x="118" y="600"/>
                  </a:lnTo>
                  <a:lnTo>
                    <a:pt x="118" y="609"/>
                  </a:lnTo>
                  <a:lnTo>
                    <a:pt x="108" y="600"/>
                  </a:lnTo>
                  <a:lnTo>
                    <a:pt x="108" y="600"/>
                  </a:lnTo>
                  <a:lnTo>
                    <a:pt x="108" y="600"/>
                  </a:lnTo>
                  <a:close/>
                  <a:moveTo>
                    <a:pt x="118" y="666"/>
                  </a:moveTo>
                  <a:lnTo>
                    <a:pt x="108" y="666"/>
                  </a:lnTo>
                  <a:lnTo>
                    <a:pt x="118" y="666"/>
                  </a:lnTo>
                  <a:lnTo>
                    <a:pt x="118" y="666"/>
                  </a:lnTo>
                  <a:lnTo>
                    <a:pt x="118" y="666"/>
                  </a:lnTo>
                  <a:lnTo>
                    <a:pt x="118" y="666"/>
                  </a:lnTo>
                  <a:close/>
                  <a:moveTo>
                    <a:pt x="108" y="671"/>
                  </a:moveTo>
                  <a:lnTo>
                    <a:pt x="108" y="666"/>
                  </a:lnTo>
                  <a:lnTo>
                    <a:pt x="108" y="675"/>
                  </a:lnTo>
                  <a:lnTo>
                    <a:pt x="101" y="675"/>
                  </a:lnTo>
                  <a:lnTo>
                    <a:pt x="108" y="671"/>
                  </a:lnTo>
                  <a:lnTo>
                    <a:pt x="108" y="671"/>
                  </a:lnTo>
                  <a:lnTo>
                    <a:pt x="108" y="671"/>
                  </a:lnTo>
                  <a:close/>
                  <a:moveTo>
                    <a:pt x="87" y="708"/>
                  </a:moveTo>
                  <a:lnTo>
                    <a:pt x="87" y="704"/>
                  </a:lnTo>
                  <a:lnTo>
                    <a:pt x="92" y="708"/>
                  </a:lnTo>
                  <a:lnTo>
                    <a:pt x="87" y="708"/>
                  </a:lnTo>
                  <a:lnTo>
                    <a:pt x="87" y="708"/>
                  </a:lnTo>
                  <a:lnTo>
                    <a:pt x="87" y="708"/>
                  </a:lnTo>
                  <a:close/>
                  <a:moveTo>
                    <a:pt x="80" y="720"/>
                  </a:moveTo>
                  <a:lnTo>
                    <a:pt x="71" y="708"/>
                  </a:lnTo>
                  <a:lnTo>
                    <a:pt x="80" y="704"/>
                  </a:lnTo>
                  <a:lnTo>
                    <a:pt x="80" y="720"/>
                  </a:lnTo>
                  <a:lnTo>
                    <a:pt x="80" y="720"/>
                  </a:lnTo>
                  <a:lnTo>
                    <a:pt x="80" y="720"/>
                  </a:lnTo>
                  <a:close/>
                  <a:moveTo>
                    <a:pt x="71" y="720"/>
                  </a:moveTo>
                  <a:lnTo>
                    <a:pt x="64" y="708"/>
                  </a:lnTo>
                  <a:lnTo>
                    <a:pt x="71" y="708"/>
                  </a:lnTo>
                  <a:lnTo>
                    <a:pt x="71" y="720"/>
                  </a:lnTo>
                  <a:lnTo>
                    <a:pt x="71" y="720"/>
                  </a:lnTo>
                  <a:lnTo>
                    <a:pt x="71" y="720"/>
                  </a:lnTo>
                  <a:close/>
                </a:path>
              </a:pathLst>
            </a:custGeom>
            <a:solidFill>
              <a:schemeClr val="bg2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77" name="Freeform 419">
              <a:extLst>
                <a:ext uri="{FF2B5EF4-FFF2-40B4-BE49-F238E27FC236}">
                  <a16:creationId xmlns:a16="http://schemas.microsoft.com/office/drawing/2014/main" id="{34505506-59E2-49F4-84E6-646408B77BCC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722461" y="2572031"/>
              <a:ext cx="8748" cy="13814"/>
            </a:xfrm>
            <a:custGeom>
              <a:avLst/>
              <a:gdLst>
                <a:gd name="T0" fmla="*/ 52 w 57"/>
                <a:gd name="T1" fmla="*/ 10 h 90"/>
                <a:gd name="T2" fmla="*/ 52 w 57"/>
                <a:gd name="T3" fmla="*/ 10 h 90"/>
                <a:gd name="T4" fmla="*/ 57 w 57"/>
                <a:gd name="T5" fmla="*/ 0 h 90"/>
                <a:gd name="T6" fmla="*/ 52 w 57"/>
                <a:gd name="T7" fmla="*/ 10 h 90"/>
                <a:gd name="T8" fmla="*/ 52 w 57"/>
                <a:gd name="T9" fmla="*/ 10 h 90"/>
                <a:gd name="T10" fmla="*/ 52 w 57"/>
                <a:gd name="T11" fmla="*/ 10 h 90"/>
                <a:gd name="T12" fmla="*/ 45 w 57"/>
                <a:gd name="T13" fmla="*/ 28 h 90"/>
                <a:gd name="T14" fmla="*/ 33 w 57"/>
                <a:gd name="T15" fmla="*/ 17 h 90"/>
                <a:gd name="T16" fmla="*/ 45 w 57"/>
                <a:gd name="T17" fmla="*/ 10 h 90"/>
                <a:gd name="T18" fmla="*/ 45 w 57"/>
                <a:gd name="T19" fmla="*/ 28 h 90"/>
                <a:gd name="T20" fmla="*/ 45 w 57"/>
                <a:gd name="T21" fmla="*/ 28 h 90"/>
                <a:gd name="T22" fmla="*/ 45 w 57"/>
                <a:gd name="T23" fmla="*/ 28 h 90"/>
                <a:gd name="T24" fmla="*/ 12 w 57"/>
                <a:gd name="T25" fmla="*/ 90 h 90"/>
                <a:gd name="T26" fmla="*/ 0 w 57"/>
                <a:gd name="T27" fmla="*/ 83 h 90"/>
                <a:gd name="T28" fmla="*/ 17 w 57"/>
                <a:gd name="T29" fmla="*/ 83 h 90"/>
                <a:gd name="T30" fmla="*/ 12 w 57"/>
                <a:gd name="T31" fmla="*/ 90 h 90"/>
                <a:gd name="T32" fmla="*/ 12 w 57"/>
                <a:gd name="T33" fmla="*/ 90 h 90"/>
                <a:gd name="T34" fmla="*/ 12 w 57"/>
                <a:gd name="T35" fmla="*/ 9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57" h="90">
                  <a:moveTo>
                    <a:pt x="52" y="10"/>
                  </a:moveTo>
                  <a:lnTo>
                    <a:pt x="52" y="10"/>
                  </a:lnTo>
                  <a:lnTo>
                    <a:pt x="57" y="0"/>
                  </a:lnTo>
                  <a:lnTo>
                    <a:pt x="52" y="10"/>
                  </a:lnTo>
                  <a:lnTo>
                    <a:pt x="52" y="10"/>
                  </a:lnTo>
                  <a:lnTo>
                    <a:pt x="52" y="10"/>
                  </a:lnTo>
                  <a:close/>
                  <a:moveTo>
                    <a:pt x="45" y="28"/>
                  </a:moveTo>
                  <a:lnTo>
                    <a:pt x="33" y="17"/>
                  </a:lnTo>
                  <a:lnTo>
                    <a:pt x="45" y="10"/>
                  </a:lnTo>
                  <a:lnTo>
                    <a:pt x="45" y="28"/>
                  </a:lnTo>
                  <a:lnTo>
                    <a:pt x="45" y="28"/>
                  </a:lnTo>
                  <a:lnTo>
                    <a:pt x="45" y="28"/>
                  </a:lnTo>
                  <a:close/>
                  <a:moveTo>
                    <a:pt x="12" y="90"/>
                  </a:moveTo>
                  <a:lnTo>
                    <a:pt x="0" y="83"/>
                  </a:lnTo>
                  <a:lnTo>
                    <a:pt x="17" y="83"/>
                  </a:lnTo>
                  <a:lnTo>
                    <a:pt x="12" y="90"/>
                  </a:lnTo>
                  <a:lnTo>
                    <a:pt x="12" y="90"/>
                  </a:lnTo>
                  <a:lnTo>
                    <a:pt x="12" y="90"/>
                  </a:lnTo>
                  <a:close/>
                </a:path>
              </a:pathLst>
            </a:custGeom>
            <a:solidFill>
              <a:schemeClr val="bg2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78" name="Freeform 420">
              <a:extLst>
                <a:ext uri="{FF2B5EF4-FFF2-40B4-BE49-F238E27FC236}">
                  <a16:creationId xmlns:a16="http://schemas.microsoft.com/office/drawing/2014/main" id="{3209B056-762E-49FE-9D4E-5882BF22D6C9}"/>
                </a:ext>
              </a:extLst>
            </p:cNvPr>
            <p:cNvSpPr>
              <a:spLocks/>
            </p:cNvSpPr>
            <p:nvPr/>
          </p:nvSpPr>
          <p:spPr bwMode="gray">
            <a:xfrm>
              <a:off x="5236934" y="2617311"/>
              <a:ext cx="35606" cy="35610"/>
            </a:xfrm>
            <a:custGeom>
              <a:avLst/>
              <a:gdLst>
                <a:gd name="T0" fmla="*/ 232 w 232"/>
                <a:gd name="T1" fmla="*/ 121 h 232"/>
                <a:gd name="T2" fmla="*/ 232 w 232"/>
                <a:gd name="T3" fmla="*/ 128 h 232"/>
                <a:gd name="T4" fmla="*/ 215 w 232"/>
                <a:gd name="T5" fmla="*/ 121 h 232"/>
                <a:gd name="T6" fmla="*/ 206 w 232"/>
                <a:gd name="T7" fmla="*/ 128 h 232"/>
                <a:gd name="T8" fmla="*/ 206 w 232"/>
                <a:gd name="T9" fmla="*/ 161 h 232"/>
                <a:gd name="T10" fmla="*/ 222 w 232"/>
                <a:gd name="T11" fmla="*/ 166 h 232"/>
                <a:gd name="T12" fmla="*/ 206 w 232"/>
                <a:gd name="T13" fmla="*/ 182 h 232"/>
                <a:gd name="T14" fmla="*/ 215 w 232"/>
                <a:gd name="T15" fmla="*/ 199 h 232"/>
                <a:gd name="T16" fmla="*/ 201 w 232"/>
                <a:gd name="T17" fmla="*/ 215 h 232"/>
                <a:gd name="T18" fmla="*/ 206 w 232"/>
                <a:gd name="T19" fmla="*/ 215 h 232"/>
                <a:gd name="T20" fmla="*/ 206 w 232"/>
                <a:gd name="T21" fmla="*/ 232 h 232"/>
                <a:gd name="T22" fmla="*/ 206 w 232"/>
                <a:gd name="T23" fmla="*/ 220 h 232"/>
                <a:gd name="T24" fmla="*/ 189 w 232"/>
                <a:gd name="T25" fmla="*/ 203 h 232"/>
                <a:gd name="T26" fmla="*/ 201 w 232"/>
                <a:gd name="T27" fmla="*/ 203 h 232"/>
                <a:gd name="T28" fmla="*/ 189 w 232"/>
                <a:gd name="T29" fmla="*/ 194 h 232"/>
                <a:gd name="T30" fmla="*/ 180 w 232"/>
                <a:gd name="T31" fmla="*/ 182 h 232"/>
                <a:gd name="T32" fmla="*/ 168 w 232"/>
                <a:gd name="T33" fmla="*/ 182 h 232"/>
                <a:gd name="T34" fmla="*/ 185 w 232"/>
                <a:gd name="T35" fmla="*/ 199 h 232"/>
                <a:gd name="T36" fmla="*/ 185 w 232"/>
                <a:gd name="T37" fmla="*/ 203 h 232"/>
                <a:gd name="T38" fmla="*/ 151 w 232"/>
                <a:gd name="T39" fmla="*/ 194 h 232"/>
                <a:gd name="T40" fmla="*/ 163 w 232"/>
                <a:gd name="T41" fmla="*/ 177 h 232"/>
                <a:gd name="T42" fmla="*/ 163 w 232"/>
                <a:gd name="T43" fmla="*/ 161 h 232"/>
                <a:gd name="T44" fmla="*/ 114 w 232"/>
                <a:gd name="T45" fmla="*/ 128 h 232"/>
                <a:gd name="T46" fmla="*/ 92 w 232"/>
                <a:gd name="T47" fmla="*/ 121 h 232"/>
                <a:gd name="T48" fmla="*/ 81 w 232"/>
                <a:gd name="T49" fmla="*/ 95 h 232"/>
                <a:gd name="T50" fmla="*/ 43 w 232"/>
                <a:gd name="T51" fmla="*/ 83 h 232"/>
                <a:gd name="T52" fmla="*/ 43 w 232"/>
                <a:gd name="T53" fmla="*/ 88 h 232"/>
                <a:gd name="T54" fmla="*/ 71 w 232"/>
                <a:gd name="T55" fmla="*/ 104 h 232"/>
                <a:gd name="T56" fmla="*/ 55 w 232"/>
                <a:gd name="T57" fmla="*/ 121 h 232"/>
                <a:gd name="T58" fmla="*/ 38 w 232"/>
                <a:gd name="T59" fmla="*/ 104 h 232"/>
                <a:gd name="T60" fmla="*/ 17 w 232"/>
                <a:gd name="T61" fmla="*/ 95 h 232"/>
                <a:gd name="T62" fmla="*/ 0 w 232"/>
                <a:gd name="T63" fmla="*/ 66 h 232"/>
                <a:gd name="T64" fmla="*/ 22 w 232"/>
                <a:gd name="T65" fmla="*/ 50 h 232"/>
                <a:gd name="T66" fmla="*/ 17 w 232"/>
                <a:gd name="T67" fmla="*/ 33 h 232"/>
                <a:gd name="T68" fmla="*/ 0 w 232"/>
                <a:gd name="T69" fmla="*/ 29 h 232"/>
                <a:gd name="T70" fmla="*/ 17 w 232"/>
                <a:gd name="T71" fmla="*/ 29 h 232"/>
                <a:gd name="T72" fmla="*/ 17 w 232"/>
                <a:gd name="T73" fmla="*/ 17 h 232"/>
                <a:gd name="T74" fmla="*/ 22 w 232"/>
                <a:gd name="T75" fmla="*/ 0 h 232"/>
                <a:gd name="T76" fmla="*/ 71 w 232"/>
                <a:gd name="T77" fmla="*/ 29 h 232"/>
                <a:gd name="T78" fmla="*/ 81 w 232"/>
                <a:gd name="T79" fmla="*/ 17 h 232"/>
                <a:gd name="T80" fmla="*/ 135 w 232"/>
                <a:gd name="T81" fmla="*/ 38 h 232"/>
                <a:gd name="T82" fmla="*/ 151 w 232"/>
                <a:gd name="T83" fmla="*/ 33 h 232"/>
                <a:gd name="T84" fmla="*/ 163 w 232"/>
                <a:gd name="T85" fmla="*/ 29 h 232"/>
                <a:gd name="T86" fmla="*/ 180 w 232"/>
                <a:gd name="T87" fmla="*/ 71 h 232"/>
                <a:gd name="T88" fmla="*/ 222 w 232"/>
                <a:gd name="T89" fmla="*/ 121 h 232"/>
                <a:gd name="T90" fmla="*/ 232 w 232"/>
                <a:gd name="T91" fmla="*/ 121 h 232"/>
                <a:gd name="T92" fmla="*/ 232 w 232"/>
                <a:gd name="T93" fmla="*/ 121 h 232"/>
                <a:gd name="T94" fmla="*/ 232 w 232"/>
                <a:gd name="T95" fmla="*/ 121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32" h="232">
                  <a:moveTo>
                    <a:pt x="232" y="121"/>
                  </a:moveTo>
                  <a:lnTo>
                    <a:pt x="232" y="128"/>
                  </a:lnTo>
                  <a:lnTo>
                    <a:pt x="215" y="121"/>
                  </a:lnTo>
                  <a:lnTo>
                    <a:pt x="206" y="128"/>
                  </a:lnTo>
                  <a:lnTo>
                    <a:pt x="206" y="161"/>
                  </a:lnTo>
                  <a:lnTo>
                    <a:pt x="222" y="166"/>
                  </a:lnTo>
                  <a:lnTo>
                    <a:pt x="206" y="182"/>
                  </a:lnTo>
                  <a:lnTo>
                    <a:pt x="215" y="199"/>
                  </a:lnTo>
                  <a:lnTo>
                    <a:pt x="201" y="215"/>
                  </a:lnTo>
                  <a:lnTo>
                    <a:pt x="206" y="215"/>
                  </a:lnTo>
                  <a:lnTo>
                    <a:pt x="206" y="232"/>
                  </a:lnTo>
                  <a:lnTo>
                    <a:pt x="206" y="220"/>
                  </a:lnTo>
                  <a:lnTo>
                    <a:pt x="189" y="203"/>
                  </a:lnTo>
                  <a:lnTo>
                    <a:pt x="201" y="203"/>
                  </a:lnTo>
                  <a:lnTo>
                    <a:pt x="189" y="194"/>
                  </a:lnTo>
                  <a:lnTo>
                    <a:pt x="180" y="182"/>
                  </a:lnTo>
                  <a:lnTo>
                    <a:pt x="168" y="182"/>
                  </a:lnTo>
                  <a:lnTo>
                    <a:pt x="185" y="199"/>
                  </a:lnTo>
                  <a:lnTo>
                    <a:pt x="185" y="203"/>
                  </a:lnTo>
                  <a:lnTo>
                    <a:pt x="151" y="194"/>
                  </a:lnTo>
                  <a:lnTo>
                    <a:pt x="163" y="177"/>
                  </a:lnTo>
                  <a:lnTo>
                    <a:pt x="163" y="161"/>
                  </a:lnTo>
                  <a:lnTo>
                    <a:pt x="114" y="128"/>
                  </a:lnTo>
                  <a:lnTo>
                    <a:pt x="92" y="121"/>
                  </a:lnTo>
                  <a:lnTo>
                    <a:pt x="81" y="95"/>
                  </a:lnTo>
                  <a:lnTo>
                    <a:pt x="43" y="83"/>
                  </a:lnTo>
                  <a:lnTo>
                    <a:pt x="43" y="88"/>
                  </a:lnTo>
                  <a:lnTo>
                    <a:pt x="71" y="104"/>
                  </a:lnTo>
                  <a:lnTo>
                    <a:pt x="55" y="121"/>
                  </a:lnTo>
                  <a:lnTo>
                    <a:pt x="38" y="104"/>
                  </a:lnTo>
                  <a:lnTo>
                    <a:pt x="17" y="95"/>
                  </a:lnTo>
                  <a:lnTo>
                    <a:pt x="0" y="66"/>
                  </a:lnTo>
                  <a:lnTo>
                    <a:pt x="22" y="50"/>
                  </a:lnTo>
                  <a:lnTo>
                    <a:pt x="17" y="33"/>
                  </a:lnTo>
                  <a:lnTo>
                    <a:pt x="0" y="29"/>
                  </a:lnTo>
                  <a:lnTo>
                    <a:pt x="17" y="29"/>
                  </a:lnTo>
                  <a:lnTo>
                    <a:pt x="17" y="17"/>
                  </a:lnTo>
                  <a:lnTo>
                    <a:pt x="22" y="0"/>
                  </a:lnTo>
                  <a:lnTo>
                    <a:pt x="71" y="29"/>
                  </a:lnTo>
                  <a:lnTo>
                    <a:pt x="81" y="17"/>
                  </a:lnTo>
                  <a:lnTo>
                    <a:pt x="135" y="38"/>
                  </a:lnTo>
                  <a:lnTo>
                    <a:pt x="151" y="33"/>
                  </a:lnTo>
                  <a:lnTo>
                    <a:pt x="163" y="29"/>
                  </a:lnTo>
                  <a:lnTo>
                    <a:pt x="180" y="71"/>
                  </a:lnTo>
                  <a:lnTo>
                    <a:pt x="222" y="121"/>
                  </a:lnTo>
                  <a:lnTo>
                    <a:pt x="232" y="121"/>
                  </a:lnTo>
                  <a:lnTo>
                    <a:pt x="232" y="121"/>
                  </a:lnTo>
                  <a:lnTo>
                    <a:pt x="232" y="121"/>
                  </a:lnTo>
                  <a:close/>
                </a:path>
              </a:pathLst>
            </a:custGeom>
            <a:solidFill>
              <a:schemeClr val="bg2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79" name="Freeform 421">
              <a:extLst>
                <a:ext uri="{FF2B5EF4-FFF2-40B4-BE49-F238E27FC236}">
                  <a16:creationId xmlns:a16="http://schemas.microsoft.com/office/drawing/2014/main" id="{9835E7B4-FABD-43F1-AF3B-58059018998F}"/>
                </a:ext>
              </a:extLst>
            </p:cNvPr>
            <p:cNvSpPr>
              <a:spLocks/>
            </p:cNvSpPr>
            <p:nvPr/>
          </p:nvSpPr>
          <p:spPr bwMode="gray">
            <a:xfrm>
              <a:off x="6316630" y="2619920"/>
              <a:ext cx="140583" cy="96853"/>
            </a:xfrm>
            <a:custGeom>
              <a:avLst/>
              <a:gdLst>
                <a:gd name="T0" fmla="*/ 416 w 916"/>
                <a:gd name="T1" fmla="*/ 453 h 631"/>
                <a:gd name="T2" fmla="*/ 345 w 916"/>
                <a:gd name="T3" fmla="*/ 427 h 631"/>
                <a:gd name="T4" fmla="*/ 302 w 916"/>
                <a:gd name="T5" fmla="*/ 482 h 631"/>
                <a:gd name="T6" fmla="*/ 302 w 916"/>
                <a:gd name="T7" fmla="*/ 510 h 631"/>
                <a:gd name="T8" fmla="*/ 286 w 916"/>
                <a:gd name="T9" fmla="*/ 531 h 631"/>
                <a:gd name="T10" fmla="*/ 260 w 916"/>
                <a:gd name="T11" fmla="*/ 536 h 631"/>
                <a:gd name="T12" fmla="*/ 236 w 916"/>
                <a:gd name="T13" fmla="*/ 536 h 631"/>
                <a:gd name="T14" fmla="*/ 205 w 916"/>
                <a:gd name="T15" fmla="*/ 536 h 631"/>
                <a:gd name="T16" fmla="*/ 144 w 916"/>
                <a:gd name="T17" fmla="*/ 572 h 631"/>
                <a:gd name="T18" fmla="*/ 123 w 916"/>
                <a:gd name="T19" fmla="*/ 631 h 631"/>
                <a:gd name="T20" fmla="*/ 113 w 916"/>
                <a:gd name="T21" fmla="*/ 588 h 631"/>
                <a:gd name="T22" fmla="*/ 42 w 916"/>
                <a:gd name="T23" fmla="*/ 510 h 631"/>
                <a:gd name="T24" fmla="*/ 42 w 916"/>
                <a:gd name="T25" fmla="*/ 482 h 631"/>
                <a:gd name="T26" fmla="*/ 16 w 916"/>
                <a:gd name="T27" fmla="*/ 420 h 631"/>
                <a:gd name="T28" fmla="*/ 16 w 916"/>
                <a:gd name="T29" fmla="*/ 399 h 631"/>
                <a:gd name="T30" fmla="*/ 5 w 916"/>
                <a:gd name="T31" fmla="*/ 371 h 631"/>
                <a:gd name="T32" fmla="*/ 31 w 916"/>
                <a:gd name="T33" fmla="*/ 342 h 631"/>
                <a:gd name="T34" fmla="*/ 75 w 916"/>
                <a:gd name="T35" fmla="*/ 255 h 631"/>
                <a:gd name="T36" fmla="*/ 139 w 916"/>
                <a:gd name="T37" fmla="*/ 243 h 631"/>
                <a:gd name="T38" fmla="*/ 151 w 916"/>
                <a:gd name="T39" fmla="*/ 238 h 631"/>
                <a:gd name="T40" fmla="*/ 220 w 916"/>
                <a:gd name="T41" fmla="*/ 222 h 631"/>
                <a:gd name="T42" fmla="*/ 328 w 916"/>
                <a:gd name="T43" fmla="*/ 177 h 631"/>
                <a:gd name="T44" fmla="*/ 323 w 916"/>
                <a:gd name="T45" fmla="*/ 149 h 631"/>
                <a:gd name="T46" fmla="*/ 394 w 916"/>
                <a:gd name="T47" fmla="*/ 132 h 631"/>
                <a:gd name="T48" fmla="*/ 425 w 916"/>
                <a:gd name="T49" fmla="*/ 127 h 631"/>
                <a:gd name="T50" fmla="*/ 479 w 916"/>
                <a:gd name="T51" fmla="*/ 78 h 631"/>
                <a:gd name="T52" fmla="*/ 501 w 916"/>
                <a:gd name="T53" fmla="*/ 66 h 631"/>
                <a:gd name="T54" fmla="*/ 508 w 916"/>
                <a:gd name="T55" fmla="*/ 33 h 631"/>
                <a:gd name="T56" fmla="*/ 593 w 916"/>
                <a:gd name="T57" fmla="*/ 12 h 631"/>
                <a:gd name="T58" fmla="*/ 647 w 916"/>
                <a:gd name="T59" fmla="*/ 90 h 631"/>
                <a:gd name="T60" fmla="*/ 642 w 916"/>
                <a:gd name="T61" fmla="*/ 132 h 631"/>
                <a:gd name="T62" fmla="*/ 642 w 916"/>
                <a:gd name="T63" fmla="*/ 149 h 631"/>
                <a:gd name="T64" fmla="*/ 685 w 916"/>
                <a:gd name="T65" fmla="*/ 168 h 631"/>
                <a:gd name="T66" fmla="*/ 685 w 916"/>
                <a:gd name="T67" fmla="*/ 184 h 631"/>
                <a:gd name="T68" fmla="*/ 723 w 916"/>
                <a:gd name="T69" fmla="*/ 205 h 631"/>
                <a:gd name="T70" fmla="*/ 760 w 916"/>
                <a:gd name="T71" fmla="*/ 234 h 631"/>
                <a:gd name="T72" fmla="*/ 756 w 916"/>
                <a:gd name="T73" fmla="*/ 255 h 631"/>
                <a:gd name="T74" fmla="*/ 810 w 916"/>
                <a:gd name="T75" fmla="*/ 293 h 631"/>
                <a:gd name="T76" fmla="*/ 841 w 916"/>
                <a:gd name="T77" fmla="*/ 316 h 631"/>
                <a:gd name="T78" fmla="*/ 848 w 916"/>
                <a:gd name="T79" fmla="*/ 349 h 631"/>
                <a:gd name="T80" fmla="*/ 869 w 916"/>
                <a:gd name="T81" fmla="*/ 366 h 631"/>
                <a:gd name="T82" fmla="*/ 902 w 916"/>
                <a:gd name="T83" fmla="*/ 399 h 631"/>
                <a:gd name="T84" fmla="*/ 916 w 916"/>
                <a:gd name="T85" fmla="*/ 437 h 631"/>
                <a:gd name="T86" fmla="*/ 869 w 916"/>
                <a:gd name="T87" fmla="*/ 437 h 631"/>
                <a:gd name="T88" fmla="*/ 848 w 916"/>
                <a:gd name="T89" fmla="*/ 437 h 631"/>
                <a:gd name="T90" fmla="*/ 810 w 916"/>
                <a:gd name="T91" fmla="*/ 420 h 631"/>
                <a:gd name="T92" fmla="*/ 772 w 916"/>
                <a:gd name="T93" fmla="*/ 411 h 631"/>
                <a:gd name="T94" fmla="*/ 723 w 916"/>
                <a:gd name="T95" fmla="*/ 444 h 631"/>
                <a:gd name="T96" fmla="*/ 701 w 916"/>
                <a:gd name="T97" fmla="*/ 437 h 631"/>
                <a:gd name="T98" fmla="*/ 631 w 916"/>
                <a:gd name="T99" fmla="*/ 465 h 631"/>
                <a:gd name="T100" fmla="*/ 576 w 916"/>
                <a:gd name="T101" fmla="*/ 477 h 631"/>
                <a:gd name="T102" fmla="*/ 572 w 916"/>
                <a:gd name="T103" fmla="*/ 494 h 631"/>
                <a:gd name="T104" fmla="*/ 517 w 916"/>
                <a:gd name="T105" fmla="*/ 494 h 631"/>
                <a:gd name="T106" fmla="*/ 463 w 916"/>
                <a:gd name="T107" fmla="*/ 477 h 631"/>
                <a:gd name="T108" fmla="*/ 425 w 916"/>
                <a:gd name="T109" fmla="*/ 465 h 631"/>
                <a:gd name="T110" fmla="*/ 425 w 916"/>
                <a:gd name="T111" fmla="*/ 465 h 6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916" h="631">
                  <a:moveTo>
                    <a:pt x="425" y="465"/>
                  </a:moveTo>
                  <a:lnTo>
                    <a:pt x="416" y="453"/>
                  </a:lnTo>
                  <a:lnTo>
                    <a:pt x="378" y="427"/>
                  </a:lnTo>
                  <a:lnTo>
                    <a:pt x="345" y="427"/>
                  </a:lnTo>
                  <a:lnTo>
                    <a:pt x="323" y="444"/>
                  </a:lnTo>
                  <a:lnTo>
                    <a:pt x="302" y="482"/>
                  </a:lnTo>
                  <a:lnTo>
                    <a:pt x="290" y="482"/>
                  </a:lnTo>
                  <a:lnTo>
                    <a:pt x="302" y="510"/>
                  </a:lnTo>
                  <a:lnTo>
                    <a:pt x="290" y="548"/>
                  </a:lnTo>
                  <a:lnTo>
                    <a:pt x="286" y="531"/>
                  </a:lnTo>
                  <a:lnTo>
                    <a:pt x="260" y="548"/>
                  </a:lnTo>
                  <a:lnTo>
                    <a:pt x="260" y="536"/>
                  </a:lnTo>
                  <a:lnTo>
                    <a:pt x="236" y="536"/>
                  </a:lnTo>
                  <a:lnTo>
                    <a:pt x="236" y="536"/>
                  </a:lnTo>
                  <a:lnTo>
                    <a:pt x="215" y="531"/>
                  </a:lnTo>
                  <a:lnTo>
                    <a:pt x="205" y="536"/>
                  </a:lnTo>
                  <a:lnTo>
                    <a:pt x="151" y="536"/>
                  </a:lnTo>
                  <a:lnTo>
                    <a:pt x="144" y="572"/>
                  </a:lnTo>
                  <a:lnTo>
                    <a:pt x="144" y="593"/>
                  </a:lnTo>
                  <a:lnTo>
                    <a:pt x="123" y="631"/>
                  </a:lnTo>
                  <a:lnTo>
                    <a:pt x="113" y="621"/>
                  </a:lnTo>
                  <a:lnTo>
                    <a:pt x="113" y="588"/>
                  </a:lnTo>
                  <a:lnTo>
                    <a:pt x="59" y="531"/>
                  </a:lnTo>
                  <a:lnTo>
                    <a:pt x="42" y="510"/>
                  </a:lnTo>
                  <a:lnTo>
                    <a:pt x="54" y="510"/>
                  </a:lnTo>
                  <a:lnTo>
                    <a:pt x="42" y="482"/>
                  </a:lnTo>
                  <a:lnTo>
                    <a:pt x="21" y="465"/>
                  </a:lnTo>
                  <a:lnTo>
                    <a:pt x="16" y="420"/>
                  </a:lnTo>
                  <a:lnTo>
                    <a:pt x="5" y="411"/>
                  </a:lnTo>
                  <a:lnTo>
                    <a:pt x="16" y="399"/>
                  </a:lnTo>
                  <a:lnTo>
                    <a:pt x="16" y="371"/>
                  </a:lnTo>
                  <a:lnTo>
                    <a:pt x="5" y="371"/>
                  </a:lnTo>
                  <a:lnTo>
                    <a:pt x="0" y="366"/>
                  </a:lnTo>
                  <a:lnTo>
                    <a:pt x="31" y="342"/>
                  </a:lnTo>
                  <a:lnTo>
                    <a:pt x="54" y="276"/>
                  </a:lnTo>
                  <a:lnTo>
                    <a:pt x="75" y="255"/>
                  </a:lnTo>
                  <a:lnTo>
                    <a:pt x="106" y="255"/>
                  </a:lnTo>
                  <a:lnTo>
                    <a:pt x="139" y="243"/>
                  </a:lnTo>
                  <a:lnTo>
                    <a:pt x="151" y="234"/>
                  </a:lnTo>
                  <a:lnTo>
                    <a:pt x="151" y="238"/>
                  </a:lnTo>
                  <a:lnTo>
                    <a:pt x="168" y="255"/>
                  </a:lnTo>
                  <a:lnTo>
                    <a:pt x="220" y="222"/>
                  </a:lnTo>
                  <a:lnTo>
                    <a:pt x="290" y="217"/>
                  </a:lnTo>
                  <a:lnTo>
                    <a:pt x="328" y="177"/>
                  </a:lnTo>
                  <a:lnTo>
                    <a:pt x="312" y="160"/>
                  </a:lnTo>
                  <a:lnTo>
                    <a:pt x="323" y="149"/>
                  </a:lnTo>
                  <a:lnTo>
                    <a:pt x="383" y="144"/>
                  </a:lnTo>
                  <a:lnTo>
                    <a:pt x="394" y="132"/>
                  </a:lnTo>
                  <a:lnTo>
                    <a:pt x="416" y="144"/>
                  </a:lnTo>
                  <a:lnTo>
                    <a:pt x="425" y="127"/>
                  </a:lnTo>
                  <a:lnTo>
                    <a:pt x="449" y="123"/>
                  </a:lnTo>
                  <a:lnTo>
                    <a:pt x="479" y="78"/>
                  </a:lnTo>
                  <a:lnTo>
                    <a:pt x="486" y="78"/>
                  </a:lnTo>
                  <a:lnTo>
                    <a:pt x="501" y="66"/>
                  </a:lnTo>
                  <a:lnTo>
                    <a:pt x="508" y="57"/>
                  </a:lnTo>
                  <a:lnTo>
                    <a:pt x="508" y="33"/>
                  </a:lnTo>
                  <a:lnTo>
                    <a:pt x="562" y="0"/>
                  </a:lnTo>
                  <a:lnTo>
                    <a:pt x="593" y="12"/>
                  </a:lnTo>
                  <a:lnTo>
                    <a:pt x="626" y="40"/>
                  </a:lnTo>
                  <a:lnTo>
                    <a:pt x="647" y="90"/>
                  </a:lnTo>
                  <a:lnTo>
                    <a:pt x="647" y="127"/>
                  </a:lnTo>
                  <a:lnTo>
                    <a:pt x="642" y="132"/>
                  </a:lnTo>
                  <a:lnTo>
                    <a:pt x="631" y="144"/>
                  </a:lnTo>
                  <a:lnTo>
                    <a:pt x="642" y="149"/>
                  </a:lnTo>
                  <a:lnTo>
                    <a:pt x="642" y="168"/>
                  </a:lnTo>
                  <a:lnTo>
                    <a:pt x="685" y="168"/>
                  </a:lnTo>
                  <a:lnTo>
                    <a:pt x="697" y="177"/>
                  </a:lnTo>
                  <a:lnTo>
                    <a:pt x="685" y="184"/>
                  </a:lnTo>
                  <a:lnTo>
                    <a:pt x="685" y="201"/>
                  </a:lnTo>
                  <a:lnTo>
                    <a:pt x="723" y="205"/>
                  </a:lnTo>
                  <a:lnTo>
                    <a:pt x="751" y="234"/>
                  </a:lnTo>
                  <a:lnTo>
                    <a:pt x="760" y="234"/>
                  </a:lnTo>
                  <a:lnTo>
                    <a:pt x="760" y="243"/>
                  </a:lnTo>
                  <a:lnTo>
                    <a:pt x="756" y="255"/>
                  </a:lnTo>
                  <a:lnTo>
                    <a:pt x="756" y="255"/>
                  </a:lnTo>
                  <a:lnTo>
                    <a:pt x="810" y="293"/>
                  </a:lnTo>
                  <a:lnTo>
                    <a:pt x="815" y="300"/>
                  </a:lnTo>
                  <a:lnTo>
                    <a:pt x="841" y="316"/>
                  </a:lnTo>
                  <a:lnTo>
                    <a:pt x="831" y="333"/>
                  </a:lnTo>
                  <a:lnTo>
                    <a:pt x="848" y="349"/>
                  </a:lnTo>
                  <a:lnTo>
                    <a:pt x="841" y="354"/>
                  </a:lnTo>
                  <a:lnTo>
                    <a:pt x="869" y="366"/>
                  </a:lnTo>
                  <a:lnTo>
                    <a:pt x="895" y="383"/>
                  </a:lnTo>
                  <a:lnTo>
                    <a:pt x="902" y="399"/>
                  </a:lnTo>
                  <a:lnTo>
                    <a:pt x="902" y="411"/>
                  </a:lnTo>
                  <a:lnTo>
                    <a:pt x="916" y="437"/>
                  </a:lnTo>
                  <a:lnTo>
                    <a:pt x="886" y="420"/>
                  </a:lnTo>
                  <a:lnTo>
                    <a:pt x="869" y="437"/>
                  </a:lnTo>
                  <a:lnTo>
                    <a:pt x="864" y="427"/>
                  </a:lnTo>
                  <a:lnTo>
                    <a:pt x="848" y="437"/>
                  </a:lnTo>
                  <a:lnTo>
                    <a:pt x="827" y="420"/>
                  </a:lnTo>
                  <a:lnTo>
                    <a:pt x="810" y="420"/>
                  </a:lnTo>
                  <a:lnTo>
                    <a:pt x="777" y="411"/>
                  </a:lnTo>
                  <a:lnTo>
                    <a:pt x="772" y="411"/>
                  </a:lnTo>
                  <a:lnTo>
                    <a:pt x="760" y="437"/>
                  </a:lnTo>
                  <a:lnTo>
                    <a:pt x="723" y="444"/>
                  </a:lnTo>
                  <a:lnTo>
                    <a:pt x="701" y="427"/>
                  </a:lnTo>
                  <a:lnTo>
                    <a:pt x="701" y="437"/>
                  </a:lnTo>
                  <a:lnTo>
                    <a:pt x="642" y="460"/>
                  </a:lnTo>
                  <a:lnTo>
                    <a:pt x="631" y="465"/>
                  </a:lnTo>
                  <a:lnTo>
                    <a:pt x="593" y="453"/>
                  </a:lnTo>
                  <a:lnTo>
                    <a:pt x="576" y="477"/>
                  </a:lnTo>
                  <a:lnTo>
                    <a:pt x="572" y="477"/>
                  </a:lnTo>
                  <a:lnTo>
                    <a:pt x="572" y="494"/>
                  </a:lnTo>
                  <a:lnTo>
                    <a:pt x="555" y="498"/>
                  </a:lnTo>
                  <a:lnTo>
                    <a:pt x="517" y="494"/>
                  </a:lnTo>
                  <a:lnTo>
                    <a:pt x="479" y="494"/>
                  </a:lnTo>
                  <a:lnTo>
                    <a:pt x="463" y="477"/>
                  </a:lnTo>
                  <a:lnTo>
                    <a:pt x="432" y="482"/>
                  </a:lnTo>
                  <a:lnTo>
                    <a:pt x="425" y="465"/>
                  </a:lnTo>
                  <a:lnTo>
                    <a:pt x="425" y="465"/>
                  </a:lnTo>
                  <a:lnTo>
                    <a:pt x="425" y="465"/>
                  </a:lnTo>
                  <a:close/>
                </a:path>
              </a:pathLst>
            </a:custGeom>
            <a:solidFill>
              <a:schemeClr val="bg2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80" name="Freeform 422">
              <a:extLst>
                <a:ext uri="{FF2B5EF4-FFF2-40B4-BE49-F238E27FC236}">
                  <a16:creationId xmlns:a16="http://schemas.microsoft.com/office/drawing/2014/main" id="{60BB7946-248D-47A8-A2B1-DFF48B26EEAE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247524" y="2481010"/>
              <a:ext cx="116027" cy="39601"/>
            </a:xfrm>
            <a:custGeom>
              <a:avLst/>
              <a:gdLst>
                <a:gd name="T0" fmla="*/ 685 w 756"/>
                <a:gd name="T1" fmla="*/ 241 h 258"/>
                <a:gd name="T2" fmla="*/ 605 w 756"/>
                <a:gd name="T3" fmla="*/ 241 h 258"/>
                <a:gd name="T4" fmla="*/ 545 w 756"/>
                <a:gd name="T5" fmla="*/ 217 h 258"/>
                <a:gd name="T6" fmla="*/ 475 w 756"/>
                <a:gd name="T7" fmla="*/ 196 h 258"/>
                <a:gd name="T8" fmla="*/ 432 w 756"/>
                <a:gd name="T9" fmla="*/ 123 h 258"/>
                <a:gd name="T10" fmla="*/ 314 w 756"/>
                <a:gd name="T11" fmla="*/ 95 h 258"/>
                <a:gd name="T12" fmla="*/ 281 w 756"/>
                <a:gd name="T13" fmla="*/ 90 h 258"/>
                <a:gd name="T14" fmla="*/ 243 w 756"/>
                <a:gd name="T15" fmla="*/ 83 h 258"/>
                <a:gd name="T16" fmla="*/ 227 w 756"/>
                <a:gd name="T17" fmla="*/ 57 h 258"/>
                <a:gd name="T18" fmla="*/ 151 w 756"/>
                <a:gd name="T19" fmla="*/ 40 h 258"/>
                <a:gd name="T20" fmla="*/ 59 w 756"/>
                <a:gd name="T21" fmla="*/ 95 h 258"/>
                <a:gd name="T22" fmla="*/ 28 w 756"/>
                <a:gd name="T23" fmla="*/ 95 h 258"/>
                <a:gd name="T24" fmla="*/ 28 w 756"/>
                <a:gd name="T25" fmla="*/ 90 h 258"/>
                <a:gd name="T26" fmla="*/ 54 w 756"/>
                <a:gd name="T27" fmla="*/ 50 h 258"/>
                <a:gd name="T28" fmla="*/ 189 w 756"/>
                <a:gd name="T29" fmla="*/ 0 h 258"/>
                <a:gd name="T30" fmla="*/ 260 w 756"/>
                <a:gd name="T31" fmla="*/ 0 h 258"/>
                <a:gd name="T32" fmla="*/ 297 w 756"/>
                <a:gd name="T33" fmla="*/ 12 h 258"/>
                <a:gd name="T34" fmla="*/ 368 w 756"/>
                <a:gd name="T35" fmla="*/ 33 h 258"/>
                <a:gd name="T36" fmla="*/ 444 w 756"/>
                <a:gd name="T37" fmla="*/ 66 h 258"/>
                <a:gd name="T38" fmla="*/ 524 w 756"/>
                <a:gd name="T39" fmla="*/ 111 h 258"/>
                <a:gd name="T40" fmla="*/ 508 w 756"/>
                <a:gd name="T41" fmla="*/ 106 h 258"/>
                <a:gd name="T42" fmla="*/ 545 w 756"/>
                <a:gd name="T43" fmla="*/ 123 h 258"/>
                <a:gd name="T44" fmla="*/ 545 w 756"/>
                <a:gd name="T45" fmla="*/ 123 h 258"/>
                <a:gd name="T46" fmla="*/ 567 w 756"/>
                <a:gd name="T47" fmla="*/ 140 h 258"/>
                <a:gd name="T48" fmla="*/ 595 w 756"/>
                <a:gd name="T49" fmla="*/ 151 h 258"/>
                <a:gd name="T50" fmla="*/ 621 w 756"/>
                <a:gd name="T51" fmla="*/ 163 h 258"/>
                <a:gd name="T52" fmla="*/ 647 w 756"/>
                <a:gd name="T53" fmla="*/ 180 h 258"/>
                <a:gd name="T54" fmla="*/ 701 w 756"/>
                <a:gd name="T55" fmla="*/ 196 h 258"/>
                <a:gd name="T56" fmla="*/ 744 w 756"/>
                <a:gd name="T57" fmla="*/ 241 h 258"/>
                <a:gd name="T58" fmla="*/ 685 w 756"/>
                <a:gd name="T59" fmla="*/ 253 h 258"/>
                <a:gd name="T60" fmla="*/ 437 w 756"/>
                <a:gd name="T61" fmla="*/ 50 h 258"/>
                <a:gd name="T62" fmla="*/ 453 w 756"/>
                <a:gd name="T63" fmla="*/ 57 h 258"/>
                <a:gd name="T64" fmla="*/ 486 w 756"/>
                <a:gd name="T65" fmla="*/ 73 h 258"/>
                <a:gd name="T66" fmla="*/ 486 w 756"/>
                <a:gd name="T67" fmla="*/ 73 h 258"/>
                <a:gd name="T68" fmla="*/ 491 w 756"/>
                <a:gd name="T69" fmla="*/ 83 h 258"/>
                <a:gd name="T70" fmla="*/ 491 w 756"/>
                <a:gd name="T71" fmla="*/ 73 h 258"/>
                <a:gd name="T72" fmla="*/ 491 w 756"/>
                <a:gd name="T73" fmla="*/ 83 h 258"/>
                <a:gd name="T74" fmla="*/ 508 w 756"/>
                <a:gd name="T75" fmla="*/ 90 h 258"/>
                <a:gd name="T76" fmla="*/ 508 w 756"/>
                <a:gd name="T77" fmla="*/ 95 h 258"/>
                <a:gd name="T78" fmla="*/ 120 w 756"/>
                <a:gd name="T79" fmla="*/ 123 h 258"/>
                <a:gd name="T80" fmla="*/ 130 w 756"/>
                <a:gd name="T81" fmla="*/ 106 h 258"/>
                <a:gd name="T82" fmla="*/ 168 w 756"/>
                <a:gd name="T83" fmla="*/ 123 h 258"/>
                <a:gd name="T84" fmla="*/ 134 w 756"/>
                <a:gd name="T85" fmla="*/ 140 h 2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756" h="258">
                  <a:moveTo>
                    <a:pt x="685" y="253"/>
                  </a:moveTo>
                  <a:lnTo>
                    <a:pt x="685" y="253"/>
                  </a:lnTo>
                  <a:lnTo>
                    <a:pt x="685" y="241"/>
                  </a:lnTo>
                  <a:lnTo>
                    <a:pt x="685" y="253"/>
                  </a:lnTo>
                  <a:lnTo>
                    <a:pt x="675" y="253"/>
                  </a:lnTo>
                  <a:lnTo>
                    <a:pt x="605" y="241"/>
                  </a:lnTo>
                  <a:lnTo>
                    <a:pt x="496" y="258"/>
                  </a:lnTo>
                  <a:lnTo>
                    <a:pt x="512" y="241"/>
                  </a:lnTo>
                  <a:lnTo>
                    <a:pt x="545" y="217"/>
                  </a:lnTo>
                  <a:lnTo>
                    <a:pt x="545" y="208"/>
                  </a:lnTo>
                  <a:lnTo>
                    <a:pt x="541" y="196"/>
                  </a:lnTo>
                  <a:lnTo>
                    <a:pt x="475" y="196"/>
                  </a:lnTo>
                  <a:lnTo>
                    <a:pt x="444" y="168"/>
                  </a:lnTo>
                  <a:lnTo>
                    <a:pt x="437" y="128"/>
                  </a:lnTo>
                  <a:lnTo>
                    <a:pt x="432" y="123"/>
                  </a:lnTo>
                  <a:lnTo>
                    <a:pt x="399" y="128"/>
                  </a:lnTo>
                  <a:lnTo>
                    <a:pt x="345" y="111"/>
                  </a:lnTo>
                  <a:lnTo>
                    <a:pt x="314" y="95"/>
                  </a:lnTo>
                  <a:lnTo>
                    <a:pt x="307" y="83"/>
                  </a:lnTo>
                  <a:lnTo>
                    <a:pt x="297" y="90"/>
                  </a:lnTo>
                  <a:lnTo>
                    <a:pt x="281" y="90"/>
                  </a:lnTo>
                  <a:lnTo>
                    <a:pt x="260" y="83"/>
                  </a:lnTo>
                  <a:lnTo>
                    <a:pt x="243" y="90"/>
                  </a:lnTo>
                  <a:lnTo>
                    <a:pt x="243" y="83"/>
                  </a:lnTo>
                  <a:lnTo>
                    <a:pt x="217" y="83"/>
                  </a:lnTo>
                  <a:lnTo>
                    <a:pt x="189" y="66"/>
                  </a:lnTo>
                  <a:lnTo>
                    <a:pt x="227" y="57"/>
                  </a:lnTo>
                  <a:lnTo>
                    <a:pt x="227" y="50"/>
                  </a:lnTo>
                  <a:lnTo>
                    <a:pt x="217" y="40"/>
                  </a:lnTo>
                  <a:lnTo>
                    <a:pt x="151" y="40"/>
                  </a:lnTo>
                  <a:lnTo>
                    <a:pt x="108" y="73"/>
                  </a:lnTo>
                  <a:lnTo>
                    <a:pt x="66" y="83"/>
                  </a:lnTo>
                  <a:lnTo>
                    <a:pt x="59" y="95"/>
                  </a:lnTo>
                  <a:lnTo>
                    <a:pt x="45" y="95"/>
                  </a:lnTo>
                  <a:lnTo>
                    <a:pt x="28" y="111"/>
                  </a:lnTo>
                  <a:lnTo>
                    <a:pt x="28" y="95"/>
                  </a:lnTo>
                  <a:lnTo>
                    <a:pt x="7" y="106"/>
                  </a:lnTo>
                  <a:lnTo>
                    <a:pt x="0" y="106"/>
                  </a:lnTo>
                  <a:lnTo>
                    <a:pt x="28" y="90"/>
                  </a:lnTo>
                  <a:lnTo>
                    <a:pt x="38" y="90"/>
                  </a:lnTo>
                  <a:lnTo>
                    <a:pt x="28" y="73"/>
                  </a:lnTo>
                  <a:lnTo>
                    <a:pt x="54" y="50"/>
                  </a:lnTo>
                  <a:lnTo>
                    <a:pt x="113" y="17"/>
                  </a:lnTo>
                  <a:lnTo>
                    <a:pt x="134" y="17"/>
                  </a:lnTo>
                  <a:lnTo>
                    <a:pt x="189" y="0"/>
                  </a:lnTo>
                  <a:lnTo>
                    <a:pt x="227" y="0"/>
                  </a:lnTo>
                  <a:lnTo>
                    <a:pt x="238" y="12"/>
                  </a:lnTo>
                  <a:lnTo>
                    <a:pt x="260" y="0"/>
                  </a:lnTo>
                  <a:lnTo>
                    <a:pt x="255" y="12"/>
                  </a:lnTo>
                  <a:lnTo>
                    <a:pt x="260" y="17"/>
                  </a:lnTo>
                  <a:lnTo>
                    <a:pt x="297" y="12"/>
                  </a:lnTo>
                  <a:lnTo>
                    <a:pt x="323" y="21"/>
                  </a:lnTo>
                  <a:lnTo>
                    <a:pt x="335" y="17"/>
                  </a:lnTo>
                  <a:lnTo>
                    <a:pt x="368" y="33"/>
                  </a:lnTo>
                  <a:lnTo>
                    <a:pt x="390" y="66"/>
                  </a:lnTo>
                  <a:lnTo>
                    <a:pt x="420" y="66"/>
                  </a:lnTo>
                  <a:lnTo>
                    <a:pt x="444" y="66"/>
                  </a:lnTo>
                  <a:lnTo>
                    <a:pt x="475" y="90"/>
                  </a:lnTo>
                  <a:lnTo>
                    <a:pt x="496" y="106"/>
                  </a:lnTo>
                  <a:lnTo>
                    <a:pt x="524" y="111"/>
                  </a:lnTo>
                  <a:lnTo>
                    <a:pt x="524" y="123"/>
                  </a:lnTo>
                  <a:lnTo>
                    <a:pt x="529" y="123"/>
                  </a:lnTo>
                  <a:lnTo>
                    <a:pt x="508" y="106"/>
                  </a:lnTo>
                  <a:lnTo>
                    <a:pt x="512" y="95"/>
                  </a:lnTo>
                  <a:lnTo>
                    <a:pt x="545" y="123"/>
                  </a:lnTo>
                  <a:lnTo>
                    <a:pt x="545" y="123"/>
                  </a:lnTo>
                  <a:lnTo>
                    <a:pt x="529" y="123"/>
                  </a:lnTo>
                  <a:lnTo>
                    <a:pt x="541" y="128"/>
                  </a:lnTo>
                  <a:lnTo>
                    <a:pt x="545" y="123"/>
                  </a:lnTo>
                  <a:lnTo>
                    <a:pt x="562" y="140"/>
                  </a:lnTo>
                  <a:lnTo>
                    <a:pt x="562" y="147"/>
                  </a:lnTo>
                  <a:lnTo>
                    <a:pt x="567" y="140"/>
                  </a:lnTo>
                  <a:lnTo>
                    <a:pt x="579" y="147"/>
                  </a:lnTo>
                  <a:lnTo>
                    <a:pt x="583" y="151"/>
                  </a:lnTo>
                  <a:lnTo>
                    <a:pt x="595" y="151"/>
                  </a:lnTo>
                  <a:lnTo>
                    <a:pt x="595" y="147"/>
                  </a:lnTo>
                  <a:lnTo>
                    <a:pt x="600" y="147"/>
                  </a:lnTo>
                  <a:lnTo>
                    <a:pt x="621" y="163"/>
                  </a:lnTo>
                  <a:lnTo>
                    <a:pt x="647" y="163"/>
                  </a:lnTo>
                  <a:lnTo>
                    <a:pt x="654" y="168"/>
                  </a:lnTo>
                  <a:lnTo>
                    <a:pt x="647" y="180"/>
                  </a:lnTo>
                  <a:lnTo>
                    <a:pt x="638" y="184"/>
                  </a:lnTo>
                  <a:lnTo>
                    <a:pt x="638" y="196"/>
                  </a:lnTo>
                  <a:lnTo>
                    <a:pt x="701" y="196"/>
                  </a:lnTo>
                  <a:lnTo>
                    <a:pt x="730" y="217"/>
                  </a:lnTo>
                  <a:lnTo>
                    <a:pt x="756" y="225"/>
                  </a:lnTo>
                  <a:lnTo>
                    <a:pt x="744" y="241"/>
                  </a:lnTo>
                  <a:lnTo>
                    <a:pt x="706" y="241"/>
                  </a:lnTo>
                  <a:lnTo>
                    <a:pt x="685" y="253"/>
                  </a:lnTo>
                  <a:lnTo>
                    <a:pt x="685" y="253"/>
                  </a:lnTo>
                  <a:lnTo>
                    <a:pt x="685" y="253"/>
                  </a:lnTo>
                  <a:close/>
                  <a:moveTo>
                    <a:pt x="453" y="57"/>
                  </a:moveTo>
                  <a:lnTo>
                    <a:pt x="437" y="50"/>
                  </a:lnTo>
                  <a:lnTo>
                    <a:pt x="453" y="50"/>
                  </a:lnTo>
                  <a:lnTo>
                    <a:pt x="458" y="57"/>
                  </a:lnTo>
                  <a:lnTo>
                    <a:pt x="453" y="57"/>
                  </a:lnTo>
                  <a:lnTo>
                    <a:pt x="453" y="57"/>
                  </a:lnTo>
                  <a:lnTo>
                    <a:pt x="453" y="57"/>
                  </a:lnTo>
                  <a:close/>
                  <a:moveTo>
                    <a:pt x="486" y="73"/>
                  </a:moveTo>
                  <a:lnTo>
                    <a:pt x="458" y="57"/>
                  </a:lnTo>
                  <a:lnTo>
                    <a:pt x="475" y="57"/>
                  </a:lnTo>
                  <a:lnTo>
                    <a:pt x="486" y="73"/>
                  </a:lnTo>
                  <a:lnTo>
                    <a:pt x="486" y="73"/>
                  </a:lnTo>
                  <a:lnTo>
                    <a:pt x="486" y="73"/>
                  </a:lnTo>
                  <a:close/>
                  <a:moveTo>
                    <a:pt x="491" y="83"/>
                  </a:moveTo>
                  <a:lnTo>
                    <a:pt x="475" y="83"/>
                  </a:lnTo>
                  <a:lnTo>
                    <a:pt x="486" y="73"/>
                  </a:lnTo>
                  <a:lnTo>
                    <a:pt x="491" y="73"/>
                  </a:lnTo>
                  <a:lnTo>
                    <a:pt x="491" y="83"/>
                  </a:lnTo>
                  <a:lnTo>
                    <a:pt x="491" y="83"/>
                  </a:lnTo>
                  <a:lnTo>
                    <a:pt x="491" y="83"/>
                  </a:lnTo>
                  <a:close/>
                  <a:moveTo>
                    <a:pt x="508" y="95"/>
                  </a:moveTo>
                  <a:lnTo>
                    <a:pt x="486" y="83"/>
                  </a:lnTo>
                  <a:lnTo>
                    <a:pt x="508" y="90"/>
                  </a:lnTo>
                  <a:lnTo>
                    <a:pt x="508" y="95"/>
                  </a:lnTo>
                  <a:lnTo>
                    <a:pt x="508" y="95"/>
                  </a:lnTo>
                  <a:lnTo>
                    <a:pt x="508" y="95"/>
                  </a:lnTo>
                  <a:close/>
                  <a:moveTo>
                    <a:pt x="134" y="140"/>
                  </a:moveTo>
                  <a:lnTo>
                    <a:pt x="130" y="140"/>
                  </a:lnTo>
                  <a:lnTo>
                    <a:pt x="120" y="123"/>
                  </a:lnTo>
                  <a:lnTo>
                    <a:pt x="130" y="128"/>
                  </a:lnTo>
                  <a:lnTo>
                    <a:pt x="134" y="123"/>
                  </a:lnTo>
                  <a:lnTo>
                    <a:pt x="130" y="106"/>
                  </a:lnTo>
                  <a:lnTo>
                    <a:pt x="134" y="95"/>
                  </a:lnTo>
                  <a:lnTo>
                    <a:pt x="151" y="95"/>
                  </a:lnTo>
                  <a:lnTo>
                    <a:pt x="168" y="123"/>
                  </a:lnTo>
                  <a:lnTo>
                    <a:pt x="134" y="140"/>
                  </a:lnTo>
                  <a:lnTo>
                    <a:pt x="134" y="140"/>
                  </a:lnTo>
                  <a:lnTo>
                    <a:pt x="134" y="140"/>
                  </a:lnTo>
                  <a:close/>
                </a:path>
              </a:pathLst>
            </a:custGeom>
            <a:solidFill>
              <a:schemeClr val="bg2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81" name="Freeform 423">
              <a:extLst>
                <a:ext uri="{FF2B5EF4-FFF2-40B4-BE49-F238E27FC236}">
                  <a16:creationId xmlns:a16="http://schemas.microsoft.com/office/drawing/2014/main" id="{2BFB335E-ECB2-4FF9-ABC0-987FAF2E604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889203" y="2550695"/>
              <a:ext cx="28240" cy="26401"/>
            </a:xfrm>
            <a:custGeom>
              <a:avLst/>
              <a:gdLst>
                <a:gd name="T0" fmla="*/ 0 w 184"/>
                <a:gd name="T1" fmla="*/ 19 h 172"/>
                <a:gd name="T2" fmla="*/ 0 w 184"/>
                <a:gd name="T3" fmla="*/ 7 h 172"/>
                <a:gd name="T4" fmla="*/ 16 w 184"/>
                <a:gd name="T5" fmla="*/ 0 h 172"/>
                <a:gd name="T6" fmla="*/ 21 w 184"/>
                <a:gd name="T7" fmla="*/ 7 h 172"/>
                <a:gd name="T8" fmla="*/ 0 w 184"/>
                <a:gd name="T9" fmla="*/ 19 h 172"/>
                <a:gd name="T10" fmla="*/ 0 w 184"/>
                <a:gd name="T11" fmla="*/ 19 h 172"/>
                <a:gd name="T12" fmla="*/ 0 w 184"/>
                <a:gd name="T13" fmla="*/ 19 h 172"/>
                <a:gd name="T14" fmla="*/ 21 w 184"/>
                <a:gd name="T15" fmla="*/ 28 h 172"/>
                <a:gd name="T16" fmla="*/ 16 w 184"/>
                <a:gd name="T17" fmla="*/ 23 h 172"/>
                <a:gd name="T18" fmla="*/ 21 w 184"/>
                <a:gd name="T19" fmla="*/ 19 h 172"/>
                <a:gd name="T20" fmla="*/ 33 w 184"/>
                <a:gd name="T21" fmla="*/ 23 h 172"/>
                <a:gd name="T22" fmla="*/ 21 w 184"/>
                <a:gd name="T23" fmla="*/ 28 h 172"/>
                <a:gd name="T24" fmla="*/ 21 w 184"/>
                <a:gd name="T25" fmla="*/ 28 h 172"/>
                <a:gd name="T26" fmla="*/ 21 w 184"/>
                <a:gd name="T27" fmla="*/ 28 h 172"/>
                <a:gd name="T28" fmla="*/ 71 w 184"/>
                <a:gd name="T29" fmla="*/ 45 h 172"/>
                <a:gd name="T30" fmla="*/ 59 w 184"/>
                <a:gd name="T31" fmla="*/ 40 h 172"/>
                <a:gd name="T32" fmla="*/ 92 w 184"/>
                <a:gd name="T33" fmla="*/ 45 h 172"/>
                <a:gd name="T34" fmla="*/ 71 w 184"/>
                <a:gd name="T35" fmla="*/ 40 h 172"/>
                <a:gd name="T36" fmla="*/ 71 w 184"/>
                <a:gd name="T37" fmla="*/ 45 h 172"/>
                <a:gd name="T38" fmla="*/ 71 w 184"/>
                <a:gd name="T39" fmla="*/ 45 h 172"/>
                <a:gd name="T40" fmla="*/ 71 w 184"/>
                <a:gd name="T41" fmla="*/ 45 h 172"/>
                <a:gd name="T42" fmla="*/ 179 w 184"/>
                <a:gd name="T43" fmla="*/ 85 h 172"/>
                <a:gd name="T44" fmla="*/ 163 w 184"/>
                <a:gd name="T45" fmla="*/ 85 h 172"/>
                <a:gd name="T46" fmla="*/ 179 w 184"/>
                <a:gd name="T47" fmla="*/ 73 h 172"/>
                <a:gd name="T48" fmla="*/ 184 w 184"/>
                <a:gd name="T49" fmla="*/ 78 h 172"/>
                <a:gd name="T50" fmla="*/ 179 w 184"/>
                <a:gd name="T51" fmla="*/ 85 h 172"/>
                <a:gd name="T52" fmla="*/ 179 w 184"/>
                <a:gd name="T53" fmla="*/ 85 h 172"/>
                <a:gd name="T54" fmla="*/ 179 w 184"/>
                <a:gd name="T55" fmla="*/ 85 h 172"/>
                <a:gd name="T56" fmla="*/ 125 w 184"/>
                <a:gd name="T57" fmla="*/ 167 h 172"/>
                <a:gd name="T58" fmla="*/ 109 w 184"/>
                <a:gd name="T59" fmla="*/ 156 h 172"/>
                <a:gd name="T60" fmla="*/ 118 w 184"/>
                <a:gd name="T61" fmla="*/ 139 h 172"/>
                <a:gd name="T62" fmla="*/ 130 w 184"/>
                <a:gd name="T63" fmla="*/ 156 h 172"/>
                <a:gd name="T64" fmla="*/ 125 w 184"/>
                <a:gd name="T65" fmla="*/ 167 h 172"/>
                <a:gd name="T66" fmla="*/ 125 w 184"/>
                <a:gd name="T67" fmla="*/ 167 h 172"/>
                <a:gd name="T68" fmla="*/ 125 w 184"/>
                <a:gd name="T69" fmla="*/ 167 h 172"/>
                <a:gd name="T70" fmla="*/ 59 w 184"/>
                <a:gd name="T71" fmla="*/ 172 h 172"/>
                <a:gd name="T72" fmla="*/ 54 w 184"/>
                <a:gd name="T73" fmla="*/ 167 h 172"/>
                <a:gd name="T74" fmla="*/ 59 w 184"/>
                <a:gd name="T75" fmla="*/ 156 h 172"/>
                <a:gd name="T76" fmla="*/ 71 w 184"/>
                <a:gd name="T77" fmla="*/ 167 h 172"/>
                <a:gd name="T78" fmla="*/ 59 w 184"/>
                <a:gd name="T79" fmla="*/ 172 h 172"/>
                <a:gd name="T80" fmla="*/ 59 w 184"/>
                <a:gd name="T81" fmla="*/ 172 h 172"/>
                <a:gd name="T82" fmla="*/ 59 w 184"/>
                <a:gd name="T8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84" h="172">
                  <a:moveTo>
                    <a:pt x="0" y="19"/>
                  </a:moveTo>
                  <a:lnTo>
                    <a:pt x="0" y="7"/>
                  </a:lnTo>
                  <a:lnTo>
                    <a:pt x="16" y="0"/>
                  </a:lnTo>
                  <a:lnTo>
                    <a:pt x="21" y="7"/>
                  </a:lnTo>
                  <a:lnTo>
                    <a:pt x="0" y="19"/>
                  </a:lnTo>
                  <a:lnTo>
                    <a:pt x="0" y="19"/>
                  </a:lnTo>
                  <a:lnTo>
                    <a:pt x="0" y="19"/>
                  </a:lnTo>
                  <a:close/>
                  <a:moveTo>
                    <a:pt x="21" y="28"/>
                  </a:moveTo>
                  <a:lnTo>
                    <a:pt x="16" y="23"/>
                  </a:lnTo>
                  <a:lnTo>
                    <a:pt x="21" y="19"/>
                  </a:lnTo>
                  <a:lnTo>
                    <a:pt x="33" y="23"/>
                  </a:lnTo>
                  <a:lnTo>
                    <a:pt x="21" y="28"/>
                  </a:lnTo>
                  <a:lnTo>
                    <a:pt x="21" y="28"/>
                  </a:lnTo>
                  <a:lnTo>
                    <a:pt x="21" y="28"/>
                  </a:lnTo>
                  <a:close/>
                  <a:moveTo>
                    <a:pt x="71" y="45"/>
                  </a:moveTo>
                  <a:lnTo>
                    <a:pt x="59" y="40"/>
                  </a:lnTo>
                  <a:lnTo>
                    <a:pt x="92" y="45"/>
                  </a:lnTo>
                  <a:lnTo>
                    <a:pt x="71" y="40"/>
                  </a:lnTo>
                  <a:lnTo>
                    <a:pt x="71" y="45"/>
                  </a:lnTo>
                  <a:lnTo>
                    <a:pt x="71" y="45"/>
                  </a:lnTo>
                  <a:lnTo>
                    <a:pt x="71" y="45"/>
                  </a:lnTo>
                  <a:close/>
                  <a:moveTo>
                    <a:pt x="179" y="85"/>
                  </a:moveTo>
                  <a:lnTo>
                    <a:pt x="163" y="85"/>
                  </a:lnTo>
                  <a:lnTo>
                    <a:pt x="179" y="73"/>
                  </a:lnTo>
                  <a:lnTo>
                    <a:pt x="184" y="78"/>
                  </a:lnTo>
                  <a:lnTo>
                    <a:pt x="179" y="85"/>
                  </a:lnTo>
                  <a:lnTo>
                    <a:pt x="179" y="85"/>
                  </a:lnTo>
                  <a:lnTo>
                    <a:pt x="179" y="85"/>
                  </a:lnTo>
                  <a:close/>
                  <a:moveTo>
                    <a:pt x="125" y="167"/>
                  </a:moveTo>
                  <a:lnTo>
                    <a:pt x="109" y="156"/>
                  </a:lnTo>
                  <a:lnTo>
                    <a:pt x="118" y="139"/>
                  </a:lnTo>
                  <a:lnTo>
                    <a:pt x="130" y="156"/>
                  </a:lnTo>
                  <a:lnTo>
                    <a:pt x="125" y="167"/>
                  </a:lnTo>
                  <a:lnTo>
                    <a:pt x="125" y="167"/>
                  </a:lnTo>
                  <a:lnTo>
                    <a:pt x="125" y="167"/>
                  </a:lnTo>
                  <a:close/>
                  <a:moveTo>
                    <a:pt x="59" y="172"/>
                  </a:moveTo>
                  <a:lnTo>
                    <a:pt x="54" y="167"/>
                  </a:lnTo>
                  <a:lnTo>
                    <a:pt x="59" y="156"/>
                  </a:lnTo>
                  <a:lnTo>
                    <a:pt x="71" y="167"/>
                  </a:lnTo>
                  <a:lnTo>
                    <a:pt x="59" y="172"/>
                  </a:lnTo>
                  <a:lnTo>
                    <a:pt x="59" y="172"/>
                  </a:lnTo>
                  <a:lnTo>
                    <a:pt x="59" y="172"/>
                  </a:lnTo>
                  <a:close/>
                </a:path>
              </a:pathLst>
            </a:custGeom>
            <a:solidFill>
              <a:schemeClr val="bg2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82" name="Freeform 424">
              <a:extLst>
                <a:ext uri="{FF2B5EF4-FFF2-40B4-BE49-F238E27FC236}">
                  <a16:creationId xmlns:a16="http://schemas.microsoft.com/office/drawing/2014/main" id="{1F1460A1-12A0-4ACD-A917-2E30F379CB6D}"/>
                </a:ext>
              </a:extLst>
            </p:cNvPr>
            <p:cNvSpPr>
              <a:spLocks/>
            </p:cNvSpPr>
            <p:nvPr/>
          </p:nvSpPr>
          <p:spPr bwMode="gray">
            <a:xfrm>
              <a:off x="6508014" y="2330280"/>
              <a:ext cx="24710" cy="13661"/>
            </a:xfrm>
            <a:custGeom>
              <a:avLst/>
              <a:gdLst>
                <a:gd name="T0" fmla="*/ 71 w 161"/>
                <a:gd name="T1" fmla="*/ 77 h 89"/>
                <a:gd name="T2" fmla="*/ 64 w 161"/>
                <a:gd name="T3" fmla="*/ 77 h 89"/>
                <a:gd name="T4" fmla="*/ 54 w 161"/>
                <a:gd name="T5" fmla="*/ 89 h 89"/>
                <a:gd name="T6" fmla="*/ 50 w 161"/>
                <a:gd name="T7" fmla="*/ 77 h 89"/>
                <a:gd name="T8" fmla="*/ 17 w 161"/>
                <a:gd name="T9" fmla="*/ 77 h 89"/>
                <a:gd name="T10" fmla="*/ 0 w 161"/>
                <a:gd name="T11" fmla="*/ 49 h 89"/>
                <a:gd name="T12" fmla="*/ 17 w 161"/>
                <a:gd name="T13" fmla="*/ 56 h 89"/>
                <a:gd name="T14" fmla="*/ 33 w 161"/>
                <a:gd name="T15" fmla="*/ 40 h 89"/>
                <a:gd name="T16" fmla="*/ 50 w 161"/>
                <a:gd name="T17" fmla="*/ 40 h 89"/>
                <a:gd name="T18" fmla="*/ 50 w 161"/>
                <a:gd name="T19" fmla="*/ 21 h 89"/>
                <a:gd name="T20" fmla="*/ 102 w 161"/>
                <a:gd name="T21" fmla="*/ 21 h 89"/>
                <a:gd name="T22" fmla="*/ 161 w 161"/>
                <a:gd name="T23" fmla="*/ 0 h 89"/>
                <a:gd name="T24" fmla="*/ 118 w 161"/>
                <a:gd name="T25" fmla="*/ 33 h 89"/>
                <a:gd name="T26" fmla="*/ 118 w 161"/>
                <a:gd name="T27" fmla="*/ 40 h 89"/>
                <a:gd name="T28" fmla="*/ 132 w 161"/>
                <a:gd name="T29" fmla="*/ 56 h 89"/>
                <a:gd name="T30" fmla="*/ 102 w 161"/>
                <a:gd name="T31" fmla="*/ 56 h 89"/>
                <a:gd name="T32" fmla="*/ 102 w 161"/>
                <a:gd name="T33" fmla="*/ 73 h 89"/>
                <a:gd name="T34" fmla="*/ 71 w 161"/>
                <a:gd name="T35" fmla="*/ 77 h 89"/>
                <a:gd name="T36" fmla="*/ 71 w 161"/>
                <a:gd name="T37" fmla="*/ 77 h 89"/>
                <a:gd name="T38" fmla="*/ 71 w 161"/>
                <a:gd name="T39" fmla="*/ 77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61" h="89">
                  <a:moveTo>
                    <a:pt x="71" y="77"/>
                  </a:moveTo>
                  <a:lnTo>
                    <a:pt x="64" y="77"/>
                  </a:lnTo>
                  <a:lnTo>
                    <a:pt x="54" y="89"/>
                  </a:lnTo>
                  <a:lnTo>
                    <a:pt x="50" y="77"/>
                  </a:lnTo>
                  <a:lnTo>
                    <a:pt x="17" y="77"/>
                  </a:lnTo>
                  <a:lnTo>
                    <a:pt x="0" y="49"/>
                  </a:lnTo>
                  <a:lnTo>
                    <a:pt x="17" y="56"/>
                  </a:lnTo>
                  <a:lnTo>
                    <a:pt x="33" y="40"/>
                  </a:lnTo>
                  <a:lnTo>
                    <a:pt x="50" y="40"/>
                  </a:lnTo>
                  <a:lnTo>
                    <a:pt x="50" y="21"/>
                  </a:lnTo>
                  <a:lnTo>
                    <a:pt x="102" y="21"/>
                  </a:lnTo>
                  <a:lnTo>
                    <a:pt x="161" y="0"/>
                  </a:lnTo>
                  <a:lnTo>
                    <a:pt x="118" y="33"/>
                  </a:lnTo>
                  <a:lnTo>
                    <a:pt x="118" y="40"/>
                  </a:lnTo>
                  <a:lnTo>
                    <a:pt x="132" y="56"/>
                  </a:lnTo>
                  <a:lnTo>
                    <a:pt x="102" y="56"/>
                  </a:lnTo>
                  <a:lnTo>
                    <a:pt x="102" y="73"/>
                  </a:lnTo>
                  <a:lnTo>
                    <a:pt x="71" y="77"/>
                  </a:lnTo>
                  <a:lnTo>
                    <a:pt x="71" y="77"/>
                  </a:lnTo>
                  <a:lnTo>
                    <a:pt x="71" y="77"/>
                  </a:lnTo>
                  <a:close/>
                </a:path>
              </a:pathLst>
            </a:custGeom>
            <a:solidFill>
              <a:schemeClr val="bg2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83" name="Freeform 425">
              <a:extLst>
                <a:ext uri="{FF2B5EF4-FFF2-40B4-BE49-F238E27FC236}">
                  <a16:creationId xmlns:a16="http://schemas.microsoft.com/office/drawing/2014/main" id="{E4350D11-4F91-4A40-9FC7-F125C3993A4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248794" y="2020534"/>
              <a:ext cx="76123" cy="49271"/>
            </a:xfrm>
            <a:custGeom>
              <a:avLst/>
              <a:gdLst>
                <a:gd name="T0" fmla="*/ 10 w 496"/>
                <a:gd name="T1" fmla="*/ 111 h 321"/>
                <a:gd name="T2" fmla="*/ 123 w 496"/>
                <a:gd name="T3" fmla="*/ 12 h 321"/>
                <a:gd name="T4" fmla="*/ 156 w 496"/>
                <a:gd name="T5" fmla="*/ 78 h 321"/>
                <a:gd name="T6" fmla="*/ 43 w 496"/>
                <a:gd name="T7" fmla="*/ 83 h 321"/>
                <a:gd name="T8" fmla="*/ 206 w 496"/>
                <a:gd name="T9" fmla="*/ 57 h 321"/>
                <a:gd name="T10" fmla="*/ 206 w 496"/>
                <a:gd name="T11" fmla="*/ 57 h 321"/>
                <a:gd name="T12" fmla="*/ 43 w 496"/>
                <a:gd name="T13" fmla="*/ 267 h 321"/>
                <a:gd name="T14" fmla="*/ 43 w 496"/>
                <a:gd name="T15" fmla="*/ 267 h 321"/>
                <a:gd name="T16" fmla="*/ 0 w 496"/>
                <a:gd name="T17" fmla="*/ 177 h 321"/>
                <a:gd name="T18" fmla="*/ 0 w 496"/>
                <a:gd name="T19" fmla="*/ 173 h 321"/>
                <a:gd name="T20" fmla="*/ 47 w 496"/>
                <a:gd name="T21" fmla="*/ 123 h 321"/>
                <a:gd name="T22" fmla="*/ 64 w 496"/>
                <a:gd name="T23" fmla="*/ 123 h 321"/>
                <a:gd name="T24" fmla="*/ 85 w 496"/>
                <a:gd name="T25" fmla="*/ 111 h 321"/>
                <a:gd name="T26" fmla="*/ 135 w 496"/>
                <a:gd name="T27" fmla="*/ 66 h 321"/>
                <a:gd name="T28" fmla="*/ 156 w 496"/>
                <a:gd name="T29" fmla="*/ 111 h 321"/>
                <a:gd name="T30" fmla="*/ 206 w 496"/>
                <a:gd name="T31" fmla="*/ 133 h 321"/>
                <a:gd name="T32" fmla="*/ 156 w 496"/>
                <a:gd name="T33" fmla="*/ 156 h 321"/>
                <a:gd name="T34" fmla="*/ 151 w 496"/>
                <a:gd name="T35" fmla="*/ 177 h 321"/>
                <a:gd name="T36" fmla="*/ 135 w 496"/>
                <a:gd name="T37" fmla="*/ 210 h 321"/>
                <a:gd name="T38" fmla="*/ 106 w 496"/>
                <a:gd name="T39" fmla="*/ 260 h 321"/>
                <a:gd name="T40" fmla="*/ 102 w 496"/>
                <a:gd name="T41" fmla="*/ 288 h 321"/>
                <a:gd name="T42" fmla="*/ 43 w 496"/>
                <a:gd name="T43" fmla="*/ 111 h 321"/>
                <a:gd name="T44" fmla="*/ 47 w 496"/>
                <a:gd name="T45" fmla="*/ 99 h 321"/>
                <a:gd name="T46" fmla="*/ 243 w 496"/>
                <a:gd name="T47" fmla="*/ 111 h 321"/>
                <a:gd name="T48" fmla="*/ 243 w 496"/>
                <a:gd name="T49" fmla="*/ 111 h 321"/>
                <a:gd name="T50" fmla="*/ 210 w 496"/>
                <a:gd name="T51" fmla="*/ 210 h 321"/>
                <a:gd name="T52" fmla="*/ 215 w 496"/>
                <a:gd name="T53" fmla="*/ 177 h 321"/>
                <a:gd name="T54" fmla="*/ 265 w 496"/>
                <a:gd name="T55" fmla="*/ 189 h 321"/>
                <a:gd name="T56" fmla="*/ 269 w 496"/>
                <a:gd name="T57" fmla="*/ 189 h 321"/>
                <a:gd name="T58" fmla="*/ 312 w 496"/>
                <a:gd name="T59" fmla="*/ 189 h 321"/>
                <a:gd name="T60" fmla="*/ 269 w 496"/>
                <a:gd name="T61" fmla="*/ 267 h 321"/>
                <a:gd name="T62" fmla="*/ 260 w 496"/>
                <a:gd name="T63" fmla="*/ 279 h 321"/>
                <a:gd name="T64" fmla="*/ 243 w 496"/>
                <a:gd name="T65" fmla="*/ 260 h 321"/>
                <a:gd name="T66" fmla="*/ 173 w 496"/>
                <a:gd name="T67" fmla="*/ 206 h 321"/>
                <a:gd name="T68" fmla="*/ 177 w 496"/>
                <a:gd name="T69" fmla="*/ 189 h 321"/>
                <a:gd name="T70" fmla="*/ 319 w 496"/>
                <a:gd name="T71" fmla="*/ 210 h 321"/>
                <a:gd name="T72" fmla="*/ 173 w 496"/>
                <a:gd name="T73" fmla="*/ 279 h 321"/>
                <a:gd name="T74" fmla="*/ 161 w 496"/>
                <a:gd name="T75" fmla="*/ 227 h 321"/>
                <a:gd name="T76" fmla="*/ 177 w 496"/>
                <a:gd name="T77" fmla="*/ 222 h 321"/>
                <a:gd name="T78" fmla="*/ 173 w 496"/>
                <a:gd name="T79" fmla="*/ 279 h 321"/>
                <a:gd name="T80" fmla="*/ 26 w 496"/>
                <a:gd name="T81" fmla="*/ 234 h 321"/>
                <a:gd name="T82" fmla="*/ 487 w 496"/>
                <a:gd name="T83" fmla="*/ 284 h 321"/>
                <a:gd name="T84" fmla="*/ 487 w 496"/>
                <a:gd name="T85" fmla="*/ 284 h 321"/>
                <a:gd name="T86" fmla="*/ 177 w 496"/>
                <a:gd name="T87" fmla="*/ 288 h 321"/>
                <a:gd name="T88" fmla="*/ 177 w 496"/>
                <a:gd name="T89" fmla="*/ 305 h 321"/>
                <a:gd name="T90" fmla="*/ 118 w 496"/>
                <a:gd name="T91" fmla="*/ 288 h 321"/>
                <a:gd name="T92" fmla="*/ 106 w 496"/>
                <a:gd name="T93" fmla="*/ 279 h 321"/>
                <a:gd name="T94" fmla="*/ 173 w 496"/>
                <a:gd name="T95" fmla="*/ 284 h 321"/>
                <a:gd name="T96" fmla="*/ 173 w 496"/>
                <a:gd name="T97" fmla="*/ 284 h 321"/>
                <a:gd name="T98" fmla="*/ 298 w 496"/>
                <a:gd name="T99" fmla="*/ 279 h 321"/>
                <a:gd name="T100" fmla="*/ 286 w 496"/>
                <a:gd name="T101" fmla="*/ 288 h 321"/>
                <a:gd name="T102" fmla="*/ 269 w 496"/>
                <a:gd name="T103" fmla="*/ 321 h 321"/>
                <a:gd name="T104" fmla="*/ 265 w 496"/>
                <a:gd name="T105" fmla="*/ 284 h 321"/>
                <a:gd name="T106" fmla="*/ 243 w 496"/>
                <a:gd name="T107" fmla="*/ 300 h 321"/>
                <a:gd name="T108" fmla="*/ 206 w 496"/>
                <a:gd name="T109" fmla="*/ 300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496" h="321">
                  <a:moveTo>
                    <a:pt x="26" y="111"/>
                  </a:moveTo>
                  <a:lnTo>
                    <a:pt x="31" y="116"/>
                  </a:lnTo>
                  <a:lnTo>
                    <a:pt x="31" y="116"/>
                  </a:lnTo>
                  <a:lnTo>
                    <a:pt x="10" y="111"/>
                  </a:lnTo>
                  <a:lnTo>
                    <a:pt x="10" y="99"/>
                  </a:lnTo>
                  <a:lnTo>
                    <a:pt x="31" y="62"/>
                  </a:lnTo>
                  <a:lnTo>
                    <a:pt x="85" y="62"/>
                  </a:lnTo>
                  <a:lnTo>
                    <a:pt x="123" y="12"/>
                  </a:lnTo>
                  <a:lnTo>
                    <a:pt x="177" y="0"/>
                  </a:lnTo>
                  <a:lnTo>
                    <a:pt x="161" y="12"/>
                  </a:lnTo>
                  <a:lnTo>
                    <a:pt x="173" y="57"/>
                  </a:lnTo>
                  <a:lnTo>
                    <a:pt x="156" y="78"/>
                  </a:lnTo>
                  <a:lnTo>
                    <a:pt x="135" y="66"/>
                  </a:lnTo>
                  <a:lnTo>
                    <a:pt x="80" y="78"/>
                  </a:lnTo>
                  <a:lnTo>
                    <a:pt x="69" y="66"/>
                  </a:lnTo>
                  <a:lnTo>
                    <a:pt x="43" y="83"/>
                  </a:lnTo>
                  <a:lnTo>
                    <a:pt x="26" y="111"/>
                  </a:lnTo>
                  <a:lnTo>
                    <a:pt x="26" y="111"/>
                  </a:lnTo>
                  <a:lnTo>
                    <a:pt x="26" y="111"/>
                  </a:lnTo>
                  <a:close/>
                  <a:moveTo>
                    <a:pt x="206" y="57"/>
                  </a:moveTo>
                  <a:lnTo>
                    <a:pt x="194" y="57"/>
                  </a:lnTo>
                  <a:lnTo>
                    <a:pt x="215" y="45"/>
                  </a:lnTo>
                  <a:lnTo>
                    <a:pt x="206" y="57"/>
                  </a:lnTo>
                  <a:lnTo>
                    <a:pt x="206" y="57"/>
                  </a:lnTo>
                  <a:lnTo>
                    <a:pt x="206" y="57"/>
                  </a:lnTo>
                  <a:close/>
                  <a:moveTo>
                    <a:pt x="97" y="300"/>
                  </a:moveTo>
                  <a:lnTo>
                    <a:pt x="43" y="288"/>
                  </a:lnTo>
                  <a:lnTo>
                    <a:pt x="43" y="267"/>
                  </a:lnTo>
                  <a:lnTo>
                    <a:pt x="26" y="279"/>
                  </a:lnTo>
                  <a:lnTo>
                    <a:pt x="26" y="267"/>
                  </a:lnTo>
                  <a:lnTo>
                    <a:pt x="26" y="260"/>
                  </a:lnTo>
                  <a:lnTo>
                    <a:pt x="43" y="267"/>
                  </a:lnTo>
                  <a:lnTo>
                    <a:pt x="31" y="234"/>
                  </a:lnTo>
                  <a:lnTo>
                    <a:pt x="0" y="227"/>
                  </a:lnTo>
                  <a:lnTo>
                    <a:pt x="0" y="206"/>
                  </a:lnTo>
                  <a:lnTo>
                    <a:pt x="0" y="177"/>
                  </a:lnTo>
                  <a:lnTo>
                    <a:pt x="0" y="194"/>
                  </a:lnTo>
                  <a:lnTo>
                    <a:pt x="14" y="189"/>
                  </a:lnTo>
                  <a:lnTo>
                    <a:pt x="10" y="173"/>
                  </a:lnTo>
                  <a:lnTo>
                    <a:pt x="0" y="173"/>
                  </a:lnTo>
                  <a:lnTo>
                    <a:pt x="0" y="177"/>
                  </a:lnTo>
                  <a:lnTo>
                    <a:pt x="0" y="111"/>
                  </a:lnTo>
                  <a:lnTo>
                    <a:pt x="43" y="133"/>
                  </a:lnTo>
                  <a:lnTo>
                    <a:pt x="47" y="123"/>
                  </a:lnTo>
                  <a:lnTo>
                    <a:pt x="43" y="116"/>
                  </a:lnTo>
                  <a:lnTo>
                    <a:pt x="69" y="99"/>
                  </a:lnTo>
                  <a:lnTo>
                    <a:pt x="69" y="111"/>
                  </a:lnTo>
                  <a:lnTo>
                    <a:pt x="64" y="123"/>
                  </a:lnTo>
                  <a:lnTo>
                    <a:pt x="80" y="116"/>
                  </a:lnTo>
                  <a:lnTo>
                    <a:pt x="85" y="123"/>
                  </a:lnTo>
                  <a:lnTo>
                    <a:pt x="85" y="123"/>
                  </a:lnTo>
                  <a:lnTo>
                    <a:pt x="85" y="111"/>
                  </a:lnTo>
                  <a:lnTo>
                    <a:pt x="69" y="111"/>
                  </a:lnTo>
                  <a:lnTo>
                    <a:pt x="69" y="83"/>
                  </a:lnTo>
                  <a:lnTo>
                    <a:pt x="80" y="78"/>
                  </a:lnTo>
                  <a:lnTo>
                    <a:pt x="135" y="66"/>
                  </a:lnTo>
                  <a:lnTo>
                    <a:pt x="156" y="78"/>
                  </a:lnTo>
                  <a:lnTo>
                    <a:pt x="156" y="99"/>
                  </a:lnTo>
                  <a:lnTo>
                    <a:pt x="123" y="116"/>
                  </a:lnTo>
                  <a:lnTo>
                    <a:pt x="156" y="111"/>
                  </a:lnTo>
                  <a:lnTo>
                    <a:pt x="151" y="133"/>
                  </a:lnTo>
                  <a:lnTo>
                    <a:pt x="156" y="123"/>
                  </a:lnTo>
                  <a:lnTo>
                    <a:pt x="194" y="123"/>
                  </a:lnTo>
                  <a:lnTo>
                    <a:pt x="206" y="133"/>
                  </a:lnTo>
                  <a:lnTo>
                    <a:pt x="189" y="168"/>
                  </a:lnTo>
                  <a:lnTo>
                    <a:pt x="177" y="156"/>
                  </a:lnTo>
                  <a:lnTo>
                    <a:pt x="173" y="173"/>
                  </a:lnTo>
                  <a:lnTo>
                    <a:pt x="156" y="156"/>
                  </a:lnTo>
                  <a:lnTo>
                    <a:pt x="161" y="156"/>
                  </a:lnTo>
                  <a:lnTo>
                    <a:pt x="161" y="149"/>
                  </a:lnTo>
                  <a:lnTo>
                    <a:pt x="151" y="168"/>
                  </a:lnTo>
                  <a:lnTo>
                    <a:pt x="151" y="177"/>
                  </a:lnTo>
                  <a:lnTo>
                    <a:pt x="151" y="194"/>
                  </a:lnTo>
                  <a:lnTo>
                    <a:pt x="123" y="194"/>
                  </a:lnTo>
                  <a:lnTo>
                    <a:pt x="135" y="194"/>
                  </a:lnTo>
                  <a:lnTo>
                    <a:pt x="135" y="210"/>
                  </a:lnTo>
                  <a:lnTo>
                    <a:pt x="102" y="210"/>
                  </a:lnTo>
                  <a:lnTo>
                    <a:pt x="118" y="222"/>
                  </a:lnTo>
                  <a:lnTo>
                    <a:pt x="102" y="234"/>
                  </a:lnTo>
                  <a:lnTo>
                    <a:pt x="106" y="260"/>
                  </a:lnTo>
                  <a:lnTo>
                    <a:pt x="97" y="267"/>
                  </a:lnTo>
                  <a:lnTo>
                    <a:pt x="118" y="288"/>
                  </a:lnTo>
                  <a:lnTo>
                    <a:pt x="106" y="300"/>
                  </a:lnTo>
                  <a:lnTo>
                    <a:pt x="102" y="288"/>
                  </a:lnTo>
                  <a:lnTo>
                    <a:pt x="97" y="300"/>
                  </a:lnTo>
                  <a:lnTo>
                    <a:pt x="97" y="300"/>
                  </a:lnTo>
                  <a:lnTo>
                    <a:pt x="97" y="300"/>
                  </a:lnTo>
                  <a:close/>
                  <a:moveTo>
                    <a:pt x="43" y="111"/>
                  </a:moveTo>
                  <a:lnTo>
                    <a:pt x="26" y="99"/>
                  </a:lnTo>
                  <a:lnTo>
                    <a:pt x="31" y="99"/>
                  </a:lnTo>
                  <a:lnTo>
                    <a:pt x="54" y="83"/>
                  </a:lnTo>
                  <a:lnTo>
                    <a:pt x="47" y="99"/>
                  </a:lnTo>
                  <a:lnTo>
                    <a:pt x="43" y="111"/>
                  </a:lnTo>
                  <a:lnTo>
                    <a:pt x="43" y="111"/>
                  </a:lnTo>
                  <a:lnTo>
                    <a:pt x="43" y="111"/>
                  </a:lnTo>
                  <a:close/>
                  <a:moveTo>
                    <a:pt x="243" y="111"/>
                  </a:moveTo>
                  <a:lnTo>
                    <a:pt x="243" y="111"/>
                  </a:lnTo>
                  <a:lnTo>
                    <a:pt x="248" y="111"/>
                  </a:lnTo>
                  <a:lnTo>
                    <a:pt x="243" y="111"/>
                  </a:lnTo>
                  <a:lnTo>
                    <a:pt x="243" y="111"/>
                  </a:lnTo>
                  <a:lnTo>
                    <a:pt x="243" y="111"/>
                  </a:lnTo>
                  <a:close/>
                  <a:moveTo>
                    <a:pt x="243" y="260"/>
                  </a:moveTo>
                  <a:lnTo>
                    <a:pt x="215" y="260"/>
                  </a:lnTo>
                  <a:lnTo>
                    <a:pt x="210" y="210"/>
                  </a:lnTo>
                  <a:lnTo>
                    <a:pt x="194" y="206"/>
                  </a:lnTo>
                  <a:lnTo>
                    <a:pt x="215" y="210"/>
                  </a:lnTo>
                  <a:lnTo>
                    <a:pt x="243" y="194"/>
                  </a:lnTo>
                  <a:lnTo>
                    <a:pt x="215" y="177"/>
                  </a:lnTo>
                  <a:lnTo>
                    <a:pt x="260" y="177"/>
                  </a:lnTo>
                  <a:lnTo>
                    <a:pt x="248" y="194"/>
                  </a:lnTo>
                  <a:lnTo>
                    <a:pt x="260" y="210"/>
                  </a:lnTo>
                  <a:lnTo>
                    <a:pt x="265" y="189"/>
                  </a:lnTo>
                  <a:lnTo>
                    <a:pt x="281" y="206"/>
                  </a:lnTo>
                  <a:lnTo>
                    <a:pt x="269" y="210"/>
                  </a:lnTo>
                  <a:lnTo>
                    <a:pt x="281" y="210"/>
                  </a:lnTo>
                  <a:lnTo>
                    <a:pt x="269" y="189"/>
                  </a:lnTo>
                  <a:lnTo>
                    <a:pt x="265" y="177"/>
                  </a:lnTo>
                  <a:lnTo>
                    <a:pt x="298" y="168"/>
                  </a:lnTo>
                  <a:lnTo>
                    <a:pt x="319" y="173"/>
                  </a:lnTo>
                  <a:lnTo>
                    <a:pt x="312" y="189"/>
                  </a:lnTo>
                  <a:lnTo>
                    <a:pt x="319" y="210"/>
                  </a:lnTo>
                  <a:lnTo>
                    <a:pt x="286" y="234"/>
                  </a:lnTo>
                  <a:lnTo>
                    <a:pt x="302" y="251"/>
                  </a:lnTo>
                  <a:lnTo>
                    <a:pt x="269" y="267"/>
                  </a:lnTo>
                  <a:lnTo>
                    <a:pt x="286" y="267"/>
                  </a:lnTo>
                  <a:lnTo>
                    <a:pt x="286" y="284"/>
                  </a:lnTo>
                  <a:lnTo>
                    <a:pt x="265" y="284"/>
                  </a:lnTo>
                  <a:lnTo>
                    <a:pt x="260" y="279"/>
                  </a:lnTo>
                  <a:lnTo>
                    <a:pt x="260" y="267"/>
                  </a:lnTo>
                  <a:lnTo>
                    <a:pt x="260" y="260"/>
                  </a:lnTo>
                  <a:lnTo>
                    <a:pt x="243" y="260"/>
                  </a:lnTo>
                  <a:lnTo>
                    <a:pt x="243" y="260"/>
                  </a:lnTo>
                  <a:lnTo>
                    <a:pt x="243" y="260"/>
                  </a:lnTo>
                  <a:close/>
                  <a:moveTo>
                    <a:pt x="177" y="189"/>
                  </a:moveTo>
                  <a:lnTo>
                    <a:pt x="173" y="206"/>
                  </a:lnTo>
                  <a:lnTo>
                    <a:pt x="173" y="206"/>
                  </a:lnTo>
                  <a:lnTo>
                    <a:pt x="173" y="177"/>
                  </a:lnTo>
                  <a:lnTo>
                    <a:pt x="177" y="189"/>
                  </a:lnTo>
                  <a:lnTo>
                    <a:pt x="177" y="189"/>
                  </a:lnTo>
                  <a:lnTo>
                    <a:pt x="177" y="189"/>
                  </a:lnTo>
                  <a:close/>
                  <a:moveTo>
                    <a:pt x="319" y="222"/>
                  </a:moveTo>
                  <a:lnTo>
                    <a:pt x="319" y="222"/>
                  </a:lnTo>
                  <a:lnTo>
                    <a:pt x="312" y="222"/>
                  </a:lnTo>
                  <a:lnTo>
                    <a:pt x="319" y="210"/>
                  </a:lnTo>
                  <a:lnTo>
                    <a:pt x="319" y="222"/>
                  </a:lnTo>
                  <a:lnTo>
                    <a:pt x="319" y="222"/>
                  </a:lnTo>
                  <a:lnTo>
                    <a:pt x="319" y="222"/>
                  </a:lnTo>
                  <a:close/>
                  <a:moveTo>
                    <a:pt x="173" y="279"/>
                  </a:moveTo>
                  <a:lnTo>
                    <a:pt x="139" y="279"/>
                  </a:lnTo>
                  <a:lnTo>
                    <a:pt x="106" y="227"/>
                  </a:lnTo>
                  <a:lnTo>
                    <a:pt x="156" y="222"/>
                  </a:lnTo>
                  <a:lnTo>
                    <a:pt x="161" y="227"/>
                  </a:lnTo>
                  <a:lnTo>
                    <a:pt x="161" y="234"/>
                  </a:lnTo>
                  <a:lnTo>
                    <a:pt x="161" y="234"/>
                  </a:lnTo>
                  <a:lnTo>
                    <a:pt x="173" y="227"/>
                  </a:lnTo>
                  <a:lnTo>
                    <a:pt x="177" y="222"/>
                  </a:lnTo>
                  <a:lnTo>
                    <a:pt x="189" y="251"/>
                  </a:lnTo>
                  <a:lnTo>
                    <a:pt x="189" y="279"/>
                  </a:lnTo>
                  <a:lnTo>
                    <a:pt x="173" y="279"/>
                  </a:lnTo>
                  <a:lnTo>
                    <a:pt x="173" y="279"/>
                  </a:lnTo>
                  <a:lnTo>
                    <a:pt x="173" y="279"/>
                  </a:lnTo>
                  <a:close/>
                  <a:moveTo>
                    <a:pt x="26" y="244"/>
                  </a:moveTo>
                  <a:lnTo>
                    <a:pt x="14" y="234"/>
                  </a:lnTo>
                  <a:lnTo>
                    <a:pt x="26" y="234"/>
                  </a:lnTo>
                  <a:lnTo>
                    <a:pt x="26" y="244"/>
                  </a:lnTo>
                  <a:lnTo>
                    <a:pt x="26" y="244"/>
                  </a:lnTo>
                  <a:lnTo>
                    <a:pt x="26" y="244"/>
                  </a:lnTo>
                  <a:close/>
                  <a:moveTo>
                    <a:pt x="487" y="284"/>
                  </a:moveTo>
                  <a:lnTo>
                    <a:pt x="458" y="267"/>
                  </a:lnTo>
                  <a:lnTo>
                    <a:pt x="465" y="251"/>
                  </a:lnTo>
                  <a:lnTo>
                    <a:pt x="496" y="267"/>
                  </a:lnTo>
                  <a:lnTo>
                    <a:pt x="487" y="284"/>
                  </a:lnTo>
                  <a:lnTo>
                    <a:pt x="487" y="284"/>
                  </a:lnTo>
                  <a:lnTo>
                    <a:pt x="487" y="284"/>
                  </a:lnTo>
                  <a:close/>
                  <a:moveTo>
                    <a:pt x="177" y="305"/>
                  </a:moveTo>
                  <a:lnTo>
                    <a:pt x="177" y="288"/>
                  </a:lnTo>
                  <a:lnTo>
                    <a:pt x="206" y="267"/>
                  </a:lnTo>
                  <a:lnTo>
                    <a:pt x="177" y="305"/>
                  </a:lnTo>
                  <a:lnTo>
                    <a:pt x="177" y="305"/>
                  </a:lnTo>
                  <a:lnTo>
                    <a:pt x="177" y="305"/>
                  </a:lnTo>
                  <a:close/>
                  <a:moveTo>
                    <a:pt x="135" y="284"/>
                  </a:moveTo>
                  <a:lnTo>
                    <a:pt x="139" y="288"/>
                  </a:lnTo>
                  <a:lnTo>
                    <a:pt x="123" y="288"/>
                  </a:lnTo>
                  <a:lnTo>
                    <a:pt x="118" y="288"/>
                  </a:lnTo>
                  <a:lnTo>
                    <a:pt x="118" y="284"/>
                  </a:lnTo>
                  <a:lnTo>
                    <a:pt x="118" y="284"/>
                  </a:lnTo>
                  <a:lnTo>
                    <a:pt x="118" y="279"/>
                  </a:lnTo>
                  <a:lnTo>
                    <a:pt x="106" y="279"/>
                  </a:lnTo>
                  <a:lnTo>
                    <a:pt x="135" y="284"/>
                  </a:lnTo>
                  <a:lnTo>
                    <a:pt x="135" y="284"/>
                  </a:lnTo>
                  <a:lnTo>
                    <a:pt x="135" y="284"/>
                  </a:lnTo>
                  <a:close/>
                  <a:moveTo>
                    <a:pt x="173" y="284"/>
                  </a:moveTo>
                  <a:lnTo>
                    <a:pt x="161" y="284"/>
                  </a:lnTo>
                  <a:lnTo>
                    <a:pt x="177" y="284"/>
                  </a:lnTo>
                  <a:lnTo>
                    <a:pt x="173" y="284"/>
                  </a:lnTo>
                  <a:lnTo>
                    <a:pt x="173" y="284"/>
                  </a:lnTo>
                  <a:lnTo>
                    <a:pt x="173" y="284"/>
                  </a:lnTo>
                  <a:close/>
                  <a:moveTo>
                    <a:pt x="286" y="288"/>
                  </a:moveTo>
                  <a:lnTo>
                    <a:pt x="281" y="284"/>
                  </a:lnTo>
                  <a:lnTo>
                    <a:pt x="298" y="279"/>
                  </a:lnTo>
                  <a:lnTo>
                    <a:pt x="312" y="284"/>
                  </a:lnTo>
                  <a:lnTo>
                    <a:pt x="286" y="288"/>
                  </a:lnTo>
                  <a:lnTo>
                    <a:pt x="286" y="288"/>
                  </a:lnTo>
                  <a:lnTo>
                    <a:pt x="286" y="288"/>
                  </a:lnTo>
                  <a:close/>
                  <a:moveTo>
                    <a:pt x="265" y="284"/>
                  </a:moveTo>
                  <a:lnTo>
                    <a:pt x="286" y="300"/>
                  </a:lnTo>
                  <a:lnTo>
                    <a:pt x="269" y="317"/>
                  </a:lnTo>
                  <a:lnTo>
                    <a:pt x="269" y="321"/>
                  </a:lnTo>
                  <a:lnTo>
                    <a:pt x="248" y="288"/>
                  </a:lnTo>
                  <a:lnTo>
                    <a:pt x="265" y="284"/>
                  </a:lnTo>
                  <a:lnTo>
                    <a:pt x="265" y="284"/>
                  </a:lnTo>
                  <a:lnTo>
                    <a:pt x="265" y="284"/>
                  </a:lnTo>
                  <a:close/>
                  <a:moveTo>
                    <a:pt x="206" y="300"/>
                  </a:moveTo>
                  <a:lnTo>
                    <a:pt x="210" y="288"/>
                  </a:lnTo>
                  <a:lnTo>
                    <a:pt x="215" y="284"/>
                  </a:lnTo>
                  <a:lnTo>
                    <a:pt x="243" y="300"/>
                  </a:lnTo>
                  <a:lnTo>
                    <a:pt x="248" y="288"/>
                  </a:lnTo>
                  <a:lnTo>
                    <a:pt x="265" y="317"/>
                  </a:lnTo>
                  <a:lnTo>
                    <a:pt x="232" y="317"/>
                  </a:lnTo>
                  <a:lnTo>
                    <a:pt x="206" y="300"/>
                  </a:lnTo>
                  <a:lnTo>
                    <a:pt x="206" y="300"/>
                  </a:lnTo>
                  <a:lnTo>
                    <a:pt x="206" y="300"/>
                  </a:lnTo>
                  <a:close/>
                </a:path>
              </a:pathLst>
            </a:custGeom>
            <a:solidFill>
              <a:schemeClr val="bg2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84" name="Freeform 426">
              <a:extLst>
                <a:ext uri="{FF2B5EF4-FFF2-40B4-BE49-F238E27FC236}">
                  <a16:creationId xmlns:a16="http://schemas.microsoft.com/office/drawing/2014/main" id="{02E1054F-DFBA-4BB2-845C-A25037DF611E}"/>
                </a:ext>
              </a:extLst>
            </p:cNvPr>
            <p:cNvSpPr>
              <a:spLocks/>
            </p:cNvSpPr>
            <p:nvPr/>
          </p:nvSpPr>
          <p:spPr bwMode="gray">
            <a:xfrm>
              <a:off x="6611763" y="2600273"/>
              <a:ext cx="17036" cy="21029"/>
            </a:xfrm>
            <a:custGeom>
              <a:avLst/>
              <a:gdLst>
                <a:gd name="T0" fmla="*/ 73 w 111"/>
                <a:gd name="T1" fmla="*/ 126 h 137"/>
                <a:gd name="T2" fmla="*/ 56 w 111"/>
                <a:gd name="T3" fmla="*/ 121 h 137"/>
                <a:gd name="T4" fmla="*/ 14 w 111"/>
                <a:gd name="T5" fmla="*/ 137 h 137"/>
                <a:gd name="T6" fmla="*/ 0 w 111"/>
                <a:gd name="T7" fmla="*/ 126 h 137"/>
                <a:gd name="T8" fmla="*/ 0 w 111"/>
                <a:gd name="T9" fmla="*/ 92 h 137"/>
                <a:gd name="T10" fmla="*/ 0 w 111"/>
                <a:gd name="T11" fmla="*/ 71 h 137"/>
                <a:gd name="T12" fmla="*/ 35 w 111"/>
                <a:gd name="T13" fmla="*/ 26 h 137"/>
                <a:gd name="T14" fmla="*/ 42 w 111"/>
                <a:gd name="T15" fmla="*/ 17 h 137"/>
                <a:gd name="T16" fmla="*/ 56 w 111"/>
                <a:gd name="T17" fmla="*/ 33 h 137"/>
                <a:gd name="T18" fmla="*/ 68 w 111"/>
                <a:gd name="T19" fmla="*/ 26 h 137"/>
                <a:gd name="T20" fmla="*/ 68 w 111"/>
                <a:gd name="T21" fmla="*/ 17 h 137"/>
                <a:gd name="T22" fmla="*/ 89 w 111"/>
                <a:gd name="T23" fmla="*/ 0 h 137"/>
                <a:gd name="T24" fmla="*/ 106 w 111"/>
                <a:gd name="T25" fmla="*/ 26 h 137"/>
                <a:gd name="T26" fmla="*/ 111 w 111"/>
                <a:gd name="T27" fmla="*/ 55 h 137"/>
                <a:gd name="T28" fmla="*/ 78 w 111"/>
                <a:gd name="T29" fmla="*/ 71 h 137"/>
                <a:gd name="T30" fmla="*/ 68 w 111"/>
                <a:gd name="T31" fmla="*/ 71 h 137"/>
                <a:gd name="T32" fmla="*/ 56 w 111"/>
                <a:gd name="T33" fmla="*/ 88 h 137"/>
                <a:gd name="T34" fmla="*/ 42 w 111"/>
                <a:gd name="T35" fmla="*/ 88 h 137"/>
                <a:gd name="T36" fmla="*/ 52 w 111"/>
                <a:gd name="T37" fmla="*/ 92 h 137"/>
                <a:gd name="T38" fmla="*/ 73 w 111"/>
                <a:gd name="T39" fmla="*/ 88 h 137"/>
                <a:gd name="T40" fmla="*/ 89 w 111"/>
                <a:gd name="T41" fmla="*/ 88 h 137"/>
                <a:gd name="T42" fmla="*/ 94 w 111"/>
                <a:gd name="T43" fmla="*/ 92 h 137"/>
                <a:gd name="T44" fmla="*/ 73 w 111"/>
                <a:gd name="T45" fmla="*/ 126 h 137"/>
                <a:gd name="T46" fmla="*/ 73 w 111"/>
                <a:gd name="T47" fmla="*/ 126 h 137"/>
                <a:gd name="T48" fmla="*/ 73 w 111"/>
                <a:gd name="T49" fmla="*/ 126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11" h="137">
                  <a:moveTo>
                    <a:pt x="73" y="126"/>
                  </a:moveTo>
                  <a:lnTo>
                    <a:pt x="56" y="121"/>
                  </a:lnTo>
                  <a:lnTo>
                    <a:pt x="14" y="137"/>
                  </a:lnTo>
                  <a:lnTo>
                    <a:pt x="0" y="126"/>
                  </a:lnTo>
                  <a:lnTo>
                    <a:pt x="0" y="92"/>
                  </a:lnTo>
                  <a:lnTo>
                    <a:pt x="0" y="71"/>
                  </a:lnTo>
                  <a:lnTo>
                    <a:pt x="35" y="26"/>
                  </a:lnTo>
                  <a:lnTo>
                    <a:pt x="42" y="17"/>
                  </a:lnTo>
                  <a:lnTo>
                    <a:pt x="56" y="33"/>
                  </a:lnTo>
                  <a:lnTo>
                    <a:pt x="68" y="26"/>
                  </a:lnTo>
                  <a:lnTo>
                    <a:pt x="68" y="17"/>
                  </a:lnTo>
                  <a:lnTo>
                    <a:pt x="89" y="0"/>
                  </a:lnTo>
                  <a:lnTo>
                    <a:pt x="106" y="26"/>
                  </a:lnTo>
                  <a:lnTo>
                    <a:pt x="111" y="55"/>
                  </a:lnTo>
                  <a:lnTo>
                    <a:pt x="78" y="71"/>
                  </a:lnTo>
                  <a:lnTo>
                    <a:pt x="68" y="71"/>
                  </a:lnTo>
                  <a:lnTo>
                    <a:pt x="56" y="88"/>
                  </a:lnTo>
                  <a:lnTo>
                    <a:pt x="42" y="88"/>
                  </a:lnTo>
                  <a:lnTo>
                    <a:pt x="52" y="92"/>
                  </a:lnTo>
                  <a:lnTo>
                    <a:pt x="73" y="88"/>
                  </a:lnTo>
                  <a:lnTo>
                    <a:pt x="89" y="88"/>
                  </a:lnTo>
                  <a:lnTo>
                    <a:pt x="94" y="92"/>
                  </a:lnTo>
                  <a:lnTo>
                    <a:pt x="73" y="126"/>
                  </a:lnTo>
                  <a:lnTo>
                    <a:pt x="73" y="126"/>
                  </a:lnTo>
                  <a:lnTo>
                    <a:pt x="73" y="126"/>
                  </a:lnTo>
                  <a:close/>
                </a:path>
              </a:pathLst>
            </a:custGeom>
            <a:solidFill>
              <a:schemeClr val="bg2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85" name="Freeform 427">
              <a:extLst>
                <a:ext uri="{FF2B5EF4-FFF2-40B4-BE49-F238E27FC236}">
                  <a16:creationId xmlns:a16="http://schemas.microsoft.com/office/drawing/2014/main" id="{27B7140F-CF98-427F-AA95-14281591F4BA}"/>
                </a:ext>
              </a:extLst>
            </p:cNvPr>
            <p:cNvSpPr>
              <a:spLocks/>
            </p:cNvSpPr>
            <p:nvPr/>
          </p:nvSpPr>
          <p:spPr bwMode="gray">
            <a:xfrm>
              <a:off x="5499069" y="2568040"/>
              <a:ext cx="2916" cy="3991"/>
            </a:xfrm>
            <a:custGeom>
              <a:avLst/>
              <a:gdLst>
                <a:gd name="T0" fmla="*/ 7 w 19"/>
                <a:gd name="T1" fmla="*/ 26 h 26"/>
                <a:gd name="T2" fmla="*/ 0 w 19"/>
                <a:gd name="T3" fmla="*/ 5 h 26"/>
                <a:gd name="T4" fmla="*/ 0 w 19"/>
                <a:gd name="T5" fmla="*/ 0 h 26"/>
                <a:gd name="T6" fmla="*/ 19 w 19"/>
                <a:gd name="T7" fmla="*/ 14 h 26"/>
                <a:gd name="T8" fmla="*/ 19 w 19"/>
                <a:gd name="T9" fmla="*/ 26 h 26"/>
                <a:gd name="T10" fmla="*/ 7 w 19"/>
                <a:gd name="T11" fmla="*/ 26 h 26"/>
                <a:gd name="T12" fmla="*/ 7 w 19"/>
                <a:gd name="T13" fmla="*/ 26 h 26"/>
                <a:gd name="T14" fmla="*/ 7 w 19"/>
                <a:gd name="T15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9" h="26">
                  <a:moveTo>
                    <a:pt x="7" y="26"/>
                  </a:moveTo>
                  <a:lnTo>
                    <a:pt x="0" y="5"/>
                  </a:lnTo>
                  <a:lnTo>
                    <a:pt x="0" y="0"/>
                  </a:lnTo>
                  <a:lnTo>
                    <a:pt x="19" y="14"/>
                  </a:lnTo>
                  <a:lnTo>
                    <a:pt x="19" y="26"/>
                  </a:lnTo>
                  <a:lnTo>
                    <a:pt x="7" y="26"/>
                  </a:lnTo>
                  <a:lnTo>
                    <a:pt x="7" y="26"/>
                  </a:lnTo>
                  <a:lnTo>
                    <a:pt x="7" y="26"/>
                  </a:lnTo>
                  <a:close/>
                </a:path>
              </a:pathLst>
            </a:custGeom>
            <a:solidFill>
              <a:schemeClr val="bg2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86" name="Freeform 428">
              <a:extLst>
                <a:ext uri="{FF2B5EF4-FFF2-40B4-BE49-F238E27FC236}">
                  <a16:creationId xmlns:a16="http://schemas.microsoft.com/office/drawing/2014/main" id="{A16E7A66-F31A-4223-91FB-735DD492F8B7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385959" y="2519076"/>
              <a:ext cx="39597" cy="27936"/>
            </a:xfrm>
            <a:custGeom>
              <a:avLst/>
              <a:gdLst>
                <a:gd name="T0" fmla="*/ 21 w 258"/>
                <a:gd name="T1" fmla="*/ 142 h 182"/>
                <a:gd name="T2" fmla="*/ 21 w 258"/>
                <a:gd name="T3" fmla="*/ 118 h 182"/>
                <a:gd name="T4" fmla="*/ 5 w 258"/>
                <a:gd name="T5" fmla="*/ 114 h 182"/>
                <a:gd name="T6" fmla="*/ 0 w 258"/>
                <a:gd name="T7" fmla="*/ 102 h 182"/>
                <a:gd name="T8" fmla="*/ 17 w 258"/>
                <a:gd name="T9" fmla="*/ 97 h 182"/>
                <a:gd name="T10" fmla="*/ 21 w 258"/>
                <a:gd name="T11" fmla="*/ 85 h 182"/>
                <a:gd name="T12" fmla="*/ 17 w 258"/>
                <a:gd name="T13" fmla="*/ 69 h 182"/>
                <a:gd name="T14" fmla="*/ 26 w 258"/>
                <a:gd name="T15" fmla="*/ 57 h 182"/>
                <a:gd name="T16" fmla="*/ 21 w 258"/>
                <a:gd name="T17" fmla="*/ 45 h 182"/>
                <a:gd name="T18" fmla="*/ 21 w 258"/>
                <a:gd name="T19" fmla="*/ 29 h 182"/>
                <a:gd name="T20" fmla="*/ 21 w 258"/>
                <a:gd name="T21" fmla="*/ 12 h 182"/>
                <a:gd name="T22" fmla="*/ 21 w 258"/>
                <a:gd name="T23" fmla="*/ 0 h 182"/>
                <a:gd name="T24" fmla="*/ 52 w 258"/>
                <a:gd name="T25" fmla="*/ 7 h 182"/>
                <a:gd name="T26" fmla="*/ 76 w 258"/>
                <a:gd name="T27" fmla="*/ 0 h 182"/>
                <a:gd name="T28" fmla="*/ 97 w 258"/>
                <a:gd name="T29" fmla="*/ 12 h 182"/>
                <a:gd name="T30" fmla="*/ 106 w 258"/>
                <a:gd name="T31" fmla="*/ 7 h 182"/>
                <a:gd name="T32" fmla="*/ 123 w 258"/>
                <a:gd name="T33" fmla="*/ 24 h 182"/>
                <a:gd name="T34" fmla="*/ 144 w 258"/>
                <a:gd name="T35" fmla="*/ 12 h 182"/>
                <a:gd name="T36" fmla="*/ 161 w 258"/>
                <a:gd name="T37" fmla="*/ 45 h 182"/>
                <a:gd name="T38" fmla="*/ 199 w 258"/>
                <a:gd name="T39" fmla="*/ 40 h 182"/>
                <a:gd name="T40" fmla="*/ 199 w 258"/>
                <a:gd name="T41" fmla="*/ 45 h 182"/>
                <a:gd name="T42" fmla="*/ 199 w 258"/>
                <a:gd name="T43" fmla="*/ 57 h 182"/>
                <a:gd name="T44" fmla="*/ 166 w 258"/>
                <a:gd name="T45" fmla="*/ 57 h 182"/>
                <a:gd name="T46" fmla="*/ 166 w 258"/>
                <a:gd name="T47" fmla="*/ 64 h 182"/>
                <a:gd name="T48" fmla="*/ 215 w 258"/>
                <a:gd name="T49" fmla="*/ 69 h 182"/>
                <a:gd name="T50" fmla="*/ 258 w 258"/>
                <a:gd name="T51" fmla="*/ 102 h 182"/>
                <a:gd name="T52" fmla="*/ 253 w 258"/>
                <a:gd name="T53" fmla="*/ 118 h 182"/>
                <a:gd name="T54" fmla="*/ 236 w 258"/>
                <a:gd name="T55" fmla="*/ 118 h 182"/>
                <a:gd name="T56" fmla="*/ 236 w 258"/>
                <a:gd name="T57" fmla="*/ 125 h 182"/>
                <a:gd name="T58" fmla="*/ 229 w 258"/>
                <a:gd name="T59" fmla="*/ 125 h 182"/>
                <a:gd name="T60" fmla="*/ 220 w 258"/>
                <a:gd name="T61" fmla="*/ 114 h 182"/>
                <a:gd name="T62" fmla="*/ 149 w 258"/>
                <a:gd name="T63" fmla="*/ 114 h 182"/>
                <a:gd name="T64" fmla="*/ 128 w 258"/>
                <a:gd name="T65" fmla="*/ 125 h 182"/>
                <a:gd name="T66" fmla="*/ 106 w 258"/>
                <a:gd name="T67" fmla="*/ 125 h 182"/>
                <a:gd name="T68" fmla="*/ 97 w 258"/>
                <a:gd name="T69" fmla="*/ 114 h 182"/>
                <a:gd name="T70" fmla="*/ 90 w 258"/>
                <a:gd name="T71" fmla="*/ 114 h 182"/>
                <a:gd name="T72" fmla="*/ 76 w 258"/>
                <a:gd name="T73" fmla="*/ 125 h 182"/>
                <a:gd name="T74" fmla="*/ 69 w 258"/>
                <a:gd name="T75" fmla="*/ 118 h 182"/>
                <a:gd name="T76" fmla="*/ 69 w 258"/>
                <a:gd name="T77" fmla="*/ 137 h 182"/>
                <a:gd name="T78" fmla="*/ 43 w 258"/>
                <a:gd name="T79" fmla="*/ 175 h 182"/>
                <a:gd name="T80" fmla="*/ 21 w 258"/>
                <a:gd name="T81" fmla="*/ 142 h 182"/>
                <a:gd name="T82" fmla="*/ 21 w 258"/>
                <a:gd name="T83" fmla="*/ 142 h 182"/>
                <a:gd name="T84" fmla="*/ 21 w 258"/>
                <a:gd name="T85" fmla="*/ 142 h 182"/>
                <a:gd name="T86" fmla="*/ 38 w 258"/>
                <a:gd name="T87" fmla="*/ 182 h 182"/>
                <a:gd name="T88" fmla="*/ 38 w 258"/>
                <a:gd name="T89" fmla="*/ 175 h 182"/>
                <a:gd name="T90" fmla="*/ 38 w 258"/>
                <a:gd name="T91" fmla="*/ 175 h 182"/>
                <a:gd name="T92" fmla="*/ 38 w 258"/>
                <a:gd name="T93" fmla="*/ 182 h 182"/>
                <a:gd name="T94" fmla="*/ 38 w 258"/>
                <a:gd name="T95" fmla="*/ 182 h 182"/>
                <a:gd name="T96" fmla="*/ 38 w 258"/>
                <a:gd name="T97" fmla="*/ 182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58" h="182">
                  <a:moveTo>
                    <a:pt x="21" y="142"/>
                  </a:moveTo>
                  <a:lnTo>
                    <a:pt x="21" y="118"/>
                  </a:lnTo>
                  <a:lnTo>
                    <a:pt x="5" y="114"/>
                  </a:lnTo>
                  <a:lnTo>
                    <a:pt x="0" y="102"/>
                  </a:lnTo>
                  <a:lnTo>
                    <a:pt x="17" y="97"/>
                  </a:lnTo>
                  <a:lnTo>
                    <a:pt x="21" y="85"/>
                  </a:lnTo>
                  <a:lnTo>
                    <a:pt x="17" y="69"/>
                  </a:lnTo>
                  <a:lnTo>
                    <a:pt x="26" y="57"/>
                  </a:lnTo>
                  <a:lnTo>
                    <a:pt x="21" y="45"/>
                  </a:lnTo>
                  <a:lnTo>
                    <a:pt x="21" y="29"/>
                  </a:lnTo>
                  <a:lnTo>
                    <a:pt x="21" y="12"/>
                  </a:lnTo>
                  <a:lnTo>
                    <a:pt x="21" y="0"/>
                  </a:lnTo>
                  <a:lnTo>
                    <a:pt x="52" y="7"/>
                  </a:lnTo>
                  <a:lnTo>
                    <a:pt x="76" y="0"/>
                  </a:lnTo>
                  <a:lnTo>
                    <a:pt x="97" y="12"/>
                  </a:lnTo>
                  <a:lnTo>
                    <a:pt x="106" y="7"/>
                  </a:lnTo>
                  <a:lnTo>
                    <a:pt x="123" y="24"/>
                  </a:lnTo>
                  <a:lnTo>
                    <a:pt x="144" y="12"/>
                  </a:lnTo>
                  <a:lnTo>
                    <a:pt x="161" y="45"/>
                  </a:lnTo>
                  <a:lnTo>
                    <a:pt x="199" y="40"/>
                  </a:lnTo>
                  <a:lnTo>
                    <a:pt x="199" y="45"/>
                  </a:lnTo>
                  <a:lnTo>
                    <a:pt x="199" y="57"/>
                  </a:lnTo>
                  <a:lnTo>
                    <a:pt x="166" y="57"/>
                  </a:lnTo>
                  <a:lnTo>
                    <a:pt x="166" y="64"/>
                  </a:lnTo>
                  <a:lnTo>
                    <a:pt x="215" y="69"/>
                  </a:lnTo>
                  <a:lnTo>
                    <a:pt x="258" y="102"/>
                  </a:lnTo>
                  <a:lnTo>
                    <a:pt x="253" y="118"/>
                  </a:lnTo>
                  <a:lnTo>
                    <a:pt x="236" y="118"/>
                  </a:lnTo>
                  <a:lnTo>
                    <a:pt x="236" y="125"/>
                  </a:lnTo>
                  <a:lnTo>
                    <a:pt x="229" y="125"/>
                  </a:lnTo>
                  <a:lnTo>
                    <a:pt x="220" y="114"/>
                  </a:lnTo>
                  <a:lnTo>
                    <a:pt x="149" y="114"/>
                  </a:lnTo>
                  <a:lnTo>
                    <a:pt x="128" y="125"/>
                  </a:lnTo>
                  <a:lnTo>
                    <a:pt x="106" y="125"/>
                  </a:lnTo>
                  <a:lnTo>
                    <a:pt x="97" y="114"/>
                  </a:lnTo>
                  <a:lnTo>
                    <a:pt x="90" y="114"/>
                  </a:lnTo>
                  <a:lnTo>
                    <a:pt x="76" y="125"/>
                  </a:lnTo>
                  <a:lnTo>
                    <a:pt x="69" y="118"/>
                  </a:lnTo>
                  <a:lnTo>
                    <a:pt x="69" y="137"/>
                  </a:lnTo>
                  <a:lnTo>
                    <a:pt x="43" y="175"/>
                  </a:lnTo>
                  <a:lnTo>
                    <a:pt x="21" y="142"/>
                  </a:lnTo>
                  <a:lnTo>
                    <a:pt x="21" y="142"/>
                  </a:lnTo>
                  <a:lnTo>
                    <a:pt x="21" y="142"/>
                  </a:lnTo>
                  <a:close/>
                  <a:moveTo>
                    <a:pt x="38" y="182"/>
                  </a:moveTo>
                  <a:lnTo>
                    <a:pt x="38" y="175"/>
                  </a:lnTo>
                  <a:lnTo>
                    <a:pt x="38" y="175"/>
                  </a:lnTo>
                  <a:lnTo>
                    <a:pt x="38" y="182"/>
                  </a:lnTo>
                  <a:lnTo>
                    <a:pt x="38" y="182"/>
                  </a:lnTo>
                  <a:lnTo>
                    <a:pt x="38" y="182"/>
                  </a:lnTo>
                  <a:close/>
                </a:path>
              </a:pathLst>
            </a:custGeom>
            <a:solidFill>
              <a:schemeClr val="bg2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87" name="Freeform 429">
              <a:extLst>
                <a:ext uri="{FF2B5EF4-FFF2-40B4-BE49-F238E27FC236}">
                  <a16:creationId xmlns:a16="http://schemas.microsoft.com/office/drawing/2014/main" id="{9163F8D7-0472-4EAC-91D2-8CA7D492E3C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174623" y="2727211"/>
              <a:ext cx="176496" cy="70760"/>
            </a:xfrm>
            <a:custGeom>
              <a:avLst/>
              <a:gdLst>
                <a:gd name="T0" fmla="*/ 966 w 1150"/>
                <a:gd name="T1" fmla="*/ 40 h 461"/>
                <a:gd name="T2" fmla="*/ 999 w 1150"/>
                <a:gd name="T3" fmla="*/ 57 h 461"/>
                <a:gd name="T4" fmla="*/ 1068 w 1150"/>
                <a:gd name="T5" fmla="*/ 78 h 461"/>
                <a:gd name="T6" fmla="*/ 1096 w 1150"/>
                <a:gd name="T7" fmla="*/ 78 h 461"/>
                <a:gd name="T8" fmla="*/ 1122 w 1150"/>
                <a:gd name="T9" fmla="*/ 111 h 461"/>
                <a:gd name="T10" fmla="*/ 1150 w 1150"/>
                <a:gd name="T11" fmla="*/ 168 h 461"/>
                <a:gd name="T12" fmla="*/ 1089 w 1150"/>
                <a:gd name="T13" fmla="*/ 255 h 461"/>
                <a:gd name="T14" fmla="*/ 945 w 1150"/>
                <a:gd name="T15" fmla="*/ 338 h 461"/>
                <a:gd name="T16" fmla="*/ 928 w 1150"/>
                <a:gd name="T17" fmla="*/ 371 h 461"/>
                <a:gd name="T18" fmla="*/ 895 w 1150"/>
                <a:gd name="T19" fmla="*/ 437 h 461"/>
                <a:gd name="T20" fmla="*/ 841 w 1150"/>
                <a:gd name="T21" fmla="*/ 421 h 461"/>
                <a:gd name="T22" fmla="*/ 787 w 1150"/>
                <a:gd name="T23" fmla="*/ 421 h 461"/>
                <a:gd name="T24" fmla="*/ 782 w 1150"/>
                <a:gd name="T25" fmla="*/ 404 h 461"/>
                <a:gd name="T26" fmla="*/ 803 w 1150"/>
                <a:gd name="T27" fmla="*/ 383 h 461"/>
                <a:gd name="T28" fmla="*/ 820 w 1150"/>
                <a:gd name="T29" fmla="*/ 333 h 461"/>
                <a:gd name="T30" fmla="*/ 836 w 1150"/>
                <a:gd name="T31" fmla="*/ 243 h 461"/>
                <a:gd name="T32" fmla="*/ 810 w 1150"/>
                <a:gd name="T33" fmla="*/ 284 h 461"/>
                <a:gd name="T34" fmla="*/ 798 w 1150"/>
                <a:gd name="T35" fmla="*/ 293 h 461"/>
                <a:gd name="T36" fmla="*/ 765 w 1150"/>
                <a:gd name="T37" fmla="*/ 255 h 461"/>
                <a:gd name="T38" fmla="*/ 765 w 1150"/>
                <a:gd name="T39" fmla="*/ 201 h 461"/>
                <a:gd name="T40" fmla="*/ 772 w 1150"/>
                <a:gd name="T41" fmla="*/ 168 h 461"/>
                <a:gd name="T42" fmla="*/ 787 w 1150"/>
                <a:gd name="T43" fmla="*/ 144 h 461"/>
                <a:gd name="T44" fmla="*/ 820 w 1150"/>
                <a:gd name="T45" fmla="*/ 73 h 461"/>
                <a:gd name="T46" fmla="*/ 891 w 1150"/>
                <a:gd name="T47" fmla="*/ 17 h 461"/>
                <a:gd name="T48" fmla="*/ 907 w 1150"/>
                <a:gd name="T49" fmla="*/ 0 h 461"/>
                <a:gd name="T50" fmla="*/ 895 w 1150"/>
                <a:gd name="T51" fmla="*/ 0 h 461"/>
                <a:gd name="T52" fmla="*/ 891 w 1150"/>
                <a:gd name="T53" fmla="*/ 7 h 461"/>
                <a:gd name="T54" fmla="*/ 80 w 1150"/>
                <a:gd name="T55" fmla="*/ 73 h 461"/>
                <a:gd name="T56" fmla="*/ 80 w 1150"/>
                <a:gd name="T57" fmla="*/ 78 h 461"/>
                <a:gd name="T58" fmla="*/ 14 w 1150"/>
                <a:gd name="T59" fmla="*/ 172 h 461"/>
                <a:gd name="T60" fmla="*/ 31 w 1150"/>
                <a:gd name="T61" fmla="*/ 151 h 461"/>
                <a:gd name="T62" fmla="*/ 14 w 1150"/>
                <a:gd name="T63" fmla="*/ 106 h 461"/>
                <a:gd name="T64" fmla="*/ 31 w 1150"/>
                <a:gd name="T65" fmla="*/ 106 h 461"/>
                <a:gd name="T66" fmla="*/ 47 w 1150"/>
                <a:gd name="T67" fmla="*/ 144 h 461"/>
                <a:gd name="T68" fmla="*/ 31 w 1150"/>
                <a:gd name="T69" fmla="*/ 172 h 461"/>
                <a:gd name="T70" fmla="*/ 69 w 1150"/>
                <a:gd name="T71" fmla="*/ 128 h 461"/>
                <a:gd name="T72" fmla="*/ 69 w 1150"/>
                <a:gd name="T73" fmla="*/ 118 h 461"/>
                <a:gd name="T74" fmla="*/ 69 w 1150"/>
                <a:gd name="T75" fmla="*/ 128 h 461"/>
                <a:gd name="T76" fmla="*/ 0 w 1150"/>
                <a:gd name="T77" fmla="*/ 128 h 461"/>
                <a:gd name="T78" fmla="*/ 9 w 1150"/>
                <a:gd name="T79" fmla="*/ 135 h 461"/>
                <a:gd name="T80" fmla="*/ 97 w 1150"/>
                <a:gd name="T81" fmla="*/ 161 h 461"/>
                <a:gd name="T82" fmla="*/ 102 w 1150"/>
                <a:gd name="T83" fmla="*/ 144 h 461"/>
                <a:gd name="T84" fmla="*/ 97 w 1150"/>
                <a:gd name="T85" fmla="*/ 161 h 461"/>
                <a:gd name="T86" fmla="*/ 139 w 1150"/>
                <a:gd name="T87" fmla="*/ 168 h 461"/>
                <a:gd name="T88" fmla="*/ 151 w 1150"/>
                <a:gd name="T89" fmla="*/ 168 h 461"/>
                <a:gd name="T90" fmla="*/ 85 w 1150"/>
                <a:gd name="T91" fmla="*/ 201 h 461"/>
                <a:gd name="T92" fmla="*/ 85 w 1150"/>
                <a:gd name="T93" fmla="*/ 189 h 461"/>
                <a:gd name="T94" fmla="*/ 85 w 1150"/>
                <a:gd name="T95" fmla="*/ 201 h 461"/>
                <a:gd name="T96" fmla="*/ 803 w 1150"/>
                <a:gd name="T97" fmla="*/ 293 h 461"/>
                <a:gd name="T98" fmla="*/ 803 w 1150"/>
                <a:gd name="T99" fmla="*/ 317 h 4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50" h="461">
                  <a:moveTo>
                    <a:pt x="907" y="0"/>
                  </a:moveTo>
                  <a:lnTo>
                    <a:pt x="950" y="33"/>
                  </a:lnTo>
                  <a:lnTo>
                    <a:pt x="966" y="40"/>
                  </a:lnTo>
                  <a:lnTo>
                    <a:pt x="983" y="40"/>
                  </a:lnTo>
                  <a:lnTo>
                    <a:pt x="983" y="50"/>
                  </a:lnTo>
                  <a:lnTo>
                    <a:pt x="999" y="57"/>
                  </a:lnTo>
                  <a:lnTo>
                    <a:pt x="1004" y="73"/>
                  </a:lnTo>
                  <a:lnTo>
                    <a:pt x="1058" y="90"/>
                  </a:lnTo>
                  <a:lnTo>
                    <a:pt x="1068" y="78"/>
                  </a:lnTo>
                  <a:lnTo>
                    <a:pt x="1068" y="73"/>
                  </a:lnTo>
                  <a:lnTo>
                    <a:pt x="1080" y="73"/>
                  </a:lnTo>
                  <a:lnTo>
                    <a:pt x="1096" y="78"/>
                  </a:lnTo>
                  <a:lnTo>
                    <a:pt x="1113" y="95"/>
                  </a:lnTo>
                  <a:lnTo>
                    <a:pt x="1150" y="111"/>
                  </a:lnTo>
                  <a:lnTo>
                    <a:pt x="1122" y="111"/>
                  </a:lnTo>
                  <a:lnTo>
                    <a:pt x="1150" y="144"/>
                  </a:lnTo>
                  <a:lnTo>
                    <a:pt x="1150" y="151"/>
                  </a:lnTo>
                  <a:lnTo>
                    <a:pt x="1150" y="168"/>
                  </a:lnTo>
                  <a:lnTo>
                    <a:pt x="1143" y="168"/>
                  </a:lnTo>
                  <a:lnTo>
                    <a:pt x="1127" y="217"/>
                  </a:lnTo>
                  <a:lnTo>
                    <a:pt x="1089" y="255"/>
                  </a:lnTo>
                  <a:lnTo>
                    <a:pt x="1051" y="284"/>
                  </a:lnTo>
                  <a:lnTo>
                    <a:pt x="966" y="317"/>
                  </a:lnTo>
                  <a:lnTo>
                    <a:pt x="945" y="338"/>
                  </a:lnTo>
                  <a:lnTo>
                    <a:pt x="945" y="354"/>
                  </a:lnTo>
                  <a:lnTo>
                    <a:pt x="933" y="350"/>
                  </a:lnTo>
                  <a:lnTo>
                    <a:pt x="928" y="371"/>
                  </a:lnTo>
                  <a:lnTo>
                    <a:pt x="912" y="411"/>
                  </a:lnTo>
                  <a:lnTo>
                    <a:pt x="912" y="428"/>
                  </a:lnTo>
                  <a:lnTo>
                    <a:pt x="895" y="437"/>
                  </a:lnTo>
                  <a:lnTo>
                    <a:pt x="879" y="461"/>
                  </a:lnTo>
                  <a:lnTo>
                    <a:pt x="862" y="461"/>
                  </a:lnTo>
                  <a:lnTo>
                    <a:pt x="841" y="421"/>
                  </a:lnTo>
                  <a:lnTo>
                    <a:pt x="824" y="421"/>
                  </a:lnTo>
                  <a:lnTo>
                    <a:pt x="803" y="411"/>
                  </a:lnTo>
                  <a:lnTo>
                    <a:pt x="787" y="421"/>
                  </a:lnTo>
                  <a:lnTo>
                    <a:pt x="782" y="421"/>
                  </a:lnTo>
                  <a:lnTo>
                    <a:pt x="798" y="404"/>
                  </a:lnTo>
                  <a:lnTo>
                    <a:pt x="782" y="404"/>
                  </a:lnTo>
                  <a:lnTo>
                    <a:pt x="782" y="387"/>
                  </a:lnTo>
                  <a:lnTo>
                    <a:pt x="798" y="387"/>
                  </a:lnTo>
                  <a:lnTo>
                    <a:pt x="803" y="383"/>
                  </a:lnTo>
                  <a:lnTo>
                    <a:pt x="798" y="350"/>
                  </a:lnTo>
                  <a:lnTo>
                    <a:pt x="798" y="338"/>
                  </a:lnTo>
                  <a:lnTo>
                    <a:pt x="820" y="333"/>
                  </a:lnTo>
                  <a:lnTo>
                    <a:pt x="836" y="284"/>
                  </a:lnTo>
                  <a:lnTo>
                    <a:pt x="824" y="272"/>
                  </a:lnTo>
                  <a:lnTo>
                    <a:pt x="836" y="243"/>
                  </a:lnTo>
                  <a:lnTo>
                    <a:pt x="824" y="255"/>
                  </a:lnTo>
                  <a:lnTo>
                    <a:pt x="824" y="284"/>
                  </a:lnTo>
                  <a:lnTo>
                    <a:pt x="810" y="284"/>
                  </a:lnTo>
                  <a:lnTo>
                    <a:pt x="820" y="272"/>
                  </a:lnTo>
                  <a:lnTo>
                    <a:pt x="820" y="272"/>
                  </a:lnTo>
                  <a:lnTo>
                    <a:pt x="798" y="293"/>
                  </a:lnTo>
                  <a:lnTo>
                    <a:pt x="756" y="272"/>
                  </a:lnTo>
                  <a:lnTo>
                    <a:pt x="749" y="255"/>
                  </a:lnTo>
                  <a:lnTo>
                    <a:pt x="765" y="255"/>
                  </a:lnTo>
                  <a:lnTo>
                    <a:pt x="765" y="239"/>
                  </a:lnTo>
                  <a:lnTo>
                    <a:pt x="756" y="217"/>
                  </a:lnTo>
                  <a:lnTo>
                    <a:pt x="765" y="201"/>
                  </a:lnTo>
                  <a:lnTo>
                    <a:pt x="749" y="172"/>
                  </a:lnTo>
                  <a:lnTo>
                    <a:pt x="756" y="168"/>
                  </a:lnTo>
                  <a:lnTo>
                    <a:pt x="772" y="168"/>
                  </a:lnTo>
                  <a:lnTo>
                    <a:pt x="787" y="144"/>
                  </a:lnTo>
                  <a:lnTo>
                    <a:pt x="798" y="144"/>
                  </a:lnTo>
                  <a:lnTo>
                    <a:pt x="787" y="144"/>
                  </a:lnTo>
                  <a:lnTo>
                    <a:pt x="782" y="128"/>
                  </a:lnTo>
                  <a:lnTo>
                    <a:pt x="810" y="95"/>
                  </a:lnTo>
                  <a:lnTo>
                    <a:pt x="820" y="73"/>
                  </a:lnTo>
                  <a:lnTo>
                    <a:pt x="810" y="50"/>
                  </a:lnTo>
                  <a:lnTo>
                    <a:pt x="810" y="40"/>
                  </a:lnTo>
                  <a:lnTo>
                    <a:pt x="891" y="17"/>
                  </a:lnTo>
                  <a:lnTo>
                    <a:pt x="907" y="0"/>
                  </a:lnTo>
                  <a:lnTo>
                    <a:pt x="907" y="0"/>
                  </a:lnTo>
                  <a:lnTo>
                    <a:pt x="907" y="0"/>
                  </a:lnTo>
                  <a:close/>
                  <a:moveTo>
                    <a:pt x="891" y="7"/>
                  </a:moveTo>
                  <a:lnTo>
                    <a:pt x="891" y="7"/>
                  </a:lnTo>
                  <a:lnTo>
                    <a:pt x="895" y="0"/>
                  </a:lnTo>
                  <a:lnTo>
                    <a:pt x="891" y="7"/>
                  </a:lnTo>
                  <a:lnTo>
                    <a:pt x="891" y="7"/>
                  </a:lnTo>
                  <a:lnTo>
                    <a:pt x="891" y="7"/>
                  </a:lnTo>
                  <a:close/>
                  <a:moveTo>
                    <a:pt x="80" y="78"/>
                  </a:moveTo>
                  <a:lnTo>
                    <a:pt x="80" y="78"/>
                  </a:lnTo>
                  <a:lnTo>
                    <a:pt x="80" y="73"/>
                  </a:lnTo>
                  <a:lnTo>
                    <a:pt x="85" y="78"/>
                  </a:lnTo>
                  <a:lnTo>
                    <a:pt x="80" y="78"/>
                  </a:lnTo>
                  <a:lnTo>
                    <a:pt x="80" y="78"/>
                  </a:lnTo>
                  <a:lnTo>
                    <a:pt x="80" y="78"/>
                  </a:lnTo>
                  <a:close/>
                  <a:moveTo>
                    <a:pt x="31" y="172"/>
                  </a:moveTo>
                  <a:lnTo>
                    <a:pt x="14" y="172"/>
                  </a:lnTo>
                  <a:lnTo>
                    <a:pt x="9" y="168"/>
                  </a:lnTo>
                  <a:lnTo>
                    <a:pt x="26" y="151"/>
                  </a:lnTo>
                  <a:lnTo>
                    <a:pt x="31" y="151"/>
                  </a:lnTo>
                  <a:lnTo>
                    <a:pt x="43" y="144"/>
                  </a:lnTo>
                  <a:lnTo>
                    <a:pt x="14" y="118"/>
                  </a:lnTo>
                  <a:lnTo>
                    <a:pt x="14" y="106"/>
                  </a:lnTo>
                  <a:lnTo>
                    <a:pt x="0" y="106"/>
                  </a:lnTo>
                  <a:lnTo>
                    <a:pt x="14" y="90"/>
                  </a:lnTo>
                  <a:lnTo>
                    <a:pt x="31" y="106"/>
                  </a:lnTo>
                  <a:lnTo>
                    <a:pt x="31" y="118"/>
                  </a:lnTo>
                  <a:lnTo>
                    <a:pt x="47" y="128"/>
                  </a:lnTo>
                  <a:lnTo>
                    <a:pt x="47" y="144"/>
                  </a:lnTo>
                  <a:lnTo>
                    <a:pt x="52" y="151"/>
                  </a:lnTo>
                  <a:lnTo>
                    <a:pt x="47" y="168"/>
                  </a:lnTo>
                  <a:lnTo>
                    <a:pt x="31" y="172"/>
                  </a:lnTo>
                  <a:lnTo>
                    <a:pt x="31" y="172"/>
                  </a:lnTo>
                  <a:lnTo>
                    <a:pt x="31" y="172"/>
                  </a:lnTo>
                  <a:close/>
                  <a:moveTo>
                    <a:pt x="69" y="128"/>
                  </a:moveTo>
                  <a:lnTo>
                    <a:pt x="52" y="128"/>
                  </a:lnTo>
                  <a:lnTo>
                    <a:pt x="52" y="111"/>
                  </a:lnTo>
                  <a:lnTo>
                    <a:pt x="69" y="118"/>
                  </a:lnTo>
                  <a:lnTo>
                    <a:pt x="80" y="118"/>
                  </a:lnTo>
                  <a:lnTo>
                    <a:pt x="69" y="128"/>
                  </a:lnTo>
                  <a:lnTo>
                    <a:pt x="69" y="128"/>
                  </a:lnTo>
                  <a:lnTo>
                    <a:pt x="69" y="128"/>
                  </a:lnTo>
                  <a:close/>
                  <a:moveTo>
                    <a:pt x="9" y="135"/>
                  </a:moveTo>
                  <a:lnTo>
                    <a:pt x="0" y="128"/>
                  </a:lnTo>
                  <a:lnTo>
                    <a:pt x="9" y="118"/>
                  </a:lnTo>
                  <a:lnTo>
                    <a:pt x="14" y="135"/>
                  </a:lnTo>
                  <a:lnTo>
                    <a:pt x="9" y="135"/>
                  </a:lnTo>
                  <a:lnTo>
                    <a:pt x="9" y="135"/>
                  </a:lnTo>
                  <a:lnTo>
                    <a:pt x="9" y="135"/>
                  </a:lnTo>
                  <a:close/>
                  <a:moveTo>
                    <a:pt x="97" y="161"/>
                  </a:moveTo>
                  <a:lnTo>
                    <a:pt x="80" y="151"/>
                  </a:lnTo>
                  <a:lnTo>
                    <a:pt x="80" y="135"/>
                  </a:lnTo>
                  <a:lnTo>
                    <a:pt x="102" y="144"/>
                  </a:lnTo>
                  <a:lnTo>
                    <a:pt x="102" y="151"/>
                  </a:lnTo>
                  <a:lnTo>
                    <a:pt x="97" y="161"/>
                  </a:lnTo>
                  <a:lnTo>
                    <a:pt x="97" y="161"/>
                  </a:lnTo>
                  <a:lnTo>
                    <a:pt x="97" y="161"/>
                  </a:lnTo>
                  <a:close/>
                  <a:moveTo>
                    <a:pt x="151" y="168"/>
                  </a:moveTo>
                  <a:lnTo>
                    <a:pt x="139" y="168"/>
                  </a:lnTo>
                  <a:lnTo>
                    <a:pt x="172" y="151"/>
                  </a:lnTo>
                  <a:lnTo>
                    <a:pt x="156" y="168"/>
                  </a:lnTo>
                  <a:lnTo>
                    <a:pt x="151" y="168"/>
                  </a:lnTo>
                  <a:lnTo>
                    <a:pt x="151" y="168"/>
                  </a:lnTo>
                  <a:lnTo>
                    <a:pt x="151" y="168"/>
                  </a:lnTo>
                  <a:close/>
                  <a:moveTo>
                    <a:pt x="85" y="201"/>
                  </a:moveTo>
                  <a:lnTo>
                    <a:pt x="80" y="189"/>
                  </a:lnTo>
                  <a:lnTo>
                    <a:pt x="80" y="189"/>
                  </a:lnTo>
                  <a:lnTo>
                    <a:pt x="85" y="189"/>
                  </a:lnTo>
                  <a:lnTo>
                    <a:pt x="85" y="201"/>
                  </a:lnTo>
                  <a:lnTo>
                    <a:pt x="85" y="201"/>
                  </a:lnTo>
                  <a:lnTo>
                    <a:pt x="85" y="201"/>
                  </a:lnTo>
                  <a:close/>
                  <a:moveTo>
                    <a:pt x="803" y="317"/>
                  </a:moveTo>
                  <a:lnTo>
                    <a:pt x="798" y="317"/>
                  </a:lnTo>
                  <a:lnTo>
                    <a:pt x="803" y="293"/>
                  </a:lnTo>
                  <a:lnTo>
                    <a:pt x="820" y="293"/>
                  </a:lnTo>
                  <a:lnTo>
                    <a:pt x="824" y="293"/>
                  </a:lnTo>
                  <a:lnTo>
                    <a:pt x="803" y="317"/>
                  </a:lnTo>
                  <a:lnTo>
                    <a:pt x="803" y="317"/>
                  </a:lnTo>
                  <a:lnTo>
                    <a:pt x="803" y="317"/>
                  </a:lnTo>
                  <a:close/>
                </a:path>
              </a:pathLst>
            </a:custGeom>
            <a:solidFill>
              <a:schemeClr val="bg2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88" name="Freeform 430">
              <a:extLst>
                <a:ext uri="{FF2B5EF4-FFF2-40B4-BE49-F238E27FC236}">
                  <a16:creationId xmlns:a16="http://schemas.microsoft.com/office/drawing/2014/main" id="{7F6FA5A6-78A2-431D-8A49-F807E8D19653}"/>
                </a:ext>
              </a:extLst>
            </p:cNvPr>
            <p:cNvSpPr>
              <a:spLocks/>
            </p:cNvSpPr>
            <p:nvPr/>
          </p:nvSpPr>
          <p:spPr bwMode="gray">
            <a:xfrm>
              <a:off x="6427900" y="2380933"/>
              <a:ext cx="129840" cy="113891"/>
            </a:xfrm>
            <a:custGeom>
              <a:avLst/>
              <a:gdLst>
                <a:gd name="T0" fmla="*/ 468 w 846"/>
                <a:gd name="T1" fmla="*/ 742 h 742"/>
                <a:gd name="T2" fmla="*/ 468 w 846"/>
                <a:gd name="T3" fmla="*/ 725 h 742"/>
                <a:gd name="T4" fmla="*/ 17 w 846"/>
                <a:gd name="T5" fmla="*/ 742 h 742"/>
                <a:gd name="T6" fmla="*/ 17 w 846"/>
                <a:gd name="T7" fmla="*/ 189 h 742"/>
                <a:gd name="T8" fmla="*/ 17 w 846"/>
                <a:gd name="T9" fmla="*/ 66 h 742"/>
                <a:gd name="T10" fmla="*/ 31 w 846"/>
                <a:gd name="T11" fmla="*/ 0 h 742"/>
                <a:gd name="T12" fmla="*/ 38 w 846"/>
                <a:gd name="T13" fmla="*/ 10 h 742"/>
                <a:gd name="T14" fmla="*/ 177 w 846"/>
                <a:gd name="T15" fmla="*/ 21 h 742"/>
                <a:gd name="T16" fmla="*/ 198 w 846"/>
                <a:gd name="T17" fmla="*/ 38 h 742"/>
                <a:gd name="T18" fmla="*/ 224 w 846"/>
                <a:gd name="T19" fmla="*/ 45 h 742"/>
                <a:gd name="T20" fmla="*/ 300 w 846"/>
                <a:gd name="T21" fmla="*/ 62 h 742"/>
                <a:gd name="T22" fmla="*/ 371 w 846"/>
                <a:gd name="T23" fmla="*/ 21 h 742"/>
                <a:gd name="T24" fmla="*/ 387 w 846"/>
                <a:gd name="T25" fmla="*/ 29 h 742"/>
                <a:gd name="T26" fmla="*/ 404 w 846"/>
                <a:gd name="T27" fmla="*/ 10 h 742"/>
                <a:gd name="T28" fmla="*/ 409 w 846"/>
                <a:gd name="T29" fmla="*/ 21 h 742"/>
                <a:gd name="T30" fmla="*/ 446 w 846"/>
                <a:gd name="T31" fmla="*/ 10 h 742"/>
                <a:gd name="T32" fmla="*/ 480 w 846"/>
                <a:gd name="T33" fmla="*/ 10 h 742"/>
                <a:gd name="T34" fmla="*/ 522 w 846"/>
                <a:gd name="T35" fmla="*/ 29 h 742"/>
                <a:gd name="T36" fmla="*/ 494 w 846"/>
                <a:gd name="T37" fmla="*/ 29 h 742"/>
                <a:gd name="T38" fmla="*/ 510 w 846"/>
                <a:gd name="T39" fmla="*/ 29 h 742"/>
                <a:gd name="T40" fmla="*/ 532 w 846"/>
                <a:gd name="T41" fmla="*/ 38 h 742"/>
                <a:gd name="T42" fmla="*/ 555 w 846"/>
                <a:gd name="T43" fmla="*/ 45 h 742"/>
                <a:gd name="T44" fmla="*/ 586 w 846"/>
                <a:gd name="T45" fmla="*/ 45 h 742"/>
                <a:gd name="T46" fmla="*/ 628 w 846"/>
                <a:gd name="T47" fmla="*/ 38 h 742"/>
                <a:gd name="T48" fmla="*/ 673 w 846"/>
                <a:gd name="T49" fmla="*/ 29 h 742"/>
                <a:gd name="T50" fmla="*/ 699 w 846"/>
                <a:gd name="T51" fmla="*/ 177 h 742"/>
                <a:gd name="T52" fmla="*/ 678 w 846"/>
                <a:gd name="T53" fmla="*/ 260 h 742"/>
                <a:gd name="T54" fmla="*/ 661 w 846"/>
                <a:gd name="T55" fmla="*/ 305 h 742"/>
                <a:gd name="T56" fmla="*/ 591 w 846"/>
                <a:gd name="T57" fmla="*/ 244 h 742"/>
                <a:gd name="T58" fmla="*/ 565 w 846"/>
                <a:gd name="T59" fmla="*/ 170 h 742"/>
                <a:gd name="T60" fmla="*/ 532 w 846"/>
                <a:gd name="T61" fmla="*/ 166 h 742"/>
                <a:gd name="T62" fmla="*/ 555 w 846"/>
                <a:gd name="T63" fmla="*/ 222 h 742"/>
                <a:gd name="T64" fmla="*/ 619 w 846"/>
                <a:gd name="T65" fmla="*/ 288 h 742"/>
                <a:gd name="T66" fmla="*/ 607 w 846"/>
                <a:gd name="T67" fmla="*/ 298 h 742"/>
                <a:gd name="T68" fmla="*/ 640 w 846"/>
                <a:gd name="T69" fmla="*/ 343 h 742"/>
                <a:gd name="T70" fmla="*/ 645 w 846"/>
                <a:gd name="T71" fmla="*/ 388 h 742"/>
                <a:gd name="T72" fmla="*/ 725 w 846"/>
                <a:gd name="T73" fmla="*/ 553 h 742"/>
                <a:gd name="T74" fmla="*/ 754 w 846"/>
                <a:gd name="T75" fmla="*/ 598 h 742"/>
                <a:gd name="T76" fmla="*/ 763 w 846"/>
                <a:gd name="T77" fmla="*/ 671 h 742"/>
                <a:gd name="T78" fmla="*/ 801 w 846"/>
                <a:gd name="T79" fmla="*/ 692 h 742"/>
                <a:gd name="T80" fmla="*/ 846 w 846"/>
                <a:gd name="T81" fmla="*/ 742 h 742"/>
                <a:gd name="T82" fmla="*/ 846 w 846"/>
                <a:gd name="T83" fmla="*/ 742 h 7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846" h="742">
                  <a:moveTo>
                    <a:pt x="846" y="742"/>
                  </a:moveTo>
                  <a:lnTo>
                    <a:pt x="468" y="742"/>
                  </a:lnTo>
                  <a:lnTo>
                    <a:pt x="480" y="737"/>
                  </a:lnTo>
                  <a:lnTo>
                    <a:pt x="468" y="725"/>
                  </a:lnTo>
                  <a:lnTo>
                    <a:pt x="458" y="742"/>
                  </a:lnTo>
                  <a:lnTo>
                    <a:pt x="17" y="742"/>
                  </a:lnTo>
                  <a:lnTo>
                    <a:pt x="17" y="314"/>
                  </a:lnTo>
                  <a:lnTo>
                    <a:pt x="17" y="189"/>
                  </a:lnTo>
                  <a:lnTo>
                    <a:pt x="0" y="116"/>
                  </a:lnTo>
                  <a:lnTo>
                    <a:pt x="17" y="66"/>
                  </a:lnTo>
                  <a:lnTo>
                    <a:pt x="9" y="21"/>
                  </a:lnTo>
                  <a:lnTo>
                    <a:pt x="31" y="0"/>
                  </a:lnTo>
                  <a:lnTo>
                    <a:pt x="31" y="5"/>
                  </a:lnTo>
                  <a:lnTo>
                    <a:pt x="38" y="10"/>
                  </a:lnTo>
                  <a:lnTo>
                    <a:pt x="85" y="0"/>
                  </a:lnTo>
                  <a:lnTo>
                    <a:pt x="177" y="21"/>
                  </a:lnTo>
                  <a:lnTo>
                    <a:pt x="189" y="29"/>
                  </a:lnTo>
                  <a:lnTo>
                    <a:pt x="198" y="38"/>
                  </a:lnTo>
                  <a:lnTo>
                    <a:pt x="215" y="29"/>
                  </a:lnTo>
                  <a:lnTo>
                    <a:pt x="224" y="45"/>
                  </a:lnTo>
                  <a:lnTo>
                    <a:pt x="253" y="45"/>
                  </a:lnTo>
                  <a:lnTo>
                    <a:pt x="300" y="62"/>
                  </a:lnTo>
                  <a:lnTo>
                    <a:pt x="333" y="55"/>
                  </a:lnTo>
                  <a:lnTo>
                    <a:pt x="371" y="21"/>
                  </a:lnTo>
                  <a:lnTo>
                    <a:pt x="376" y="29"/>
                  </a:lnTo>
                  <a:lnTo>
                    <a:pt x="387" y="29"/>
                  </a:lnTo>
                  <a:lnTo>
                    <a:pt x="392" y="5"/>
                  </a:lnTo>
                  <a:lnTo>
                    <a:pt x="404" y="10"/>
                  </a:lnTo>
                  <a:lnTo>
                    <a:pt x="442" y="5"/>
                  </a:lnTo>
                  <a:lnTo>
                    <a:pt x="409" y="21"/>
                  </a:lnTo>
                  <a:lnTo>
                    <a:pt x="430" y="10"/>
                  </a:lnTo>
                  <a:lnTo>
                    <a:pt x="446" y="10"/>
                  </a:lnTo>
                  <a:lnTo>
                    <a:pt x="442" y="5"/>
                  </a:lnTo>
                  <a:lnTo>
                    <a:pt x="480" y="10"/>
                  </a:lnTo>
                  <a:lnTo>
                    <a:pt x="501" y="5"/>
                  </a:lnTo>
                  <a:lnTo>
                    <a:pt x="522" y="29"/>
                  </a:lnTo>
                  <a:lnTo>
                    <a:pt x="501" y="5"/>
                  </a:lnTo>
                  <a:lnTo>
                    <a:pt x="494" y="29"/>
                  </a:lnTo>
                  <a:lnTo>
                    <a:pt x="501" y="38"/>
                  </a:lnTo>
                  <a:lnTo>
                    <a:pt x="510" y="29"/>
                  </a:lnTo>
                  <a:lnTo>
                    <a:pt x="517" y="45"/>
                  </a:lnTo>
                  <a:lnTo>
                    <a:pt x="532" y="38"/>
                  </a:lnTo>
                  <a:lnTo>
                    <a:pt x="522" y="29"/>
                  </a:lnTo>
                  <a:lnTo>
                    <a:pt x="555" y="45"/>
                  </a:lnTo>
                  <a:lnTo>
                    <a:pt x="586" y="38"/>
                  </a:lnTo>
                  <a:lnTo>
                    <a:pt x="586" y="45"/>
                  </a:lnTo>
                  <a:lnTo>
                    <a:pt x="607" y="38"/>
                  </a:lnTo>
                  <a:lnTo>
                    <a:pt x="628" y="38"/>
                  </a:lnTo>
                  <a:lnTo>
                    <a:pt x="661" y="21"/>
                  </a:lnTo>
                  <a:lnTo>
                    <a:pt x="673" y="29"/>
                  </a:lnTo>
                  <a:lnTo>
                    <a:pt x="711" y="170"/>
                  </a:lnTo>
                  <a:lnTo>
                    <a:pt x="699" y="177"/>
                  </a:lnTo>
                  <a:lnTo>
                    <a:pt x="695" y="227"/>
                  </a:lnTo>
                  <a:lnTo>
                    <a:pt x="678" y="260"/>
                  </a:lnTo>
                  <a:lnTo>
                    <a:pt x="678" y="281"/>
                  </a:lnTo>
                  <a:lnTo>
                    <a:pt x="661" y="305"/>
                  </a:lnTo>
                  <a:lnTo>
                    <a:pt x="628" y="281"/>
                  </a:lnTo>
                  <a:lnTo>
                    <a:pt x="591" y="244"/>
                  </a:lnTo>
                  <a:lnTo>
                    <a:pt x="591" y="206"/>
                  </a:lnTo>
                  <a:lnTo>
                    <a:pt x="565" y="170"/>
                  </a:lnTo>
                  <a:lnTo>
                    <a:pt x="548" y="121"/>
                  </a:lnTo>
                  <a:lnTo>
                    <a:pt x="532" y="166"/>
                  </a:lnTo>
                  <a:lnTo>
                    <a:pt x="548" y="177"/>
                  </a:lnTo>
                  <a:lnTo>
                    <a:pt x="555" y="222"/>
                  </a:lnTo>
                  <a:lnTo>
                    <a:pt x="586" y="265"/>
                  </a:lnTo>
                  <a:lnTo>
                    <a:pt x="619" y="288"/>
                  </a:lnTo>
                  <a:lnTo>
                    <a:pt x="619" y="298"/>
                  </a:lnTo>
                  <a:lnTo>
                    <a:pt x="607" y="298"/>
                  </a:lnTo>
                  <a:lnTo>
                    <a:pt x="607" y="314"/>
                  </a:lnTo>
                  <a:lnTo>
                    <a:pt x="640" y="343"/>
                  </a:lnTo>
                  <a:lnTo>
                    <a:pt x="645" y="371"/>
                  </a:lnTo>
                  <a:lnTo>
                    <a:pt x="645" y="388"/>
                  </a:lnTo>
                  <a:lnTo>
                    <a:pt x="683" y="466"/>
                  </a:lnTo>
                  <a:lnTo>
                    <a:pt x="725" y="553"/>
                  </a:lnTo>
                  <a:lnTo>
                    <a:pt x="780" y="598"/>
                  </a:lnTo>
                  <a:lnTo>
                    <a:pt x="754" y="598"/>
                  </a:lnTo>
                  <a:lnTo>
                    <a:pt x="754" y="631"/>
                  </a:lnTo>
                  <a:lnTo>
                    <a:pt x="763" y="671"/>
                  </a:lnTo>
                  <a:lnTo>
                    <a:pt x="780" y="688"/>
                  </a:lnTo>
                  <a:lnTo>
                    <a:pt x="801" y="692"/>
                  </a:lnTo>
                  <a:lnTo>
                    <a:pt x="824" y="721"/>
                  </a:lnTo>
                  <a:lnTo>
                    <a:pt x="846" y="742"/>
                  </a:lnTo>
                  <a:lnTo>
                    <a:pt x="846" y="742"/>
                  </a:lnTo>
                  <a:lnTo>
                    <a:pt x="846" y="742"/>
                  </a:lnTo>
                  <a:close/>
                </a:path>
              </a:pathLst>
            </a:custGeom>
            <a:solidFill>
              <a:schemeClr val="bg2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89" name="Freeform 431">
              <a:extLst>
                <a:ext uri="{FF2B5EF4-FFF2-40B4-BE49-F238E27FC236}">
                  <a16:creationId xmlns:a16="http://schemas.microsoft.com/office/drawing/2014/main" id="{B9D2BE03-05E5-4886-B79E-AB049A1FCBE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049124" y="2058293"/>
              <a:ext cx="46656" cy="59094"/>
            </a:xfrm>
            <a:custGeom>
              <a:avLst/>
              <a:gdLst>
                <a:gd name="T0" fmla="*/ 198 w 304"/>
                <a:gd name="T1" fmla="*/ 59 h 385"/>
                <a:gd name="T2" fmla="*/ 193 w 304"/>
                <a:gd name="T3" fmla="*/ 75 h 385"/>
                <a:gd name="T4" fmla="*/ 181 w 304"/>
                <a:gd name="T5" fmla="*/ 116 h 385"/>
                <a:gd name="T6" fmla="*/ 236 w 304"/>
                <a:gd name="T7" fmla="*/ 92 h 385"/>
                <a:gd name="T8" fmla="*/ 288 w 304"/>
                <a:gd name="T9" fmla="*/ 125 h 385"/>
                <a:gd name="T10" fmla="*/ 283 w 304"/>
                <a:gd name="T11" fmla="*/ 132 h 385"/>
                <a:gd name="T12" fmla="*/ 304 w 304"/>
                <a:gd name="T13" fmla="*/ 182 h 385"/>
                <a:gd name="T14" fmla="*/ 304 w 304"/>
                <a:gd name="T15" fmla="*/ 220 h 385"/>
                <a:gd name="T16" fmla="*/ 288 w 304"/>
                <a:gd name="T17" fmla="*/ 264 h 385"/>
                <a:gd name="T18" fmla="*/ 274 w 304"/>
                <a:gd name="T19" fmla="*/ 298 h 385"/>
                <a:gd name="T20" fmla="*/ 283 w 304"/>
                <a:gd name="T21" fmla="*/ 314 h 385"/>
                <a:gd name="T22" fmla="*/ 236 w 304"/>
                <a:gd name="T23" fmla="*/ 298 h 385"/>
                <a:gd name="T24" fmla="*/ 198 w 304"/>
                <a:gd name="T25" fmla="*/ 319 h 385"/>
                <a:gd name="T26" fmla="*/ 181 w 304"/>
                <a:gd name="T27" fmla="*/ 331 h 385"/>
                <a:gd name="T28" fmla="*/ 160 w 304"/>
                <a:gd name="T29" fmla="*/ 347 h 385"/>
                <a:gd name="T30" fmla="*/ 155 w 304"/>
                <a:gd name="T31" fmla="*/ 335 h 385"/>
                <a:gd name="T32" fmla="*/ 144 w 304"/>
                <a:gd name="T33" fmla="*/ 335 h 385"/>
                <a:gd name="T34" fmla="*/ 122 w 304"/>
                <a:gd name="T35" fmla="*/ 368 h 385"/>
                <a:gd name="T36" fmla="*/ 70 w 304"/>
                <a:gd name="T37" fmla="*/ 373 h 385"/>
                <a:gd name="T38" fmla="*/ 59 w 304"/>
                <a:gd name="T39" fmla="*/ 368 h 385"/>
                <a:gd name="T40" fmla="*/ 70 w 304"/>
                <a:gd name="T41" fmla="*/ 364 h 385"/>
                <a:gd name="T42" fmla="*/ 21 w 304"/>
                <a:gd name="T43" fmla="*/ 368 h 385"/>
                <a:gd name="T44" fmla="*/ 21 w 304"/>
                <a:gd name="T45" fmla="*/ 352 h 385"/>
                <a:gd name="T46" fmla="*/ 4 w 304"/>
                <a:gd name="T47" fmla="*/ 352 h 385"/>
                <a:gd name="T48" fmla="*/ 16 w 304"/>
                <a:gd name="T49" fmla="*/ 331 h 385"/>
                <a:gd name="T50" fmla="*/ 0 w 304"/>
                <a:gd name="T51" fmla="*/ 319 h 385"/>
                <a:gd name="T52" fmla="*/ 21 w 304"/>
                <a:gd name="T53" fmla="*/ 298 h 385"/>
                <a:gd name="T54" fmla="*/ 49 w 304"/>
                <a:gd name="T55" fmla="*/ 290 h 385"/>
                <a:gd name="T56" fmla="*/ 113 w 304"/>
                <a:gd name="T57" fmla="*/ 264 h 385"/>
                <a:gd name="T58" fmla="*/ 92 w 304"/>
                <a:gd name="T59" fmla="*/ 264 h 385"/>
                <a:gd name="T60" fmla="*/ 70 w 304"/>
                <a:gd name="T61" fmla="*/ 253 h 385"/>
                <a:gd name="T62" fmla="*/ 70 w 304"/>
                <a:gd name="T63" fmla="*/ 236 h 385"/>
                <a:gd name="T64" fmla="*/ 106 w 304"/>
                <a:gd name="T65" fmla="*/ 220 h 385"/>
                <a:gd name="T66" fmla="*/ 59 w 304"/>
                <a:gd name="T67" fmla="*/ 208 h 385"/>
                <a:gd name="T68" fmla="*/ 49 w 304"/>
                <a:gd name="T69" fmla="*/ 203 h 385"/>
                <a:gd name="T70" fmla="*/ 49 w 304"/>
                <a:gd name="T71" fmla="*/ 187 h 385"/>
                <a:gd name="T72" fmla="*/ 16 w 304"/>
                <a:gd name="T73" fmla="*/ 182 h 385"/>
                <a:gd name="T74" fmla="*/ 37 w 304"/>
                <a:gd name="T75" fmla="*/ 170 h 385"/>
                <a:gd name="T76" fmla="*/ 59 w 304"/>
                <a:gd name="T77" fmla="*/ 153 h 385"/>
                <a:gd name="T78" fmla="*/ 37 w 304"/>
                <a:gd name="T79" fmla="*/ 149 h 385"/>
                <a:gd name="T80" fmla="*/ 49 w 304"/>
                <a:gd name="T81" fmla="*/ 142 h 385"/>
                <a:gd name="T82" fmla="*/ 21 w 304"/>
                <a:gd name="T83" fmla="*/ 125 h 385"/>
                <a:gd name="T84" fmla="*/ 33 w 304"/>
                <a:gd name="T85" fmla="*/ 99 h 385"/>
                <a:gd name="T86" fmla="*/ 49 w 304"/>
                <a:gd name="T87" fmla="*/ 99 h 385"/>
                <a:gd name="T88" fmla="*/ 92 w 304"/>
                <a:gd name="T89" fmla="*/ 116 h 385"/>
                <a:gd name="T90" fmla="*/ 139 w 304"/>
                <a:gd name="T91" fmla="*/ 109 h 385"/>
                <a:gd name="T92" fmla="*/ 155 w 304"/>
                <a:gd name="T93" fmla="*/ 87 h 385"/>
                <a:gd name="T94" fmla="*/ 127 w 304"/>
                <a:gd name="T95" fmla="*/ 75 h 385"/>
                <a:gd name="T96" fmla="*/ 144 w 304"/>
                <a:gd name="T97" fmla="*/ 42 h 385"/>
                <a:gd name="T98" fmla="*/ 144 w 304"/>
                <a:gd name="T99" fmla="*/ 38 h 385"/>
                <a:gd name="T100" fmla="*/ 144 w 304"/>
                <a:gd name="T101" fmla="*/ 21 h 385"/>
                <a:gd name="T102" fmla="*/ 193 w 304"/>
                <a:gd name="T103" fmla="*/ 33 h 385"/>
                <a:gd name="T104" fmla="*/ 181 w 304"/>
                <a:gd name="T105" fmla="*/ 16 h 385"/>
                <a:gd name="T106" fmla="*/ 207 w 304"/>
                <a:gd name="T107" fmla="*/ 21 h 385"/>
                <a:gd name="T108" fmla="*/ 207 w 304"/>
                <a:gd name="T109" fmla="*/ 33 h 385"/>
                <a:gd name="T110" fmla="*/ 215 w 304"/>
                <a:gd name="T111" fmla="*/ 5 h 385"/>
                <a:gd name="T112" fmla="*/ 245 w 304"/>
                <a:gd name="T113" fmla="*/ 16 h 385"/>
                <a:gd name="T114" fmla="*/ 219 w 304"/>
                <a:gd name="T115" fmla="*/ 33 h 385"/>
                <a:gd name="T116" fmla="*/ 21 w 304"/>
                <a:gd name="T117" fmla="*/ 132 h 385"/>
                <a:gd name="T118" fmla="*/ 37 w 304"/>
                <a:gd name="T119" fmla="*/ 149 h 385"/>
                <a:gd name="T120" fmla="*/ 21 w 304"/>
                <a:gd name="T121" fmla="*/ 132 h 385"/>
                <a:gd name="T122" fmla="*/ 21 w 304"/>
                <a:gd name="T123" fmla="*/ 132 h 3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4" h="385">
                  <a:moveTo>
                    <a:pt x="219" y="33"/>
                  </a:moveTo>
                  <a:lnTo>
                    <a:pt x="198" y="59"/>
                  </a:lnTo>
                  <a:lnTo>
                    <a:pt x="177" y="71"/>
                  </a:lnTo>
                  <a:lnTo>
                    <a:pt x="193" y="75"/>
                  </a:lnTo>
                  <a:lnTo>
                    <a:pt x="160" y="92"/>
                  </a:lnTo>
                  <a:lnTo>
                    <a:pt x="181" y="116"/>
                  </a:lnTo>
                  <a:lnTo>
                    <a:pt x="219" y="125"/>
                  </a:lnTo>
                  <a:lnTo>
                    <a:pt x="236" y="92"/>
                  </a:lnTo>
                  <a:lnTo>
                    <a:pt x="266" y="132"/>
                  </a:lnTo>
                  <a:lnTo>
                    <a:pt x="288" y="125"/>
                  </a:lnTo>
                  <a:lnTo>
                    <a:pt x="304" y="132"/>
                  </a:lnTo>
                  <a:lnTo>
                    <a:pt x="283" y="132"/>
                  </a:lnTo>
                  <a:lnTo>
                    <a:pt x="283" y="142"/>
                  </a:lnTo>
                  <a:lnTo>
                    <a:pt x="304" y="182"/>
                  </a:lnTo>
                  <a:lnTo>
                    <a:pt x="288" y="198"/>
                  </a:lnTo>
                  <a:lnTo>
                    <a:pt x="304" y="220"/>
                  </a:lnTo>
                  <a:lnTo>
                    <a:pt x="304" y="236"/>
                  </a:lnTo>
                  <a:lnTo>
                    <a:pt x="288" y="264"/>
                  </a:lnTo>
                  <a:lnTo>
                    <a:pt x="300" y="274"/>
                  </a:lnTo>
                  <a:lnTo>
                    <a:pt x="274" y="298"/>
                  </a:lnTo>
                  <a:lnTo>
                    <a:pt x="288" y="307"/>
                  </a:lnTo>
                  <a:lnTo>
                    <a:pt x="283" y="314"/>
                  </a:lnTo>
                  <a:lnTo>
                    <a:pt x="245" y="314"/>
                  </a:lnTo>
                  <a:lnTo>
                    <a:pt x="236" y="298"/>
                  </a:lnTo>
                  <a:lnTo>
                    <a:pt x="236" y="314"/>
                  </a:lnTo>
                  <a:lnTo>
                    <a:pt x="198" y="319"/>
                  </a:lnTo>
                  <a:lnTo>
                    <a:pt x="198" y="331"/>
                  </a:lnTo>
                  <a:lnTo>
                    <a:pt x="181" y="331"/>
                  </a:lnTo>
                  <a:lnTo>
                    <a:pt x="177" y="335"/>
                  </a:lnTo>
                  <a:lnTo>
                    <a:pt x="160" y="347"/>
                  </a:lnTo>
                  <a:lnTo>
                    <a:pt x="155" y="347"/>
                  </a:lnTo>
                  <a:lnTo>
                    <a:pt x="155" y="335"/>
                  </a:lnTo>
                  <a:lnTo>
                    <a:pt x="139" y="335"/>
                  </a:lnTo>
                  <a:lnTo>
                    <a:pt x="144" y="335"/>
                  </a:lnTo>
                  <a:lnTo>
                    <a:pt x="144" y="352"/>
                  </a:lnTo>
                  <a:lnTo>
                    <a:pt x="122" y="368"/>
                  </a:lnTo>
                  <a:lnTo>
                    <a:pt x="85" y="373"/>
                  </a:lnTo>
                  <a:lnTo>
                    <a:pt x="70" y="373"/>
                  </a:lnTo>
                  <a:lnTo>
                    <a:pt x="49" y="385"/>
                  </a:lnTo>
                  <a:lnTo>
                    <a:pt x="59" y="368"/>
                  </a:lnTo>
                  <a:lnTo>
                    <a:pt x="49" y="368"/>
                  </a:lnTo>
                  <a:lnTo>
                    <a:pt x="70" y="364"/>
                  </a:lnTo>
                  <a:lnTo>
                    <a:pt x="59" y="352"/>
                  </a:lnTo>
                  <a:lnTo>
                    <a:pt x="21" y="368"/>
                  </a:lnTo>
                  <a:lnTo>
                    <a:pt x="59" y="335"/>
                  </a:lnTo>
                  <a:lnTo>
                    <a:pt x="21" y="352"/>
                  </a:lnTo>
                  <a:lnTo>
                    <a:pt x="16" y="347"/>
                  </a:lnTo>
                  <a:lnTo>
                    <a:pt x="4" y="352"/>
                  </a:lnTo>
                  <a:lnTo>
                    <a:pt x="4" y="335"/>
                  </a:lnTo>
                  <a:lnTo>
                    <a:pt x="16" y="331"/>
                  </a:lnTo>
                  <a:lnTo>
                    <a:pt x="49" y="314"/>
                  </a:lnTo>
                  <a:lnTo>
                    <a:pt x="0" y="319"/>
                  </a:lnTo>
                  <a:lnTo>
                    <a:pt x="0" y="314"/>
                  </a:lnTo>
                  <a:lnTo>
                    <a:pt x="21" y="298"/>
                  </a:lnTo>
                  <a:lnTo>
                    <a:pt x="49" y="307"/>
                  </a:lnTo>
                  <a:lnTo>
                    <a:pt x="49" y="290"/>
                  </a:lnTo>
                  <a:lnTo>
                    <a:pt x="54" y="274"/>
                  </a:lnTo>
                  <a:lnTo>
                    <a:pt x="113" y="264"/>
                  </a:lnTo>
                  <a:lnTo>
                    <a:pt x="101" y="257"/>
                  </a:lnTo>
                  <a:lnTo>
                    <a:pt x="92" y="264"/>
                  </a:lnTo>
                  <a:lnTo>
                    <a:pt x="37" y="274"/>
                  </a:lnTo>
                  <a:lnTo>
                    <a:pt x="70" y="253"/>
                  </a:lnTo>
                  <a:lnTo>
                    <a:pt x="75" y="241"/>
                  </a:lnTo>
                  <a:lnTo>
                    <a:pt x="70" y="236"/>
                  </a:lnTo>
                  <a:lnTo>
                    <a:pt x="85" y="220"/>
                  </a:lnTo>
                  <a:lnTo>
                    <a:pt x="106" y="220"/>
                  </a:lnTo>
                  <a:lnTo>
                    <a:pt x="106" y="203"/>
                  </a:lnTo>
                  <a:lnTo>
                    <a:pt x="59" y="208"/>
                  </a:lnTo>
                  <a:lnTo>
                    <a:pt x="59" y="198"/>
                  </a:lnTo>
                  <a:lnTo>
                    <a:pt x="49" y="203"/>
                  </a:lnTo>
                  <a:lnTo>
                    <a:pt x="37" y="203"/>
                  </a:lnTo>
                  <a:lnTo>
                    <a:pt x="49" y="187"/>
                  </a:lnTo>
                  <a:lnTo>
                    <a:pt x="21" y="198"/>
                  </a:lnTo>
                  <a:lnTo>
                    <a:pt x="16" y="182"/>
                  </a:lnTo>
                  <a:lnTo>
                    <a:pt x="54" y="170"/>
                  </a:lnTo>
                  <a:lnTo>
                    <a:pt x="37" y="170"/>
                  </a:lnTo>
                  <a:lnTo>
                    <a:pt x="37" y="153"/>
                  </a:lnTo>
                  <a:lnTo>
                    <a:pt x="59" y="153"/>
                  </a:lnTo>
                  <a:lnTo>
                    <a:pt x="59" y="149"/>
                  </a:lnTo>
                  <a:lnTo>
                    <a:pt x="37" y="149"/>
                  </a:lnTo>
                  <a:lnTo>
                    <a:pt x="37" y="142"/>
                  </a:lnTo>
                  <a:lnTo>
                    <a:pt x="49" y="142"/>
                  </a:lnTo>
                  <a:lnTo>
                    <a:pt x="33" y="109"/>
                  </a:lnTo>
                  <a:lnTo>
                    <a:pt x="21" y="125"/>
                  </a:lnTo>
                  <a:lnTo>
                    <a:pt x="21" y="109"/>
                  </a:lnTo>
                  <a:lnTo>
                    <a:pt x="33" y="99"/>
                  </a:lnTo>
                  <a:lnTo>
                    <a:pt x="37" y="116"/>
                  </a:lnTo>
                  <a:lnTo>
                    <a:pt x="49" y="99"/>
                  </a:lnTo>
                  <a:lnTo>
                    <a:pt x="75" y="99"/>
                  </a:lnTo>
                  <a:lnTo>
                    <a:pt x="92" y="116"/>
                  </a:lnTo>
                  <a:lnTo>
                    <a:pt x="101" y="109"/>
                  </a:lnTo>
                  <a:lnTo>
                    <a:pt x="139" y="109"/>
                  </a:lnTo>
                  <a:lnTo>
                    <a:pt x="122" y="99"/>
                  </a:lnTo>
                  <a:lnTo>
                    <a:pt x="155" y="87"/>
                  </a:lnTo>
                  <a:lnTo>
                    <a:pt x="160" y="71"/>
                  </a:lnTo>
                  <a:lnTo>
                    <a:pt x="127" y="75"/>
                  </a:lnTo>
                  <a:lnTo>
                    <a:pt x="113" y="71"/>
                  </a:lnTo>
                  <a:lnTo>
                    <a:pt x="144" y="42"/>
                  </a:lnTo>
                  <a:lnTo>
                    <a:pt x="139" y="38"/>
                  </a:lnTo>
                  <a:lnTo>
                    <a:pt x="144" y="38"/>
                  </a:lnTo>
                  <a:lnTo>
                    <a:pt x="139" y="38"/>
                  </a:lnTo>
                  <a:lnTo>
                    <a:pt x="144" y="21"/>
                  </a:lnTo>
                  <a:lnTo>
                    <a:pt x="181" y="16"/>
                  </a:lnTo>
                  <a:lnTo>
                    <a:pt x="193" y="33"/>
                  </a:lnTo>
                  <a:lnTo>
                    <a:pt x="193" y="16"/>
                  </a:lnTo>
                  <a:lnTo>
                    <a:pt x="181" y="16"/>
                  </a:lnTo>
                  <a:lnTo>
                    <a:pt x="193" y="5"/>
                  </a:lnTo>
                  <a:lnTo>
                    <a:pt x="207" y="21"/>
                  </a:lnTo>
                  <a:lnTo>
                    <a:pt x="193" y="38"/>
                  </a:lnTo>
                  <a:lnTo>
                    <a:pt x="207" y="33"/>
                  </a:lnTo>
                  <a:lnTo>
                    <a:pt x="198" y="16"/>
                  </a:lnTo>
                  <a:lnTo>
                    <a:pt x="215" y="5"/>
                  </a:lnTo>
                  <a:lnTo>
                    <a:pt x="215" y="0"/>
                  </a:lnTo>
                  <a:lnTo>
                    <a:pt x="245" y="16"/>
                  </a:lnTo>
                  <a:lnTo>
                    <a:pt x="219" y="33"/>
                  </a:lnTo>
                  <a:lnTo>
                    <a:pt x="219" y="33"/>
                  </a:lnTo>
                  <a:lnTo>
                    <a:pt x="219" y="33"/>
                  </a:lnTo>
                  <a:close/>
                  <a:moveTo>
                    <a:pt x="21" y="132"/>
                  </a:moveTo>
                  <a:lnTo>
                    <a:pt x="33" y="132"/>
                  </a:lnTo>
                  <a:lnTo>
                    <a:pt x="37" y="149"/>
                  </a:lnTo>
                  <a:lnTo>
                    <a:pt x="16" y="142"/>
                  </a:lnTo>
                  <a:lnTo>
                    <a:pt x="21" y="132"/>
                  </a:lnTo>
                  <a:lnTo>
                    <a:pt x="21" y="132"/>
                  </a:lnTo>
                  <a:lnTo>
                    <a:pt x="21" y="132"/>
                  </a:lnTo>
                  <a:close/>
                </a:path>
              </a:pathLst>
            </a:custGeom>
            <a:solidFill>
              <a:schemeClr val="bg2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90" name="Freeform 432">
              <a:extLst>
                <a:ext uri="{FF2B5EF4-FFF2-40B4-BE49-F238E27FC236}">
                  <a16:creationId xmlns:a16="http://schemas.microsoft.com/office/drawing/2014/main" id="{BB175E24-EC8F-4506-9A2C-DCF09B56C6B2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252785" y="2701424"/>
              <a:ext cx="30849" cy="30545"/>
            </a:xfrm>
            <a:custGeom>
              <a:avLst/>
              <a:gdLst>
                <a:gd name="T0" fmla="*/ 26 w 201"/>
                <a:gd name="T1" fmla="*/ 17 h 199"/>
                <a:gd name="T2" fmla="*/ 14 w 201"/>
                <a:gd name="T3" fmla="*/ 41 h 199"/>
                <a:gd name="T4" fmla="*/ 0 w 201"/>
                <a:gd name="T5" fmla="*/ 33 h 199"/>
                <a:gd name="T6" fmla="*/ 0 w 201"/>
                <a:gd name="T7" fmla="*/ 17 h 199"/>
                <a:gd name="T8" fmla="*/ 5 w 201"/>
                <a:gd name="T9" fmla="*/ 17 h 199"/>
                <a:gd name="T10" fmla="*/ 14 w 201"/>
                <a:gd name="T11" fmla="*/ 0 h 199"/>
                <a:gd name="T12" fmla="*/ 26 w 201"/>
                <a:gd name="T13" fmla="*/ 0 h 199"/>
                <a:gd name="T14" fmla="*/ 26 w 201"/>
                <a:gd name="T15" fmla="*/ 17 h 199"/>
                <a:gd name="T16" fmla="*/ 26 w 201"/>
                <a:gd name="T17" fmla="*/ 17 h 199"/>
                <a:gd name="T18" fmla="*/ 26 w 201"/>
                <a:gd name="T19" fmla="*/ 17 h 199"/>
                <a:gd name="T20" fmla="*/ 92 w 201"/>
                <a:gd name="T21" fmla="*/ 95 h 199"/>
                <a:gd name="T22" fmla="*/ 109 w 201"/>
                <a:gd name="T23" fmla="*/ 111 h 199"/>
                <a:gd name="T24" fmla="*/ 201 w 201"/>
                <a:gd name="T25" fmla="*/ 111 h 199"/>
                <a:gd name="T26" fmla="*/ 201 w 201"/>
                <a:gd name="T27" fmla="*/ 199 h 199"/>
                <a:gd name="T28" fmla="*/ 109 w 201"/>
                <a:gd name="T29" fmla="*/ 199 h 199"/>
                <a:gd name="T30" fmla="*/ 97 w 201"/>
                <a:gd name="T31" fmla="*/ 199 h 199"/>
                <a:gd name="T32" fmla="*/ 92 w 201"/>
                <a:gd name="T33" fmla="*/ 199 h 199"/>
                <a:gd name="T34" fmla="*/ 92 w 201"/>
                <a:gd name="T35" fmla="*/ 187 h 199"/>
                <a:gd name="T36" fmla="*/ 76 w 201"/>
                <a:gd name="T37" fmla="*/ 187 h 199"/>
                <a:gd name="T38" fmla="*/ 59 w 201"/>
                <a:gd name="T39" fmla="*/ 182 h 199"/>
                <a:gd name="T40" fmla="*/ 92 w 201"/>
                <a:gd name="T41" fmla="*/ 128 h 199"/>
                <a:gd name="T42" fmla="*/ 92 w 201"/>
                <a:gd name="T43" fmla="*/ 95 h 199"/>
                <a:gd name="T44" fmla="*/ 92 w 201"/>
                <a:gd name="T45" fmla="*/ 95 h 199"/>
                <a:gd name="T46" fmla="*/ 92 w 201"/>
                <a:gd name="T47" fmla="*/ 95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01" h="199">
                  <a:moveTo>
                    <a:pt x="26" y="17"/>
                  </a:moveTo>
                  <a:lnTo>
                    <a:pt x="14" y="41"/>
                  </a:lnTo>
                  <a:lnTo>
                    <a:pt x="0" y="33"/>
                  </a:lnTo>
                  <a:lnTo>
                    <a:pt x="0" y="17"/>
                  </a:lnTo>
                  <a:lnTo>
                    <a:pt x="5" y="17"/>
                  </a:lnTo>
                  <a:lnTo>
                    <a:pt x="14" y="0"/>
                  </a:lnTo>
                  <a:lnTo>
                    <a:pt x="26" y="0"/>
                  </a:lnTo>
                  <a:lnTo>
                    <a:pt x="26" y="17"/>
                  </a:lnTo>
                  <a:lnTo>
                    <a:pt x="26" y="17"/>
                  </a:lnTo>
                  <a:lnTo>
                    <a:pt x="26" y="17"/>
                  </a:lnTo>
                  <a:close/>
                  <a:moveTo>
                    <a:pt x="92" y="95"/>
                  </a:moveTo>
                  <a:lnTo>
                    <a:pt x="109" y="111"/>
                  </a:lnTo>
                  <a:lnTo>
                    <a:pt x="201" y="111"/>
                  </a:lnTo>
                  <a:lnTo>
                    <a:pt x="201" y="199"/>
                  </a:lnTo>
                  <a:lnTo>
                    <a:pt x="109" y="199"/>
                  </a:lnTo>
                  <a:lnTo>
                    <a:pt x="97" y="199"/>
                  </a:lnTo>
                  <a:lnTo>
                    <a:pt x="92" y="199"/>
                  </a:lnTo>
                  <a:lnTo>
                    <a:pt x="92" y="187"/>
                  </a:lnTo>
                  <a:lnTo>
                    <a:pt x="76" y="187"/>
                  </a:lnTo>
                  <a:lnTo>
                    <a:pt x="59" y="182"/>
                  </a:lnTo>
                  <a:lnTo>
                    <a:pt x="92" y="128"/>
                  </a:lnTo>
                  <a:lnTo>
                    <a:pt x="92" y="95"/>
                  </a:lnTo>
                  <a:lnTo>
                    <a:pt x="92" y="95"/>
                  </a:lnTo>
                  <a:lnTo>
                    <a:pt x="92" y="95"/>
                  </a:lnTo>
                  <a:close/>
                </a:path>
              </a:pathLst>
            </a:custGeom>
            <a:solidFill>
              <a:schemeClr val="bg2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91" name="Freeform 433">
              <a:extLst>
                <a:ext uri="{FF2B5EF4-FFF2-40B4-BE49-F238E27FC236}">
                  <a16:creationId xmlns:a16="http://schemas.microsoft.com/office/drawing/2014/main" id="{A9A423B8-39E9-45B0-A65D-079299F61D8E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396437" y="1990449"/>
              <a:ext cx="68143" cy="33461"/>
            </a:xfrm>
            <a:custGeom>
              <a:avLst/>
              <a:gdLst>
                <a:gd name="T0" fmla="*/ 359 w 444"/>
                <a:gd name="T1" fmla="*/ 208 h 218"/>
                <a:gd name="T2" fmla="*/ 295 w 444"/>
                <a:gd name="T3" fmla="*/ 184 h 218"/>
                <a:gd name="T4" fmla="*/ 240 w 444"/>
                <a:gd name="T5" fmla="*/ 168 h 218"/>
                <a:gd name="T6" fmla="*/ 177 w 444"/>
                <a:gd name="T7" fmla="*/ 184 h 218"/>
                <a:gd name="T8" fmla="*/ 177 w 444"/>
                <a:gd name="T9" fmla="*/ 130 h 218"/>
                <a:gd name="T10" fmla="*/ 132 w 444"/>
                <a:gd name="T11" fmla="*/ 130 h 218"/>
                <a:gd name="T12" fmla="*/ 122 w 444"/>
                <a:gd name="T13" fmla="*/ 97 h 218"/>
                <a:gd name="T14" fmla="*/ 111 w 444"/>
                <a:gd name="T15" fmla="*/ 88 h 218"/>
                <a:gd name="T16" fmla="*/ 127 w 444"/>
                <a:gd name="T17" fmla="*/ 71 h 218"/>
                <a:gd name="T18" fmla="*/ 127 w 444"/>
                <a:gd name="T19" fmla="*/ 71 h 218"/>
                <a:gd name="T20" fmla="*/ 111 w 444"/>
                <a:gd name="T21" fmla="*/ 43 h 218"/>
                <a:gd name="T22" fmla="*/ 160 w 444"/>
                <a:gd name="T23" fmla="*/ 21 h 218"/>
                <a:gd name="T24" fmla="*/ 177 w 444"/>
                <a:gd name="T25" fmla="*/ 14 h 218"/>
                <a:gd name="T26" fmla="*/ 203 w 444"/>
                <a:gd name="T27" fmla="*/ 5 h 218"/>
                <a:gd name="T28" fmla="*/ 257 w 444"/>
                <a:gd name="T29" fmla="*/ 0 h 218"/>
                <a:gd name="T30" fmla="*/ 274 w 444"/>
                <a:gd name="T31" fmla="*/ 0 h 218"/>
                <a:gd name="T32" fmla="*/ 418 w 444"/>
                <a:gd name="T33" fmla="*/ 21 h 218"/>
                <a:gd name="T34" fmla="*/ 444 w 444"/>
                <a:gd name="T35" fmla="*/ 26 h 218"/>
                <a:gd name="T36" fmla="*/ 429 w 444"/>
                <a:gd name="T37" fmla="*/ 38 h 218"/>
                <a:gd name="T38" fmla="*/ 392 w 444"/>
                <a:gd name="T39" fmla="*/ 88 h 218"/>
                <a:gd name="T40" fmla="*/ 396 w 444"/>
                <a:gd name="T41" fmla="*/ 147 h 218"/>
                <a:gd name="T42" fmla="*/ 396 w 444"/>
                <a:gd name="T43" fmla="*/ 184 h 218"/>
                <a:gd name="T44" fmla="*/ 392 w 444"/>
                <a:gd name="T45" fmla="*/ 218 h 218"/>
                <a:gd name="T46" fmla="*/ 52 w 444"/>
                <a:gd name="T47" fmla="*/ 97 h 218"/>
                <a:gd name="T48" fmla="*/ 35 w 444"/>
                <a:gd name="T49" fmla="*/ 76 h 218"/>
                <a:gd name="T50" fmla="*/ 35 w 444"/>
                <a:gd name="T51" fmla="*/ 71 h 218"/>
                <a:gd name="T52" fmla="*/ 73 w 444"/>
                <a:gd name="T53" fmla="*/ 71 h 218"/>
                <a:gd name="T54" fmla="*/ 68 w 444"/>
                <a:gd name="T55" fmla="*/ 88 h 218"/>
                <a:gd name="T56" fmla="*/ 52 w 444"/>
                <a:gd name="T57" fmla="*/ 97 h 218"/>
                <a:gd name="T58" fmla="*/ 96 w 444"/>
                <a:gd name="T59" fmla="*/ 59 h 218"/>
                <a:gd name="T60" fmla="*/ 89 w 444"/>
                <a:gd name="T61" fmla="*/ 71 h 218"/>
                <a:gd name="T62" fmla="*/ 96 w 444"/>
                <a:gd name="T63" fmla="*/ 59 h 218"/>
                <a:gd name="T64" fmla="*/ 96 w 444"/>
                <a:gd name="T65" fmla="*/ 59 h 218"/>
                <a:gd name="T66" fmla="*/ 111 w 444"/>
                <a:gd name="T67" fmla="*/ 114 h 218"/>
                <a:gd name="T68" fmla="*/ 96 w 444"/>
                <a:gd name="T69" fmla="*/ 97 h 218"/>
                <a:gd name="T70" fmla="*/ 96 w 444"/>
                <a:gd name="T71" fmla="*/ 97 h 218"/>
                <a:gd name="T72" fmla="*/ 14 w 444"/>
                <a:gd name="T73" fmla="*/ 168 h 218"/>
                <a:gd name="T74" fmla="*/ 4 w 444"/>
                <a:gd name="T75" fmla="*/ 142 h 218"/>
                <a:gd name="T76" fmla="*/ 0 w 444"/>
                <a:gd name="T77" fmla="*/ 114 h 218"/>
                <a:gd name="T78" fmla="*/ 106 w 444"/>
                <a:gd name="T79" fmla="*/ 125 h 218"/>
                <a:gd name="T80" fmla="*/ 68 w 444"/>
                <a:gd name="T81" fmla="*/ 147 h 218"/>
                <a:gd name="T82" fmla="*/ 26 w 444"/>
                <a:gd name="T83" fmla="*/ 168 h 218"/>
                <a:gd name="T84" fmla="*/ 14 w 444"/>
                <a:gd name="T85" fmla="*/ 180 h 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44" h="218">
                  <a:moveTo>
                    <a:pt x="392" y="218"/>
                  </a:moveTo>
                  <a:lnTo>
                    <a:pt x="359" y="208"/>
                  </a:lnTo>
                  <a:lnTo>
                    <a:pt x="326" y="218"/>
                  </a:lnTo>
                  <a:lnTo>
                    <a:pt x="295" y="184"/>
                  </a:lnTo>
                  <a:lnTo>
                    <a:pt x="240" y="163"/>
                  </a:lnTo>
                  <a:lnTo>
                    <a:pt x="240" y="168"/>
                  </a:lnTo>
                  <a:lnTo>
                    <a:pt x="229" y="163"/>
                  </a:lnTo>
                  <a:lnTo>
                    <a:pt x="177" y="184"/>
                  </a:lnTo>
                  <a:lnTo>
                    <a:pt x="186" y="142"/>
                  </a:lnTo>
                  <a:lnTo>
                    <a:pt x="177" y="130"/>
                  </a:lnTo>
                  <a:lnTo>
                    <a:pt x="160" y="147"/>
                  </a:lnTo>
                  <a:lnTo>
                    <a:pt x="132" y="130"/>
                  </a:lnTo>
                  <a:lnTo>
                    <a:pt x="122" y="109"/>
                  </a:lnTo>
                  <a:lnTo>
                    <a:pt x="122" y="97"/>
                  </a:lnTo>
                  <a:lnTo>
                    <a:pt x="144" y="92"/>
                  </a:lnTo>
                  <a:lnTo>
                    <a:pt x="111" y="88"/>
                  </a:lnTo>
                  <a:lnTo>
                    <a:pt x="111" y="76"/>
                  </a:lnTo>
                  <a:lnTo>
                    <a:pt x="127" y="71"/>
                  </a:lnTo>
                  <a:lnTo>
                    <a:pt x="122" y="59"/>
                  </a:lnTo>
                  <a:lnTo>
                    <a:pt x="127" y="71"/>
                  </a:lnTo>
                  <a:lnTo>
                    <a:pt x="111" y="59"/>
                  </a:lnTo>
                  <a:lnTo>
                    <a:pt x="111" y="43"/>
                  </a:lnTo>
                  <a:lnTo>
                    <a:pt x="148" y="38"/>
                  </a:lnTo>
                  <a:lnTo>
                    <a:pt x="160" y="21"/>
                  </a:lnTo>
                  <a:lnTo>
                    <a:pt x="165" y="26"/>
                  </a:lnTo>
                  <a:lnTo>
                    <a:pt x="177" y="14"/>
                  </a:lnTo>
                  <a:lnTo>
                    <a:pt x="203" y="21"/>
                  </a:lnTo>
                  <a:lnTo>
                    <a:pt x="203" y="5"/>
                  </a:lnTo>
                  <a:lnTo>
                    <a:pt x="252" y="14"/>
                  </a:lnTo>
                  <a:lnTo>
                    <a:pt x="257" y="0"/>
                  </a:lnTo>
                  <a:lnTo>
                    <a:pt x="266" y="5"/>
                  </a:lnTo>
                  <a:lnTo>
                    <a:pt x="274" y="0"/>
                  </a:lnTo>
                  <a:lnTo>
                    <a:pt x="359" y="21"/>
                  </a:lnTo>
                  <a:lnTo>
                    <a:pt x="418" y="21"/>
                  </a:lnTo>
                  <a:lnTo>
                    <a:pt x="434" y="14"/>
                  </a:lnTo>
                  <a:lnTo>
                    <a:pt x="444" y="26"/>
                  </a:lnTo>
                  <a:lnTo>
                    <a:pt x="444" y="38"/>
                  </a:lnTo>
                  <a:lnTo>
                    <a:pt x="429" y="38"/>
                  </a:lnTo>
                  <a:lnTo>
                    <a:pt x="418" y="59"/>
                  </a:lnTo>
                  <a:lnTo>
                    <a:pt x="392" y="88"/>
                  </a:lnTo>
                  <a:lnTo>
                    <a:pt x="396" y="130"/>
                  </a:lnTo>
                  <a:lnTo>
                    <a:pt x="396" y="147"/>
                  </a:lnTo>
                  <a:lnTo>
                    <a:pt x="418" y="184"/>
                  </a:lnTo>
                  <a:lnTo>
                    <a:pt x="396" y="184"/>
                  </a:lnTo>
                  <a:lnTo>
                    <a:pt x="392" y="218"/>
                  </a:lnTo>
                  <a:lnTo>
                    <a:pt x="392" y="218"/>
                  </a:lnTo>
                  <a:lnTo>
                    <a:pt x="392" y="218"/>
                  </a:lnTo>
                  <a:close/>
                  <a:moveTo>
                    <a:pt x="52" y="97"/>
                  </a:moveTo>
                  <a:lnTo>
                    <a:pt x="42" y="97"/>
                  </a:lnTo>
                  <a:lnTo>
                    <a:pt x="35" y="76"/>
                  </a:lnTo>
                  <a:lnTo>
                    <a:pt x="14" y="76"/>
                  </a:lnTo>
                  <a:lnTo>
                    <a:pt x="35" y="71"/>
                  </a:lnTo>
                  <a:lnTo>
                    <a:pt x="52" y="59"/>
                  </a:lnTo>
                  <a:lnTo>
                    <a:pt x="73" y="71"/>
                  </a:lnTo>
                  <a:lnTo>
                    <a:pt x="89" y="88"/>
                  </a:lnTo>
                  <a:lnTo>
                    <a:pt x="68" y="88"/>
                  </a:lnTo>
                  <a:lnTo>
                    <a:pt x="52" y="97"/>
                  </a:lnTo>
                  <a:lnTo>
                    <a:pt x="52" y="97"/>
                  </a:lnTo>
                  <a:lnTo>
                    <a:pt x="52" y="97"/>
                  </a:lnTo>
                  <a:close/>
                  <a:moveTo>
                    <a:pt x="96" y="59"/>
                  </a:moveTo>
                  <a:lnTo>
                    <a:pt x="111" y="71"/>
                  </a:lnTo>
                  <a:lnTo>
                    <a:pt x="89" y="71"/>
                  </a:lnTo>
                  <a:lnTo>
                    <a:pt x="89" y="59"/>
                  </a:lnTo>
                  <a:lnTo>
                    <a:pt x="96" y="59"/>
                  </a:lnTo>
                  <a:lnTo>
                    <a:pt x="96" y="59"/>
                  </a:lnTo>
                  <a:lnTo>
                    <a:pt x="96" y="59"/>
                  </a:lnTo>
                  <a:close/>
                  <a:moveTo>
                    <a:pt x="96" y="97"/>
                  </a:moveTo>
                  <a:lnTo>
                    <a:pt x="111" y="114"/>
                  </a:lnTo>
                  <a:lnTo>
                    <a:pt x="89" y="109"/>
                  </a:lnTo>
                  <a:lnTo>
                    <a:pt x="96" y="97"/>
                  </a:lnTo>
                  <a:lnTo>
                    <a:pt x="96" y="97"/>
                  </a:lnTo>
                  <a:lnTo>
                    <a:pt x="96" y="97"/>
                  </a:lnTo>
                  <a:close/>
                  <a:moveTo>
                    <a:pt x="14" y="180"/>
                  </a:moveTo>
                  <a:lnTo>
                    <a:pt x="14" y="168"/>
                  </a:lnTo>
                  <a:lnTo>
                    <a:pt x="26" y="151"/>
                  </a:lnTo>
                  <a:lnTo>
                    <a:pt x="4" y="142"/>
                  </a:lnTo>
                  <a:lnTo>
                    <a:pt x="14" y="130"/>
                  </a:lnTo>
                  <a:lnTo>
                    <a:pt x="0" y="114"/>
                  </a:lnTo>
                  <a:lnTo>
                    <a:pt x="73" y="109"/>
                  </a:lnTo>
                  <a:lnTo>
                    <a:pt x="106" y="125"/>
                  </a:lnTo>
                  <a:lnTo>
                    <a:pt x="89" y="125"/>
                  </a:lnTo>
                  <a:lnTo>
                    <a:pt x="68" y="147"/>
                  </a:lnTo>
                  <a:lnTo>
                    <a:pt x="35" y="151"/>
                  </a:lnTo>
                  <a:lnTo>
                    <a:pt x="26" y="168"/>
                  </a:lnTo>
                  <a:lnTo>
                    <a:pt x="14" y="180"/>
                  </a:lnTo>
                  <a:lnTo>
                    <a:pt x="14" y="180"/>
                  </a:lnTo>
                  <a:lnTo>
                    <a:pt x="14" y="180"/>
                  </a:lnTo>
                  <a:close/>
                </a:path>
              </a:pathLst>
            </a:custGeom>
            <a:solidFill>
              <a:schemeClr val="bg2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92" name="Freeform 434">
              <a:extLst>
                <a:ext uri="{FF2B5EF4-FFF2-40B4-BE49-F238E27FC236}">
                  <a16:creationId xmlns:a16="http://schemas.microsoft.com/office/drawing/2014/main" id="{DFC11444-83FF-43DF-B73A-AFA021CEDC9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553749" y="2540871"/>
              <a:ext cx="71673" cy="64467"/>
            </a:xfrm>
            <a:custGeom>
              <a:avLst/>
              <a:gdLst>
                <a:gd name="T0" fmla="*/ 446 w 467"/>
                <a:gd name="T1" fmla="*/ 404 h 420"/>
                <a:gd name="T2" fmla="*/ 434 w 467"/>
                <a:gd name="T3" fmla="*/ 420 h 420"/>
                <a:gd name="T4" fmla="*/ 413 w 467"/>
                <a:gd name="T5" fmla="*/ 416 h 420"/>
                <a:gd name="T6" fmla="*/ 380 w 467"/>
                <a:gd name="T7" fmla="*/ 383 h 420"/>
                <a:gd name="T8" fmla="*/ 338 w 467"/>
                <a:gd name="T9" fmla="*/ 326 h 420"/>
                <a:gd name="T10" fmla="*/ 269 w 467"/>
                <a:gd name="T11" fmla="*/ 260 h 420"/>
                <a:gd name="T12" fmla="*/ 215 w 467"/>
                <a:gd name="T13" fmla="*/ 255 h 420"/>
                <a:gd name="T14" fmla="*/ 182 w 467"/>
                <a:gd name="T15" fmla="*/ 250 h 420"/>
                <a:gd name="T16" fmla="*/ 144 w 467"/>
                <a:gd name="T17" fmla="*/ 272 h 420"/>
                <a:gd name="T18" fmla="*/ 113 w 467"/>
                <a:gd name="T19" fmla="*/ 250 h 420"/>
                <a:gd name="T20" fmla="*/ 80 w 467"/>
                <a:gd name="T21" fmla="*/ 293 h 420"/>
                <a:gd name="T22" fmla="*/ 52 w 467"/>
                <a:gd name="T23" fmla="*/ 272 h 420"/>
                <a:gd name="T24" fmla="*/ 26 w 467"/>
                <a:gd name="T25" fmla="*/ 272 h 420"/>
                <a:gd name="T26" fmla="*/ 0 w 467"/>
                <a:gd name="T27" fmla="*/ 217 h 420"/>
                <a:gd name="T28" fmla="*/ 26 w 467"/>
                <a:gd name="T29" fmla="*/ 111 h 420"/>
                <a:gd name="T30" fmla="*/ 38 w 467"/>
                <a:gd name="T31" fmla="*/ 73 h 420"/>
                <a:gd name="T32" fmla="*/ 75 w 467"/>
                <a:gd name="T33" fmla="*/ 57 h 420"/>
                <a:gd name="T34" fmla="*/ 127 w 467"/>
                <a:gd name="T35" fmla="*/ 40 h 420"/>
                <a:gd name="T36" fmla="*/ 182 w 467"/>
                <a:gd name="T37" fmla="*/ 66 h 420"/>
                <a:gd name="T38" fmla="*/ 203 w 467"/>
                <a:gd name="T39" fmla="*/ 168 h 420"/>
                <a:gd name="T40" fmla="*/ 219 w 467"/>
                <a:gd name="T41" fmla="*/ 194 h 420"/>
                <a:gd name="T42" fmla="*/ 236 w 467"/>
                <a:gd name="T43" fmla="*/ 222 h 420"/>
                <a:gd name="T44" fmla="*/ 236 w 467"/>
                <a:gd name="T45" fmla="*/ 201 h 420"/>
                <a:gd name="T46" fmla="*/ 257 w 467"/>
                <a:gd name="T47" fmla="*/ 222 h 420"/>
                <a:gd name="T48" fmla="*/ 283 w 467"/>
                <a:gd name="T49" fmla="*/ 222 h 420"/>
                <a:gd name="T50" fmla="*/ 304 w 467"/>
                <a:gd name="T51" fmla="*/ 250 h 420"/>
                <a:gd name="T52" fmla="*/ 366 w 467"/>
                <a:gd name="T53" fmla="*/ 305 h 420"/>
                <a:gd name="T54" fmla="*/ 397 w 467"/>
                <a:gd name="T55" fmla="*/ 326 h 420"/>
                <a:gd name="T56" fmla="*/ 401 w 467"/>
                <a:gd name="T57" fmla="*/ 326 h 420"/>
                <a:gd name="T58" fmla="*/ 434 w 467"/>
                <a:gd name="T59" fmla="*/ 366 h 420"/>
                <a:gd name="T60" fmla="*/ 451 w 467"/>
                <a:gd name="T61" fmla="*/ 387 h 420"/>
                <a:gd name="T62" fmla="*/ 467 w 467"/>
                <a:gd name="T63" fmla="*/ 387 h 420"/>
                <a:gd name="T64" fmla="*/ 467 w 467"/>
                <a:gd name="T65" fmla="*/ 387 h 420"/>
                <a:gd name="T66" fmla="*/ 252 w 467"/>
                <a:gd name="T67" fmla="*/ 144 h 420"/>
                <a:gd name="T68" fmla="*/ 257 w 467"/>
                <a:gd name="T69" fmla="*/ 149 h 420"/>
                <a:gd name="T70" fmla="*/ 252 w 467"/>
                <a:gd name="T71" fmla="*/ 149 h 420"/>
                <a:gd name="T72" fmla="*/ 252 w 467"/>
                <a:gd name="T73" fmla="*/ 161 h 420"/>
                <a:gd name="T74" fmla="*/ 257 w 467"/>
                <a:gd name="T75" fmla="*/ 177 h 420"/>
                <a:gd name="T76" fmla="*/ 274 w 467"/>
                <a:gd name="T77" fmla="*/ 184 h 420"/>
                <a:gd name="T78" fmla="*/ 241 w 467"/>
                <a:gd name="T79" fmla="*/ 177 h 420"/>
                <a:gd name="T80" fmla="*/ 241 w 467"/>
                <a:gd name="T81" fmla="*/ 168 h 420"/>
                <a:gd name="T82" fmla="*/ 252 w 467"/>
                <a:gd name="T83" fmla="*/ 161 h 420"/>
                <a:gd name="T84" fmla="*/ 252 w 467"/>
                <a:gd name="T85" fmla="*/ 161 h 4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67" h="420">
                  <a:moveTo>
                    <a:pt x="467" y="387"/>
                  </a:moveTo>
                  <a:lnTo>
                    <a:pt x="446" y="404"/>
                  </a:lnTo>
                  <a:lnTo>
                    <a:pt x="446" y="416"/>
                  </a:lnTo>
                  <a:lnTo>
                    <a:pt x="434" y="420"/>
                  </a:lnTo>
                  <a:lnTo>
                    <a:pt x="418" y="404"/>
                  </a:lnTo>
                  <a:lnTo>
                    <a:pt x="413" y="416"/>
                  </a:lnTo>
                  <a:lnTo>
                    <a:pt x="401" y="387"/>
                  </a:lnTo>
                  <a:lnTo>
                    <a:pt x="380" y="383"/>
                  </a:lnTo>
                  <a:lnTo>
                    <a:pt x="375" y="359"/>
                  </a:lnTo>
                  <a:lnTo>
                    <a:pt x="338" y="326"/>
                  </a:lnTo>
                  <a:lnTo>
                    <a:pt x="304" y="288"/>
                  </a:lnTo>
                  <a:lnTo>
                    <a:pt x="269" y="260"/>
                  </a:lnTo>
                  <a:lnTo>
                    <a:pt x="241" y="272"/>
                  </a:lnTo>
                  <a:lnTo>
                    <a:pt x="215" y="255"/>
                  </a:lnTo>
                  <a:lnTo>
                    <a:pt x="198" y="260"/>
                  </a:lnTo>
                  <a:lnTo>
                    <a:pt x="182" y="250"/>
                  </a:lnTo>
                  <a:lnTo>
                    <a:pt x="177" y="260"/>
                  </a:lnTo>
                  <a:lnTo>
                    <a:pt x="144" y="272"/>
                  </a:lnTo>
                  <a:lnTo>
                    <a:pt x="127" y="250"/>
                  </a:lnTo>
                  <a:lnTo>
                    <a:pt x="113" y="250"/>
                  </a:lnTo>
                  <a:lnTo>
                    <a:pt x="106" y="234"/>
                  </a:lnTo>
                  <a:lnTo>
                    <a:pt x="80" y="293"/>
                  </a:lnTo>
                  <a:lnTo>
                    <a:pt x="59" y="260"/>
                  </a:lnTo>
                  <a:lnTo>
                    <a:pt x="52" y="272"/>
                  </a:lnTo>
                  <a:lnTo>
                    <a:pt x="38" y="276"/>
                  </a:lnTo>
                  <a:lnTo>
                    <a:pt x="26" y="272"/>
                  </a:lnTo>
                  <a:lnTo>
                    <a:pt x="4" y="276"/>
                  </a:lnTo>
                  <a:lnTo>
                    <a:pt x="0" y="217"/>
                  </a:lnTo>
                  <a:lnTo>
                    <a:pt x="38" y="127"/>
                  </a:lnTo>
                  <a:lnTo>
                    <a:pt x="26" y="111"/>
                  </a:lnTo>
                  <a:lnTo>
                    <a:pt x="38" y="94"/>
                  </a:lnTo>
                  <a:lnTo>
                    <a:pt x="38" y="73"/>
                  </a:lnTo>
                  <a:lnTo>
                    <a:pt x="68" y="73"/>
                  </a:lnTo>
                  <a:lnTo>
                    <a:pt x="75" y="57"/>
                  </a:lnTo>
                  <a:lnTo>
                    <a:pt x="113" y="33"/>
                  </a:lnTo>
                  <a:lnTo>
                    <a:pt x="127" y="40"/>
                  </a:lnTo>
                  <a:lnTo>
                    <a:pt x="149" y="0"/>
                  </a:lnTo>
                  <a:lnTo>
                    <a:pt x="182" y="66"/>
                  </a:lnTo>
                  <a:lnTo>
                    <a:pt x="198" y="149"/>
                  </a:lnTo>
                  <a:lnTo>
                    <a:pt x="203" y="168"/>
                  </a:lnTo>
                  <a:lnTo>
                    <a:pt x="215" y="184"/>
                  </a:lnTo>
                  <a:lnTo>
                    <a:pt x="219" y="194"/>
                  </a:lnTo>
                  <a:lnTo>
                    <a:pt x="231" y="217"/>
                  </a:lnTo>
                  <a:lnTo>
                    <a:pt x="236" y="222"/>
                  </a:lnTo>
                  <a:lnTo>
                    <a:pt x="236" y="217"/>
                  </a:lnTo>
                  <a:lnTo>
                    <a:pt x="236" y="201"/>
                  </a:lnTo>
                  <a:lnTo>
                    <a:pt x="241" y="194"/>
                  </a:lnTo>
                  <a:lnTo>
                    <a:pt x="257" y="222"/>
                  </a:lnTo>
                  <a:lnTo>
                    <a:pt x="269" y="234"/>
                  </a:lnTo>
                  <a:lnTo>
                    <a:pt x="283" y="222"/>
                  </a:lnTo>
                  <a:lnTo>
                    <a:pt x="295" y="234"/>
                  </a:lnTo>
                  <a:lnTo>
                    <a:pt x="304" y="250"/>
                  </a:lnTo>
                  <a:lnTo>
                    <a:pt x="328" y="255"/>
                  </a:lnTo>
                  <a:lnTo>
                    <a:pt x="366" y="305"/>
                  </a:lnTo>
                  <a:lnTo>
                    <a:pt x="380" y="309"/>
                  </a:lnTo>
                  <a:lnTo>
                    <a:pt x="397" y="326"/>
                  </a:lnTo>
                  <a:lnTo>
                    <a:pt x="397" y="326"/>
                  </a:lnTo>
                  <a:lnTo>
                    <a:pt x="401" y="326"/>
                  </a:lnTo>
                  <a:lnTo>
                    <a:pt x="413" y="359"/>
                  </a:lnTo>
                  <a:lnTo>
                    <a:pt x="434" y="366"/>
                  </a:lnTo>
                  <a:lnTo>
                    <a:pt x="446" y="383"/>
                  </a:lnTo>
                  <a:lnTo>
                    <a:pt x="451" y="387"/>
                  </a:lnTo>
                  <a:lnTo>
                    <a:pt x="456" y="383"/>
                  </a:lnTo>
                  <a:lnTo>
                    <a:pt x="467" y="387"/>
                  </a:lnTo>
                  <a:lnTo>
                    <a:pt x="467" y="387"/>
                  </a:lnTo>
                  <a:lnTo>
                    <a:pt x="467" y="387"/>
                  </a:lnTo>
                  <a:close/>
                  <a:moveTo>
                    <a:pt x="252" y="149"/>
                  </a:moveTo>
                  <a:lnTo>
                    <a:pt x="252" y="144"/>
                  </a:lnTo>
                  <a:lnTo>
                    <a:pt x="257" y="144"/>
                  </a:lnTo>
                  <a:lnTo>
                    <a:pt x="257" y="149"/>
                  </a:lnTo>
                  <a:lnTo>
                    <a:pt x="252" y="149"/>
                  </a:lnTo>
                  <a:lnTo>
                    <a:pt x="252" y="149"/>
                  </a:lnTo>
                  <a:lnTo>
                    <a:pt x="252" y="149"/>
                  </a:lnTo>
                  <a:close/>
                  <a:moveTo>
                    <a:pt x="252" y="161"/>
                  </a:moveTo>
                  <a:lnTo>
                    <a:pt x="257" y="168"/>
                  </a:lnTo>
                  <a:lnTo>
                    <a:pt x="257" y="177"/>
                  </a:lnTo>
                  <a:lnTo>
                    <a:pt x="269" y="177"/>
                  </a:lnTo>
                  <a:lnTo>
                    <a:pt x="274" y="184"/>
                  </a:lnTo>
                  <a:lnTo>
                    <a:pt x="241" y="184"/>
                  </a:lnTo>
                  <a:lnTo>
                    <a:pt x="241" y="177"/>
                  </a:lnTo>
                  <a:lnTo>
                    <a:pt x="252" y="177"/>
                  </a:lnTo>
                  <a:lnTo>
                    <a:pt x="241" y="168"/>
                  </a:lnTo>
                  <a:lnTo>
                    <a:pt x="252" y="168"/>
                  </a:lnTo>
                  <a:lnTo>
                    <a:pt x="252" y="161"/>
                  </a:lnTo>
                  <a:lnTo>
                    <a:pt x="252" y="161"/>
                  </a:lnTo>
                  <a:lnTo>
                    <a:pt x="252" y="161"/>
                  </a:lnTo>
                  <a:close/>
                </a:path>
              </a:pathLst>
            </a:custGeom>
            <a:solidFill>
              <a:schemeClr val="bg2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93" name="Freeform 435">
              <a:extLst>
                <a:ext uri="{FF2B5EF4-FFF2-40B4-BE49-F238E27FC236}">
                  <a16:creationId xmlns:a16="http://schemas.microsoft.com/office/drawing/2014/main" id="{7F1112AC-2214-4EBD-9792-F4EEAA3EDBA3}"/>
                </a:ext>
              </a:extLst>
            </p:cNvPr>
            <p:cNvSpPr>
              <a:spLocks/>
            </p:cNvSpPr>
            <p:nvPr/>
          </p:nvSpPr>
          <p:spPr bwMode="gray">
            <a:xfrm>
              <a:off x="5190892" y="2582621"/>
              <a:ext cx="27165" cy="13661"/>
            </a:xfrm>
            <a:custGeom>
              <a:avLst/>
              <a:gdLst>
                <a:gd name="T0" fmla="*/ 0 w 177"/>
                <a:gd name="T1" fmla="*/ 44 h 89"/>
                <a:gd name="T2" fmla="*/ 12 w 177"/>
                <a:gd name="T3" fmla="*/ 33 h 89"/>
                <a:gd name="T4" fmla="*/ 45 w 177"/>
                <a:gd name="T5" fmla="*/ 4 h 89"/>
                <a:gd name="T6" fmla="*/ 45 w 177"/>
                <a:gd name="T7" fmla="*/ 0 h 89"/>
                <a:gd name="T8" fmla="*/ 55 w 177"/>
                <a:gd name="T9" fmla="*/ 0 h 89"/>
                <a:gd name="T10" fmla="*/ 83 w 177"/>
                <a:gd name="T11" fmla="*/ 0 h 89"/>
                <a:gd name="T12" fmla="*/ 100 w 177"/>
                <a:gd name="T13" fmla="*/ 21 h 89"/>
                <a:gd name="T14" fmla="*/ 100 w 177"/>
                <a:gd name="T15" fmla="*/ 16 h 89"/>
                <a:gd name="T16" fmla="*/ 111 w 177"/>
                <a:gd name="T17" fmla="*/ 33 h 89"/>
                <a:gd name="T18" fmla="*/ 121 w 177"/>
                <a:gd name="T19" fmla="*/ 37 h 89"/>
                <a:gd name="T20" fmla="*/ 144 w 177"/>
                <a:gd name="T21" fmla="*/ 33 h 89"/>
                <a:gd name="T22" fmla="*/ 154 w 177"/>
                <a:gd name="T23" fmla="*/ 37 h 89"/>
                <a:gd name="T24" fmla="*/ 166 w 177"/>
                <a:gd name="T25" fmla="*/ 33 h 89"/>
                <a:gd name="T26" fmla="*/ 177 w 177"/>
                <a:gd name="T27" fmla="*/ 37 h 89"/>
                <a:gd name="T28" fmla="*/ 166 w 177"/>
                <a:gd name="T29" fmla="*/ 61 h 89"/>
                <a:gd name="T30" fmla="*/ 177 w 177"/>
                <a:gd name="T31" fmla="*/ 61 h 89"/>
                <a:gd name="T32" fmla="*/ 166 w 177"/>
                <a:gd name="T33" fmla="*/ 73 h 89"/>
                <a:gd name="T34" fmla="*/ 161 w 177"/>
                <a:gd name="T35" fmla="*/ 73 h 89"/>
                <a:gd name="T36" fmla="*/ 166 w 177"/>
                <a:gd name="T37" fmla="*/ 78 h 89"/>
                <a:gd name="T38" fmla="*/ 161 w 177"/>
                <a:gd name="T39" fmla="*/ 89 h 89"/>
                <a:gd name="T40" fmla="*/ 100 w 177"/>
                <a:gd name="T41" fmla="*/ 78 h 89"/>
                <a:gd name="T42" fmla="*/ 111 w 177"/>
                <a:gd name="T43" fmla="*/ 89 h 89"/>
                <a:gd name="T44" fmla="*/ 55 w 177"/>
                <a:gd name="T45" fmla="*/ 61 h 89"/>
                <a:gd name="T46" fmla="*/ 29 w 177"/>
                <a:gd name="T47" fmla="*/ 61 h 89"/>
                <a:gd name="T48" fmla="*/ 0 w 177"/>
                <a:gd name="T49" fmla="*/ 44 h 89"/>
                <a:gd name="T50" fmla="*/ 0 w 177"/>
                <a:gd name="T51" fmla="*/ 44 h 89"/>
                <a:gd name="T52" fmla="*/ 0 w 177"/>
                <a:gd name="T53" fmla="*/ 44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77" h="89">
                  <a:moveTo>
                    <a:pt x="0" y="44"/>
                  </a:moveTo>
                  <a:lnTo>
                    <a:pt x="12" y="33"/>
                  </a:lnTo>
                  <a:lnTo>
                    <a:pt x="45" y="4"/>
                  </a:lnTo>
                  <a:lnTo>
                    <a:pt x="45" y="0"/>
                  </a:lnTo>
                  <a:lnTo>
                    <a:pt x="55" y="0"/>
                  </a:lnTo>
                  <a:lnTo>
                    <a:pt x="83" y="0"/>
                  </a:lnTo>
                  <a:lnTo>
                    <a:pt x="100" y="21"/>
                  </a:lnTo>
                  <a:lnTo>
                    <a:pt x="100" y="16"/>
                  </a:lnTo>
                  <a:lnTo>
                    <a:pt x="111" y="33"/>
                  </a:lnTo>
                  <a:lnTo>
                    <a:pt x="121" y="37"/>
                  </a:lnTo>
                  <a:lnTo>
                    <a:pt x="144" y="33"/>
                  </a:lnTo>
                  <a:lnTo>
                    <a:pt x="154" y="37"/>
                  </a:lnTo>
                  <a:lnTo>
                    <a:pt x="166" y="33"/>
                  </a:lnTo>
                  <a:lnTo>
                    <a:pt x="177" y="37"/>
                  </a:lnTo>
                  <a:lnTo>
                    <a:pt x="166" y="61"/>
                  </a:lnTo>
                  <a:lnTo>
                    <a:pt x="177" y="61"/>
                  </a:lnTo>
                  <a:lnTo>
                    <a:pt x="166" y="73"/>
                  </a:lnTo>
                  <a:lnTo>
                    <a:pt x="161" y="73"/>
                  </a:lnTo>
                  <a:lnTo>
                    <a:pt x="166" y="78"/>
                  </a:lnTo>
                  <a:lnTo>
                    <a:pt x="161" y="89"/>
                  </a:lnTo>
                  <a:lnTo>
                    <a:pt x="100" y="78"/>
                  </a:lnTo>
                  <a:lnTo>
                    <a:pt x="111" y="89"/>
                  </a:lnTo>
                  <a:lnTo>
                    <a:pt x="55" y="61"/>
                  </a:lnTo>
                  <a:lnTo>
                    <a:pt x="29" y="61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0" y="44"/>
                  </a:lnTo>
                  <a:close/>
                </a:path>
              </a:pathLst>
            </a:custGeom>
            <a:solidFill>
              <a:schemeClr val="bg2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94" name="Freeform 436">
              <a:extLst>
                <a:ext uri="{FF2B5EF4-FFF2-40B4-BE49-F238E27FC236}">
                  <a16:creationId xmlns:a16="http://schemas.microsoft.com/office/drawing/2014/main" id="{11F0F27D-4ABE-45D0-8126-822E8A92CF91}"/>
                </a:ext>
              </a:extLst>
            </p:cNvPr>
            <p:cNvSpPr>
              <a:spLocks/>
            </p:cNvSpPr>
            <p:nvPr/>
          </p:nvSpPr>
          <p:spPr bwMode="gray">
            <a:xfrm>
              <a:off x="6515994" y="2576328"/>
              <a:ext cx="162069" cy="128780"/>
            </a:xfrm>
            <a:custGeom>
              <a:avLst/>
              <a:gdLst>
                <a:gd name="T0" fmla="*/ 628 w 1056"/>
                <a:gd name="T1" fmla="*/ 794 h 839"/>
                <a:gd name="T2" fmla="*/ 553 w 1056"/>
                <a:gd name="T3" fmla="*/ 778 h 839"/>
                <a:gd name="T4" fmla="*/ 461 w 1056"/>
                <a:gd name="T5" fmla="*/ 839 h 839"/>
                <a:gd name="T6" fmla="*/ 369 w 1056"/>
                <a:gd name="T7" fmla="*/ 822 h 839"/>
                <a:gd name="T8" fmla="*/ 217 w 1056"/>
                <a:gd name="T9" fmla="*/ 761 h 839"/>
                <a:gd name="T10" fmla="*/ 196 w 1056"/>
                <a:gd name="T11" fmla="*/ 737 h 839"/>
                <a:gd name="T12" fmla="*/ 180 w 1056"/>
                <a:gd name="T13" fmla="*/ 688 h 839"/>
                <a:gd name="T14" fmla="*/ 163 w 1056"/>
                <a:gd name="T15" fmla="*/ 688 h 839"/>
                <a:gd name="T16" fmla="*/ 142 w 1056"/>
                <a:gd name="T17" fmla="*/ 650 h 839"/>
                <a:gd name="T18" fmla="*/ 109 w 1056"/>
                <a:gd name="T19" fmla="*/ 593 h 839"/>
                <a:gd name="T20" fmla="*/ 87 w 1056"/>
                <a:gd name="T21" fmla="*/ 577 h 839"/>
                <a:gd name="T22" fmla="*/ 33 w 1056"/>
                <a:gd name="T23" fmla="*/ 522 h 839"/>
                <a:gd name="T24" fmla="*/ 0 w 1056"/>
                <a:gd name="T25" fmla="*/ 506 h 839"/>
                <a:gd name="T26" fmla="*/ 17 w 1056"/>
                <a:gd name="T27" fmla="*/ 473 h 839"/>
                <a:gd name="T28" fmla="*/ 50 w 1056"/>
                <a:gd name="T29" fmla="*/ 466 h 839"/>
                <a:gd name="T30" fmla="*/ 83 w 1056"/>
                <a:gd name="T31" fmla="*/ 461 h 839"/>
                <a:gd name="T32" fmla="*/ 97 w 1056"/>
                <a:gd name="T33" fmla="*/ 338 h 839"/>
                <a:gd name="T34" fmla="*/ 121 w 1056"/>
                <a:gd name="T35" fmla="*/ 296 h 839"/>
                <a:gd name="T36" fmla="*/ 142 w 1056"/>
                <a:gd name="T37" fmla="*/ 296 h 839"/>
                <a:gd name="T38" fmla="*/ 151 w 1056"/>
                <a:gd name="T39" fmla="*/ 246 h 839"/>
                <a:gd name="T40" fmla="*/ 163 w 1056"/>
                <a:gd name="T41" fmla="*/ 222 h 839"/>
                <a:gd name="T42" fmla="*/ 227 w 1056"/>
                <a:gd name="T43" fmla="*/ 156 h 839"/>
                <a:gd name="T44" fmla="*/ 250 w 1056"/>
                <a:gd name="T45" fmla="*/ 78 h 839"/>
                <a:gd name="T46" fmla="*/ 250 w 1056"/>
                <a:gd name="T47" fmla="*/ 45 h 839"/>
                <a:gd name="T48" fmla="*/ 281 w 1056"/>
                <a:gd name="T49" fmla="*/ 45 h 839"/>
                <a:gd name="T50" fmla="*/ 305 w 1056"/>
                <a:gd name="T51" fmla="*/ 29 h 839"/>
                <a:gd name="T52" fmla="*/ 352 w 1056"/>
                <a:gd name="T53" fmla="*/ 0 h 839"/>
                <a:gd name="T54" fmla="*/ 373 w 1056"/>
                <a:gd name="T55" fmla="*/ 17 h 839"/>
                <a:gd name="T56" fmla="*/ 423 w 1056"/>
                <a:gd name="T57" fmla="*/ 29 h 839"/>
                <a:gd name="T58" fmla="*/ 444 w 1056"/>
                <a:gd name="T59" fmla="*/ 29 h 839"/>
                <a:gd name="T60" fmla="*/ 487 w 1056"/>
                <a:gd name="T61" fmla="*/ 41 h 839"/>
                <a:gd name="T62" fmla="*/ 553 w 1056"/>
                <a:gd name="T63" fmla="*/ 57 h 839"/>
                <a:gd name="T64" fmla="*/ 624 w 1056"/>
                <a:gd name="T65" fmla="*/ 128 h 839"/>
                <a:gd name="T66" fmla="*/ 650 w 1056"/>
                <a:gd name="T67" fmla="*/ 156 h 839"/>
                <a:gd name="T68" fmla="*/ 624 w 1056"/>
                <a:gd name="T69" fmla="*/ 230 h 839"/>
                <a:gd name="T70" fmla="*/ 624 w 1056"/>
                <a:gd name="T71" fmla="*/ 284 h 839"/>
                <a:gd name="T72" fmla="*/ 683 w 1056"/>
                <a:gd name="T73" fmla="*/ 279 h 839"/>
                <a:gd name="T74" fmla="*/ 683 w 1056"/>
                <a:gd name="T75" fmla="*/ 317 h 839"/>
                <a:gd name="T76" fmla="*/ 716 w 1056"/>
                <a:gd name="T77" fmla="*/ 362 h 839"/>
                <a:gd name="T78" fmla="*/ 737 w 1056"/>
                <a:gd name="T79" fmla="*/ 407 h 839"/>
                <a:gd name="T80" fmla="*/ 775 w 1056"/>
                <a:gd name="T81" fmla="*/ 433 h 839"/>
                <a:gd name="T82" fmla="*/ 1056 w 1056"/>
                <a:gd name="T83" fmla="*/ 506 h 839"/>
                <a:gd name="T84" fmla="*/ 775 w 1056"/>
                <a:gd name="T85" fmla="*/ 721 h 839"/>
                <a:gd name="T86" fmla="*/ 716 w 1056"/>
                <a:gd name="T87" fmla="*/ 744 h 839"/>
                <a:gd name="T88" fmla="*/ 640 w 1056"/>
                <a:gd name="T89" fmla="*/ 782 h 839"/>
                <a:gd name="T90" fmla="*/ 640 w 1056"/>
                <a:gd name="T91" fmla="*/ 782 h 8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056" h="839">
                  <a:moveTo>
                    <a:pt x="640" y="782"/>
                  </a:moveTo>
                  <a:lnTo>
                    <a:pt x="628" y="794"/>
                  </a:lnTo>
                  <a:lnTo>
                    <a:pt x="574" y="799"/>
                  </a:lnTo>
                  <a:lnTo>
                    <a:pt x="553" y="778"/>
                  </a:lnTo>
                  <a:lnTo>
                    <a:pt x="482" y="799"/>
                  </a:lnTo>
                  <a:lnTo>
                    <a:pt x="461" y="839"/>
                  </a:lnTo>
                  <a:lnTo>
                    <a:pt x="390" y="822"/>
                  </a:lnTo>
                  <a:lnTo>
                    <a:pt x="369" y="822"/>
                  </a:lnTo>
                  <a:lnTo>
                    <a:pt x="288" y="766"/>
                  </a:lnTo>
                  <a:lnTo>
                    <a:pt x="217" y="761"/>
                  </a:lnTo>
                  <a:lnTo>
                    <a:pt x="213" y="749"/>
                  </a:lnTo>
                  <a:lnTo>
                    <a:pt x="196" y="737"/>
                  </a:lnTo>
                  <a:lnTo>
                    <a:pt x="206" y="695"/>
                  </a:lnTo>
                  <a:lnTo>
                    <a:pt x="180" y="688"/>
                  </a:lnTo>
                  <a:lnTo>
                    <a:pt x="163" y="695"/>
                  </a:lnTo>
                  <a:lnTo>
                    <a:pt x="163" y="688"/>
                  </a:lnTo>
                  <a:lnTo>
                    <a:pt x="151" y="671"/>
                  </a:lnTo>
                  <a:lnTo>
                    <a:pt x="142" y="650"/>
                  </a:lnTo>
                  <a:lnTo>
                    <a:pt x="125" y="600"/>
                  </a:lnTo>
                  <a:lnTo>
                    <a:pt x="109" y="593"/>
                  </a:lnTo>
                  <a:lnTo>
                    <a:pt x="104" y="584"/>
                  </a:lnTo>
                  <a:lnTo>
                    <a:pt x="87" y="577"/>
                  </a:lnTo>
                  <a:lnTo>
                    <a:pt x="66" y="539"/>
                  </a:lnTo>
                  <a:lnTo>
                    <a:pt x="33" y="522"/>
                  </a:lnTo>
                  <a:lnTo>
                    <a:pt x="0" y="522"/>
                  </a:lnTo>
                  <a:lnTo>
                    <a:pt x="0" y="506"/>
                  </a:lnTo>
                  <a:lnTo>
                    <a:pt x="17" y="489"/>
                  </a:lnTo>
                  <a:lnTo>
                    <a:pt x="17" y="473"/>
                  </a:lnTo>
                  <a:lnTo>
                    <a:pt x="17" y="473"/>
                  </a:lnTo>
                  <a:lnTo>
                    <a:pt x="50" y="466"/>
                  </a:lnTo>
                  <a:lnTo>
                    <a:pt x="54" y="473"/>
                  </a:lnTo>
                  <a:lnTo>
                    <a:pt x="83" y="461"/>
                  </a:lnTo>
                  <a:lnTo>
                    <a:pt x="83" y="395"/>
                  </a:lnTo>
                  <a:lnTo>
                    <a:pt x="97" y="338"/>
                  </a:lnTo>
                  <a:lnTo>
                    <a:pt x="97" y="317"/>
                  </a:lnTo>
                  <a:lnTo>
                    <a:pt x="121" y="296"/>
                  </a:lnTo>
                  <a:lnTo>
                    <a:pt x="135" y="305"/>
                  </a:lnTo>
                  <a:lnTo>
                    <a:pt x="142" y="296"/>
                  </a:lnTo>
                  <a:lnTo>
                    <a:pt x="142" y="267"/>
                  </a:lnTo>
                  <a:lnTo>
                    <a:pt x="151" y="246"/>
                  </a:lnTo>
                  <a:lnTo>
                    <a:pt x="151" y="230"/>
                  </a:lnTo>
                  <a:lnTo>
                    <a:pt x="163" y="222"/>
                  </a:lnTo>
                  <a:lnTo>
                    <a:pt x="196" y="168"/>
                  </a:lnTo>
                  <a:lnTo>
                    <a:pt x="227" y="156"/>
                  </a:lnTo>
                  <a:lnTo>
                    <a:pt x="227" y="135"/>
                  </a:lnTo>
                  <a:lnTo>
                    <a:pt x="250" y="78"/>
                  </a:lnTo>
                  <a:lnTo>
                    <a:pt x="243" y="74"/>
                  </a:lnTo>
                  <a:lnTo>
                    <a:pt x="250" y="45"/>
                  </a:lnTo>
                  <a:lnTo>
                    <a:pt x="272" y="41"/>
                  </a:lnTo>
                  <a:lnTo>
                    <a:pt x="281" y="45"/>
                  </a:lnTo>
                  <a:lnTo>
                    <a:pt x="298" y="41"/>
                  </a:lnTo>
                  <a:lnTo>
                    <a:pt x="305" y="29"/>
                  </a:lnTo>
                  <a:lnTo>
                    <a:pt x="326" y="62"/>
                  </a:lnTo>
                  <a:lnTo>
                    <a:pt x="352" y="0"/>
                  </a:lnTo>
                  <a:lnTo>
                    <a:pt x="357" y="17"/>
                  </a:lnTo>
                  <a:lnTo>
                    <a:pt x="373" y="17"/>
                  </a:lnTo>
                  <a:lnTo>
                    <a:pt x="390" y="41"/>
                  </a:lnTo>
                  <a:lnTo>
                    <a:pt x="423" y="29"/>
                  </a:lnTo>
                  <a:lnTo>
                    <a:pt x="428" y="17"/>
                  </a:lnTo>
                  <a:lnTo>
                    <a:pt x="444" y="29"/>
                  </a:lnTo>
                  <a:lnTo>
                    <a:pt x="461" y="24"/>
                  </a:lnTo>
                  <a:lnTo>
                    <a:pt x="487" y="41"/>
                  </a:lnTo>
                  <a:lnTo>
                    <a:pt x="515" y="29"/>
                  </a:lnTo>
                  <a:lnTo>
                    <a:pt x="553" y="57"/>
                  </a:lnTo>
                  <a:lnTo>
                    <a:pt x="586" y="95"/>
                  </a:lnTo>
                  <a:lnTo>
                    <a:pt x="624" y="128"/>
                  </a:lnTo>
                  <a:lnTo>
                    <a:pt x="628" y="152"/>
                  </a:lnTo>
                  <a:lnTo>
                    <a:pt x="650" y="156"/>
                  </a:lnTo>
                  <a:lnTo>
                    <a:pt x="661" y="185"/>
                  </a:lnTo>
                  <a:lnTo>
                    <a:pt x="624" y="230"/>
                  </a:lnTo>
                  <a:lnTo>
                    <a:pt x="624" y="251"/>
                  </a:lnTo>
                  <a:lnTo>
                    <a:pt x="624" y="284"/>
                  </a:lnTo>
                  <a:lnTo>
                    <a:pt x="640" y="296"/>
                  </a:lnTo>
                  <a:lnTo>
                    <a:pt x="683" y="279"/>
                  </a:lnTo>
                  <a:lnTo>
                    <a:pt x="699" y="284"/>
                  </a:lnTo>
                  <a:lnTo>
                    <a:pt x="683" y="317"/>
                  </a:lnTo>
                  <a:lnTo>
                    <a:pt x="699" y="338"/>
                  </a:lnTo>
                  <a:lnTo>
                    <a:pt x="716" y="362"/>
                  </a:lnTo>
                  <a:lnTo>
                    <a:pt x="721" y="362"/>
                  </a:lnTo>
                  <a:lnTo>
                    <a:pt x="737" y="407"/>
                  </a:lnTo>
                  <a:lnTo>
                    <a:pt x="754" y="407"/>
                  </a:lnTo>
                  <a:lnTo>
                    <a:pt x="775" y="433"/>
                  </a:lnTo>
                  <a:lnTo>
                    <a:pt x="985" y="506"/>
                  </a:lnTo>
                  <a:lnTo>
                    <a:pt x="1056" y="506"/>
                  </a:lnTo>
                  <a:lnTo>
                    <a:pt x="846" y="728"/>
                  </a:lnTo>
                  <a:lnTo>
                    <a:pt x="775" y="721"/>
                  </a:lnTo>
                  <a:lnTo>
                    <a:pt x="754" y="728"/>
                  </a:lnTo>
                  <a:lnTo>
                    <a:pt x="716" y="744"/>
                  </a:lnTo>
                  <a:lnTo>
                    <a:pt x="699" y="766"/>
                  </a:lnTo>
                  <a:lnTo>
                    <a:pt x="640" y="782"/>
                  </a:lnTo>
                  <a:lnTo>
                    <a:pt x="640" y="782"/>
                  </a:lnTo>
                  <a:lnTo>
                    <a:pt x="640" y="782"/>
                  </a:lnTo>
                  <a:close/>
                </a:path>
              </a:pathLst>
            </a:custGeom>
            <a:solidFill>
              <a:schemeClr val="bg2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95" name="Freeform 437">
              <a:extLst>
                <a:ext uri="{FF2B5EF4-FFF2-40B4-BE49-F238E27FC236}">
                  <a16:creationId xmlns:a16="http://schemas.microsoft.com/office/drawing/2014/main" id="{C2304BB7-7FB4-45B0-816A-E492296F25E5}"/>
                </a:ext>
              </a:extLst>
            </p:cNvPr>
            <p:cNvSpPr>
              <a:spLocks/>
            </p:cNvSpPr>
            <p:nvPr/>
          </p:nvSpPr>
          <p:spPr bwMode="gray">
            <a:xfrm>
              <a:off x="6291614" y="2122759"/>
              <a:ext cx="72440" cy="35610"/>
            </a:xfrm>
            <a:custGeom>
              <a:avLst/>
              <a:gdLst>
                <a:gd name="T0" fmla="*/ 340 w 472"/>
                <a:gd name="T1" fmla="*/ 225 h 232"/>
                <a:gd name="T2" fmla="*/ 340 w 472"/>
                <a:gd name="T3" fmla="*/ 220 h 232"/>
                <a:gd name="T4" fmla="*/ 309 w 472"/>
                <a:gd name="T5" fmla="*/ 208 h 232"/>
                <a:gd name="T6" fmla="*/ 276 w 472"/>
                <a:gd name="T7" fmla="*/ 220 h 232"/>
                <a:gd name="T8" fmla="*/ 205 w 472"/>
                <a:gd name="T9" fmla="*/ 187 h 232"/>
                <a:gd name="T10" fmla="*/ 201 w 472"/>
                <a:gd name="T11" fmla="*/ 208 h 232"/>
                <a:gd name="T12" fmla="*/ 194 w 472"/>
                <a:gd name="T13" fmla="*/ 208 h 232"/>
                <a:gd name="T14" fmla="*/ 184 w 472"/>
                <a:gd name="T15" fmla="*/ 232 h 232"/>
                <a:gd name="T16" fmla="*/ 146 w 472"/>
                <a:gd name="T17" fmla="*/ 225 h 232"/>
                <a:gd name="T18" fmla="*/ 125 w 472"/>
                <a:gd name="T19" fmla="*/ 208 h 232"/>
                <a:gd name="T20" fmla="*/ 59 w 472"/>
                <a:gd name="T21" fmla="*/ 166 h 232"/>
                <a:gd name="T22" fmla="*/ 38 w 472"/>
                <a:gd name="T23" fmla="*/ 154 h 232"/>
                <a:gd name="T24" fmla="*/ 21 w 472"/>
                <a:gd name="T25" fmla="*/ 133 h 232"/>
                <a:gd name="T26" fmla="*/ 31 w 472"/>
                <a:gd name="T27" fmla="*/ 109 h 232"/>
                <a:gd name="T28" fmla="*/ 5 w 472"/>
                <a:gd name="T29" fmla="*/ 92 h 232"/>
                <a:gd name="T30" fmla="*/ 0 w 472"/>
                <a:gd name="T31" fmla="*/ 67 h 232"/>
                <a:gd name="T32" fmla="*/ 16 w 472"/>
                <a:gd name="T33" fmla="*/ 76 h 232"/>
                <a:gd name="T34" fmla="*/ 31 w 472"/>
                <a:gd name="T35" fmla="*/ 59 h 232"/>
                <a:gd name="T36" fmla="*/ 59 w 472"/>
                <a:gd name="T37" fmla="*/ 59 h 232"/>
                <a:gd name="T38" fmla="*/ 97 w 472"/>
                <a:gd name="T39" fmla="*/ 26 h 232"/>
                <a:gd name="T40" fmla="*/ 151 w 472"/>
                <a:gd name="T41" fmla="*/ 10 h 232"/>
                <a:gd name="T42" fmla="*/ 163 w 472"/>
                <a:gd name="T43" fmla="*/ 10 h 232"/>
                <a:gd name="T44" fmla="*/ 151 w 472"/>
                <a:gd name="T45" fmla="*/ 5 h 232"/>
                <a:gd name="T46" fmla="*/ 151 w 472"/>
                <a:gd name="T47" fmla="*/ 0 h 232"/>
                <a:gd name="T48" fmla="*/ 168 w 472"/>
                <a:gd name="T49" fmla="*/ 5 h 232"/>
                <a:gd name="T50" fmla="*/ 177 w 472"/>
                <a:gd name="T51" fmla="*/ 22 h 232"/>
                <a:gd name="T52" fmla="*/ 194 w 472"/>
                <a:gd name="T53" fmla="*/ 22 h 232"/>
                <a:gd name="T54" fmla="*/ 201 w 472"/>
                <a:gd name="T55" fmla="*/ 22 h 232"/>
                <a:gd name="T56" fmla="*/ 201 w 472"/>
                <a:gd name="T57" fmla="*/ 5 h 232"/>
                <a:gd name="T58" fmla="*/ 217 w 472"/>
                <a:gd name="T59" fmla="*/ 5 h 232"/>
                <a:gd name="T60" fmla="*/ 231 w 472"/>
                <a:gd name="T61" fmla="*/ 26 h 232"/>
                <a:gd name="T62" fmla="*/ 286 w 472"/>
                <a:gd name="T63" fmla="*/ 38 h 232"/>
                <a:gd name="T64" fmla="*/ 302 w 472"/>
                <a:gd name="T65" fmla="*/ 43 h 232"/>
                <a:gd name="T66" fmla="*/ 286 w 472"/>
                <a:gd name="T67" fmla="*/ 59 h 232"/>
                <a:gd name="T68" fmla="*/ 314 w 472"/>
                <a:gd name="T69" fmla="*/ 92 h 232"/>
                <a:gd name="T70" fmla="*/ 347 w 472"/>
                <a:gd name="T71" fmla="*/ 76 h 232"/>
                <a:gd name="T72" fmla="*/ 340 w 472"/>
                <a:gd name="T73" fmla="*/ 59 h 232"/>
                <a:gd name="T74" fmla="*/ 368 w 472"/>
                <a:gd name="T75" fmla="*/ 76 h 232"/>
                <a:gd name="T76" fmla="*/ 394 w 472"/>
                <a:gd name="T77" fmla="*/ 67 h 232"/>
                <a:gd name="T78" fmla="*/ 394 w 472"/>
                <a:gd name="T79" fmla="*/ 76 h 232"/>
                <a:gd name="T80" fmla="*/ 385 w 472"/>
                <a:gd name="T81" fmla="*/ 83 h 232"/>
                <a:gd name="T82" fmla="*/ 394 w 472"/>
                <a:gd name="T83" fmla="*/ 92 h 232"/>
                <a:gd name="T84" fmla="*/ 411 w 472"/>
                <a:gd name="T85" fmla="*/ 100 h 232"/>
                <a:gd name="T86" fmla="*/ 418 w 472"/>
                <a:gd name="T87" fmla="*/ 92 h 232"/>
                <a:gd name="T88" fmla="*/ 456 w 472"/>
                <a:gd name="T89" fmla="*/ 109 h 232"/>
                <a:gd name="T90" fmla="*/ 456 w 472"/>
                <a:gd name="T91" fmla="*/ 121 h 232"/>
                <a:gd name="T92" fmla="*/ 472 w 472"/>
                <a:gd name="T93" fmla="*/ 133 h 232"/>
                <a:gd name="T94" fmla="*/ 472 w 472"/>
                <a:gd name="T95" fmla="*/ 149 h 232"/>
                <a:gd name="T96" fmla="*/ 456 w 472"/>
                <a:gd name="T97" fmla="*/ 149 h 232"/>
                <a:gd name="T98" fmla="*/ 432 w 472"/>
                <a:gd name="T99" fmla="*/ 166 h 232"/>
                <a:gd name="T100" fmla="*/ 418 w 472"/>
                <a:gd name="T101" fmla="*/ 187 h 232"/>
                <a:gd name="T102" fmla="*/ 394 w 472"/>
                <a:gd name="T103" fmla="*/ 204 h 232"/>
                <a:gd name="T104" fmla="*/ 357 w 472"/>
                <a:gd name="T105" fmla="*/ 204 h 232"/>
                <a:gd name="T106" fmla="*/ 340 w 472"/>
                <a:gd name="T107" fmla="*/ 225 h 232"/>
                <a:gd name="T108" fmla="*/ 340 w 472"/>
                <a:gd name="T109" fmla="*/ 225 h 232"/>
                <a:gd name="T110" fmla="*/ 340 w 472"/>
                <a:gd name="T111" fmla="*/ 225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472" h="232">
                  <a:moveTo>
                    <a:pt x="340" y="225"/>
                  </a:moveTo>
                  <a:lnTo>
                    <a:pt x="340" y="220"/>
                  </a:lnTo>
                  <a:lnTo>
                    <a:pt x="309" y="208"/>
                  </a:lnTo>
                  <a:lnTo>
                    <a:pt x="276" y="220"/>
                  </a:lnTo>
                  <a:lnTo>
                    <a:pt x="205" y="187"/>
                  </a:lnTo>
                  <a:lnTo>
                    <a:pt x="201" y="208"/>
                  </a:lnTo>
                  <a:lnTo>
                    <a:pt x="194" y="208"/>
                  </a:lnTo>
                  <a:lnTo>
                    <a:pt x="184" y="232"/>
                  </a:lnTo>
                  <a:lnTo>
                    <a:pt x="146" y="225"/>
                  </a:lnTo>
                  <a:lnTo>
                    <a:pt x="125" y="208"/>
                  </a:lnTo>
                  <a:lnTo>
                    <a:pt x="59" y="166"/>
                  </a:lnTo>
                  <a:lnTo>
                    <a:pt x="38" y="154"/>
                  </a:lnTo>
                  <a:lnTo>
                    <a:pt x="21" y="133"/>
                  </a:lnTo>
                  <a:lnTo>
                    <a:pt x="31" y="109"/>
                  </a:lnTo>
                  <a:lnTo>
                    <a:pt x="5" y="92"/>
                  </a:lnTo>
                  <a:lnTo>
                    <a:pt x="0" y="67"/>
                  </a:lnTo>
                  <a:lnTo>
                    <a:pt x="16" y="76"/>
                  </a:lnTo>
                  <a:lnTo>
                    <a:pt x="31" y="59"/>
                  </a:lnTo>
                  <a:lnTo>
                    <a:pt x="59" y="59"/>
                  </a:lnTo>
                  <a:lnTo>
                    <a:pt x="97" y="26"/>
                  </a:lnTo>
                  <a:lnTo>
                    <a:pt x="151" y="10"/>
                  </a:lnTo>
                  <a:lnTo>
                    <a:pt x="163" y="10"/>
                  </a:lnTo>
                  <a:lnTo>
                    <a:pt x="151" y="5"/>
                  </a:lnTo>
                  <a:lnTo>
                    <a:pt x="151" y="0"/>
                  </a:lnTo>
                  <a:lnTo>
                    <a:pt x="168" y="5"/>
                  </a:lnTo>
                  <a:lnTo>
                    <a:pt x="177" y="22"/>
                  </a:lnTo>
                  <a:lnTo>
                    <a:pt x="194" y="22"/>
                  </a:lnTo>
                  <a:lnTo>
                    <a:pt x="201" y="22"/>
                  </a:lnTo>
                  <a:lnTo>
                    <a:pt x="201" y="5"/>
                  </a:lnTo>
                  <a:lnTo>
                    <a:pt x="217" y="5"/>
                  </a:lnTo>
                  <a:lnTo>
                    <a:pt x="231" y="26"/>
                  </a:lnTo>
                  <a:lnTo>
                    <a:pt x="286" y="38"/>
                  </a:lnTo>
                  <a:lnTo>
                    <a:pt x="302" y="43"/>
                  </a:lnTo>
                  <a:lnTo>
                    <a:pt x="286" y="59"/>
                  </a:lnTo>
                  <a:lnTo>
                    <a:pt x="314" y="92"/>
                  </a:lnTo>
                  <a:lnTo>
                    <a:pt x="347" y="76"/>
                  </a:lnTo>
                  <a:lnTo>
                    <a:pt x="340" y="59"/>
                  </a:lnTo>
                  <a:lnTo>
                    <a:pt x="368" y="76"/>
                  </a:lnTo>
                  <a:lnTo>
                    <a:pt x="394" y="67"/>
                  </a:lnTo>
                  <a:lnTo>
                    <a:pt x="394" y="76"/>
                  </a:lnTo>
                  <a:lnTo>
                    <a:pt x="385" y="83"/>
                  </a:lnTo>
                  <a:lnTo>
                    <a:pt x="394" y="92"/>
                  </a:lnTo>
                  <a:lnTo>
                    <a:pt x="411" y="100"/>
                  </a:lnTo>
                  <a:lnTo>
                    <a:pt x="418" y="92"/>
                  </a:lnTo>
                  <a:lnTo>
                    <a:pt x="456" y="109"/>
                  </a:lnTo>
                  <a:lnTo>
                    <a:pt x="456" y="121"/>
                  </a:lnTo>
                  <a:lnTo>
                    <a:pt x="472" y="133"/>
                  </a:lnTo>
                  <a:lnTo>
                    <a:pt x="472" y="149"/>
                  </a:lnTo>
                  <a:lnTo>
                    <a:pt x="456" y="149"/>
                  </a:lnTo>
                  <a:lnTo>
                    <a:pt x="432" y="166"/>
                  </a:lnTo>
                  <a:lnTo>
                    <a:pt x="418" y="187"/>
                  </a:lnTo>
                  <a:lnTo>
                    <a:pt x="394" y="204"/>
                  </a:lnTo>
                  <a:lnTo>
                    <a:pt x="357" y="204"/>
                  </a:lnTo>
                  <a:lnTo>
                    <a:pt x="340" y="225"/>
                  </a:lnTo>
                  <a:lnTo>
                    <a:pt x="340" y="225"/>
                  </a:lnTo>
                  <a:lnTo>
                    <a:pt x="340" y="225"/>
                  </a:lnTo>
                  <a:close/>
                </a:path>
              </a:pathLst>
            </a:custGeom>
            <a:solidFill>
              <a:schemeClr val="bg2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96" name="Freeform 438">
              <a:extLst>
                <a:ext uri="{FF2B5EF4-FFF2-40B4-BE49-F238E27FC236}">
                  <a16:creationId xmlns:a16="http://schemas.microsoft.com/office/drawing/2014/main" id="{5CDC04F0-8BBD-4B16-B9C9-A370E167AFE7}"/>
                </a:ext>
              </a:extLst>
            </p:cNvPr>
            <p:cNvSpPr>
              <a:spLocks/>
            </p:cNvSpPr>
            <p:nvPr/>
          </p:nvSpPr>
          <p:spPr bwMode="gray">
            <a:xfrm>
              <a:off x="5574118" y="2678708"/>
              <a:ext cx="30541" cy="40215"/>
            </a:xfrm>
            <a:custGeom>
              <a:avLst/>
              <a:gdLst>
                <a:gd name="T0" fmla="*/ 0 w 199"/>
                <a:gd name="T1" fmla="*/ 245 h 262"/>
                <a:gd name="T2" fmla="*/ 17 w 199"/>
                <a:gd name="T3" fmla="*/ 238 h 262"/>
                <a:gd name="T4" fmla="*/ 21 w 199"/>
                <a:gd name="T5" fmla="*/ 212 h 262"/>
                <a:gd name="T6" fmla="*/ 21 w 199"/>
                <a:gd name="T7" fmla="*/ 189 h 262"/>
                <a:gd name="T8" fmla="*/ 33 w 199"/>
                <a:gd name="T9" fmla="*/ 184 h 262"/>
                <a:gd name="T10" fmla="*/ 38 w 199"/>
                <a:gd name="T11" fmla="*/ 155 h 262"/>
                <a:gd name="T12" fmla="*/ 17 w 199"/>
                <a:gd name="T13" fmla="*/ 127 h 262"/>
                <a:gd name="T14" fmla="*/ 7 w 199"/>
                <a:gd name="T15" fmla="*/ 73 h 262"/>
                <a:gd name="T16" fmla="*/ 7 w 199"/>
                <a:gd name="T17" fmla="*/ 54 h 262"/>
                <a:gd name="T18" fmla="*/ 33 w 199"/>
                <a:gd name="T19" fmla="*/ 28 h 262"/>
                <a:gd name="T20" fmla="*/ 38 w 199"/>
                <a:gd name="T21" fmla="*/ 4 h 262"/>
                <a:gd name="T22" fmla="*/ 50 w 199"/>
                <a:gd name="T23" fmla="*/ 0 h 262"/>
                <a:gd name="T24" fmla="*/ 76 w 199"/>
                <a:gd name="T25" fmla="*/ 16 h 262"/>
                <a:gd name="T26" fmla="*/ 114 w 199"/>
                <a:gd name="T27" fmla="*/ 21 h 262"/>
                <a:gd name="T28" fmla="*/ 177 w 199"/>
                <a:gd name="T29" fmla="*/ 77 h 262"/>
                <a:gd name="T30" fmla="*/ 182 w 199"/>
                <a:gd name="T31" fmla="*/ 94 h 262"/>
                <a:gd name="T32" fmla="*/ 177 w 199"/>
                <a:gd name="T33" fmla="*/ 99 h 262"/>
                <a:gd name="T34" fmla="*/ 182 w 199"/>
                <a:gd name="T35" fmla="*/ 99 h 262"/>
                <a:gd name="T36" fmla="*/ 182 w 199"/>
                <a:gd name="T37" fmla="*/ 77 h 262"/>
                <a:gd name="T38" fmla="*/ 194 w 199"/>
                <a:gd name="T39" fmla="*/ 82 h 262"/>
                <a:gd name="T40" fmla="*/ 199 w 199"/>
                <a:gd name="T41" fmla="*/ 111 h 262"/>
                <a:gd name="T42" fmla="*/ 199 w 199"/>
                <a:gd name="T43" fmla="*/ 127 h 262"/>
                <a:gd name="T44" fmla="*/ 156 w 199"/>
                <a:gd name="T45" fmla="*/ 189 h 262"/>
                <a:gd name="T46" fmla="*/ 139 w 199"/>
                <a:gd name="T47" fmla="*/ 238 h 262"/>
                <a:gd name="T48" fmla="*/ 114 w 199"/>
                <a:gd name="T49" fmla="*/ 262 h 262"/>
                <a:gd name="T50" fmla="*/ 92 w 199"/>
                <a:gd name="T51" fmla="*/ 262 h 262"/>
                <a:gd name="T52" fmla="*/ 85 w 199"/>
                <a:gd name="T53" fmla="*/ 245 h 262"/>
                <a:gd name="T54" fmla="*/ 71 w 199"/>
                <a:gd name="T55" fmla="*/ 250 h 262"/>
                <a:gd name="T56" fmla="*/ 54 w 199"/>
                <a:gd name="T57" fmla="*/ 245 h 262"/>
                <a:gd name="T58" fmla="*/ 33 w 199"/>
                <a:gd name="T59" fmla="*/ 262 h 262"/>
                <a:gd name="T60" fmla="*/ 0 w 199"/>
                <a:gd name="T61" fmla="*/ 245 h 262"/>
                <a:gd name="T62" fmla="*/ 0 w 199"/>
                <a:gd name="T63" fmla="*/ 245 h 262"/>
                <a:gd name="T64" fmla="*/ 0 w 199"/>
                <a:gd name="T65" fmla="*/ 245 h 2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99" h="262">
                  <a:moveTo>
                    <a:pt x="0" y="245"/>
                  </a:moveTo>
                  <a:lnTo>
                    <a:pt x="17" y="238"/>
                  </a:lnTo>
                  <a:lnTo>
                    <a:pt x="21" y="212"/>
                  </a:lnTo>
                  <a:lnTo>
                    <a:pt x="21" y="189"/>
                  </a:lnTo>
                  <a:lnTo>
                    <a:pt x="33" y="184"/>
                  </a:lnTo>
                  <a:lnTo>
                    <a:pt x="38" y="155"/>
                  </a:lnTo>
                  <a:lnTo>
                    <a:pt x="17" y="127"/>
                  </a:lnTo>
                  <a:lnTo>
                    <a:pt x="7" y="73"/>
                  </a:lnTo>
                  <a:lnTo>
                    <a:pt x="7" y="54"/>
                  </a:lnTo>
                  <a:lnTo>
                    <a:pt x="33" y="28"/>
                  </a:lnTo>
                  <a:lnTo>
                    <a:pt x="38" y="4"/>
                  </a:lnTo>
                  <a:lnTo>
                    <a:pt x="50" y="0"/>
                  </a:lnTo>
                  <a:lnTo>
                    <a:pt x="76" y="16"/>
                  </a:lnTo>
                  <a:lnTo>
                    <a:pt x="114" y="21"/>
                  </a:lnTo>
                  <a:lnTo>
                    <a:pt x="177" y="77"/>
                  </a:lnTo>
                  <a:lnTo>
                    <a:pt x="182" y="94"/>
                  </a:lnTo>
                  <a:lnTo>
                    <a:pt x="177" y="99"/>
                  </a:lnTo>
                  <a:lnTo>
                    <a:pt x="182" y="99"/>
                  </a:lnTo>
                  <a:lnTo>
                    <a:pt x="182" y="77"/>
                  </a:lnTo>
                  <a:lnTo>
                    <a:pt x="194" y="82"/>
                  </a:lnTo>
                  <a:lnTo>
                    <a:pt x="199" y="111"/>
                  </a:lnTo>
                  <a:lnTo>
                    <a:pt x="199" y="127"/>
                  </a:lnTo>
                  <a:lnTo>
                    <a:pt x="156" y="189"/>
                  </a:lnTo>
                  <a:lnTo>
                    <a:pt x="139" y="238"/>
                  </a:lnTo>
                  <a:lnTo>
                    <a:pt x="114" y="262"/>
                  </a:lnTo>
                  <a:lnTo>
                    <a:pt x="92" y="262"/>
                  </a:lnTo>
                  <a:lnTo>
                    <a:pt x="85" y="245"/>
                  </a:lnTo>
                  <a:lnTo>
                    <a:pt x="71" y="250"/>
                  </a:lnTo>
                  <a:lnTo>
                    <a:pt x="54" y="245"/>
                  </a:lnTo>
                  <a:lnTo>
                    <a:pt x="33" y="262"/>
                  </a:lnTo>
                  <a:lnTo>
                    <a:pt x="0" y="245"/>
                  </a:lnTo>
                  <a:lnTo>
                    <a:pt x="0" y="245"/>
                  </a:lnTo>
                  <a:lnTo>
                    <a:pt x="0" y="245"/>
                  </a:lnTo>
                  <a:close/>
                </a:path>
              </a:pathLst>
            </a:custGeom>
            <a:solidFill>
              <a:schemeClr val="bg2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97" name="Freeform 439">
              <a:extLst>
                <a:ext uri="{FF2B5EF4-FFF2-40B4-BE49-F238E27FC236}">
                  <a16:creationId xmlns:a16="http://schemas.microsoft.com/office/drawing/2014/main" id="{345021B0-94DB-4F0A-AF39-7B5992ACBC1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371421" y="1802728"/>
              <a:ext cx="130147" cy="184804"/>
            </a:xfrm>
            <a:custGeom>
              <a:avLst/>
              <a:gdLst>
                <a:gd name="T0" fmla="*/ 290 w 848"/>
                <a:gd name="T1" fmla="*/ 448 h 1204"/>
                <a:gd name="T2" fmla="*/ 290 w 848"/>
                <a:gd name="T3" fmla="*/ 349 h 1204"/>
                <a:gd name="T4" fmla="*/ 290 w 848"/>
                <a:gd name="T5" fmla="*/ 267 h 1204"/>
                <a:gd name="T6" fmla="*/ 113 w 848"/>
                <a:gd name="T7" fmla="*/ 115 h 1204"/>
                <a:gd name="T8" fmla="*/ 205 w 848"/>
                <a:gd name="T9" fmla="*/ 172 h 1204"/>
                <a:gd name="T10" fmla="*/ 399 w 848"/>
                <a:gd name="T11" fmla="*/ 155 h 1204"/>
                <a:gd name="T12" fmla="*/ 491 w 848"/>
                <a:gd name="T13" fmla="*/ 16 h 1204"/>
                <a:gd name="T14" fmla="*/ 685 w 848"/>
                <a:gd name="T15" fmla="*/ 70 h 1204"/>
                <a:gd name="T16" fmla="*/ 654 w 848"/>
                <a:gd name="T17" fmla="*/ 155 h 1204"/>
                <a:gd name="T18" fmla="*/ 739 w 848"/>
                <a:gd name="T19" fmla="*/ 300 h 1204"/>
                <a:gd name="T20" fmla="*/ 746 w 848"/>
                <a:gd name="T21" fmla="*/ 538 h 1204"/>
                <a:gd name="T22" fmla="*/ 729 w 848"/>
                <a:gd name="T23" fmla="*/ 611 h 1204"/>
                <a:gd name="T24" fmla="*/ 755 w 848"/>
                <a:gd name="T25" fmla="*/ 666 h 1204"/>
                <a:gd name="T26" fmla="*/ 777 w 848"/>
                <a:gd name="T27" fmla="*/ 727 h 1204"/>
                <a:gd name="T28" fmla="*/ 685 w 848"/>
                <a:gd name="T29" fmla="*/ 1044 h 1204"/>
                <a:gd name="T30" fmla="*/ 491 w 848"/>
                <a:gd name="T31" fmla="*/ 1133 h 1204"/>
                <a:gd name="T32" fmla="*/ 458 w 848"/>
                <a:gd name="T33" fmla="*/ 1133 h 1204"/>
                <a:gd name="T34" fmla="*/ 437 w 848"/>
                <a:gd name="T35" fmla="*/ 1150 h 1204"/>
                <a:gd name="T36" fmla="*/ 361 w 848"/>
                <a:gd name="T37" fmla="*/ 1171 h 1204"/>
                <a:gd name="T38" fmla="*/ 257 w 848"/>
                <a:gd name="T39" fmla="*/ 1195 h 1204"/>
                <a:gd name="T40" fmla="*/ 252 w 848"/>
                <a:gd name="T41" fmla="*/ 1183 h 1204"/>
                <a:gd name="T42" fmla="*/ 215 w 848"/>
                <a:gd name="T43" fmla="*/ 1155 h 1204"/>
                <a:gd name="T44" fmla="*/ 144 w 848"/>
                <a:gd name="T45" fmla="*/ 1126 h 1204"/>
                <a:gd name="T46" fmla="*/ 151 w 848"/>
                <a:gd name="T47" fmla="*/ 1015 h 1204"/>
                <a:gd name="T48" fmla="*/ 113 w 848"/>
                <a:gd name="T49" fmla="*/ 892 h 1204"/>
                <a:gd name="T50" fmla="*/ 134 w 848"/>
                <a:gd name="T51" fmla="*/ 822 h 1204"/>
                <a:gd name="T52" fmla="*/ 189 w 848"/>
                <a:gd name="T53" fmla="*/ 800 h 1204"/>
                <a:gd name="T54" fmla="*/ 236 w 848"/>
                <a:gd name="T55" fmla="*/ 760 h 1204"/>
                <a:gd name="T56" fmla="*/ 340 w 848"/>
                <a:gd name="T57" fmla="*/ 670 h 1204"/>
                <a:gd name="T58" fmla="*/ 399 w 848"/>
                <a:gd name="T59" fmla="*/ 628 h 1204"/>
                <a:gd name="T60" fmla="*/ 361 w 848"/>
                <a:gd name="T61" fmla="*/ 543 h 1204"/>
                <a:gd name="T62" fmla="*/ 328 w 848"/>
                <a:gd name="T63" fmla="*/ 522 h 1204"/>
                <a:gd name="T64" fmla="*/ 382 w 848"/>
                <a:gd name="T65" fmla="*/ 616 h 1204"/>
                <a:gd name="T66" fmla="*/ 236 w 848"/>
                <a:gd name="T67" fmla="*/ 748 h 1204"/>
                <a:gd name="T68" fmla="*/ 122 w 848"/>
                <a:gd name="T69" fmla="*/ 817 h 1204"/>
                <a:gd name="T70" fmla="*/ 189 w 848"/>
                <a:gd name="T71" fmla="*/ 822 h 1204"/>
                <a:gd name="T72" fmla="*/ 189 w 848"/>
                <a:gd name="T73" fmla="*/ 822 h 1204"/>
                <a:gd name="T74" fmla="*/ 122 w 848"/>
                <a:gd name="T75" fmla="*/ 833 h 1204"/>
                <a:gd name="T76" fmla="*/ 129 w 848"/>
                <a:gd name="T77" fmla="*/ 1081 h 1204"/>
                <a:gd name="T78" fmla="*/ 134 w 848"/>
                <a:gd name="T79" fmla="*/ 1126 h 1204"/>
                <a:gd name="T80" fmla="*/ 160 w 848"/>
                <a:gd name="T81" fmla="*/ 1138 h 1204"/>
                <a:gd name="T82" fmla="*/ 26 w 848"/>
                <a:gd name="T83" fmla="*/ 1183 h 1204"/>
                <a:gd name="T84" fmla="*/ 26 w 848"/>
                <a:gd name="T85" fmla="*/ 1150 h 1204"/>
                <a:gd name="T86" fmla="*/ 42 w 848"/>
                <a:gd name="T87" fmla="*/ 1155 h 1204"/>
                <a:gd name="T88" fmla="*/ 26 w 848"/>
                <a:gd name="T89" fmla="*/ 1183 h 1204"/>
                <a:gd name="T90" fmla="*/ 198 w 848"/>
                <a:gd name="T91" fmla="*/ 1150 h 1204"/>
                <a:gd name="T92" fmla="*/ 198 w 848"/>
                <a:gd name="T93" fmla="*/ 1150 h 1204"/>
                <a:gd name="T94" fmla="*/ 432 w 848"/>
                <a:gd name="T95" fmla="*/ 1150 h 1204"/>
                <a:gd name="T96" fmla="*/ 59 w 848"/>
                <a:gd name="T97" fmla="*/ 1166 h 1204"/>
                <a:gd name="T98" fmla="*/ 59 w 848"/>
                <a:gd name="T99" fmla="*/ 1166 h 1204"/>
                <a:gd name="T100" fmla="*/ 4 w 848"/>
                <a:gd name="T101" fmla="*/ 1171 h 1204"/>
                <a:gd name="T102" fmla="*/ 205 w 848"/>
                <a:gd name="T103" fmla="*/ 1155 h 1204"/>
                <a:gd name="T104" fmla="*/ 215 w 848"/>
                <a:gd name="T105" fmla="*/ 1183 h 1204"/>
                <a:gd name="T106" fmla="*/ 177 w 848"/>
                <a:gd name="T107" fmla="*/ 1166 h 1204"/>
                <a:gd name="T108" fmla="*/ 160 w 848"/>
                <a:gd name="T109" fmla="*/ 1171 h 1204"/>
                <a:gd name="T110" fmla="*/ 59 w 848"/>
                <a:gd name="T111" fmla="*/ 1171 h 1204"/>
                <a:gd name="T112" fmla="*/ 52 w 848"/>
                <a:gd name="T113" fmla="*/ 1171 h 1204"/>
                <a:gd name="T114" fmla="*/ 42 w 848"/>
                <a:gd name="T115" fmla="*/ 1171 h 1204"/>
                <a:gd name="T116" fmla="*/ 205 w 848"/>
                <a:gd name="T117" fmla="*/ 1171 h 1204"/>
                <a:gd name="T118" fmla="*/ 243 w 848"/>
                <a:gd name="T119" fmla="*/ 1195 h 1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848" h="1204">
                  <a:moveTo>
                    <a:pt x="328" y="522"/>
                  </a:moveTo>
                  <a:lnTo>
                    <a:pt x="311" y="489"/>
                  </a:lnTo>
                  <a:lnTo>
                    <a:pt x="297" y="481"/>
                  </a:lnTo>
                  <a:lnTo>
                    <a:pt x="290" y="465"/>
                  </a:lnTo>
                  <a:lnTo>
                    <a:pt x="290" y="448"/>
                  </a:lnTo>
                  <a:lnTo>
                    <a:pt x="307" y="432"/>
                  </a:lnTo>
                  <a:lnTo>
                    <a:pt x="307" y="411"/>
                  </a:lnTo>
                  <a:lnTo>
                    <a:pt x="311" y="404"/>
                  </a:lnTo>
                  <a:lnTo>
                    <a:pt x="285" y="361"/>
                  </a:lnTo>
                  <a:lnTo>
                    <a:pt x="290" y="349"/>
                  </a:lnTo>
                  <a:lnTo>
                    <a:pt x="297" y="349"/>
                  </a:lnTo>
                  <a:lnTo>
                    <a:pt x="297" y="333"/>
                  </a:lnTo>
                  <a:lnTo>
                    <a:pt x="274" y="321"/>
                  </a:lnTo>
                  <a:lnTo>
                    <a:pt x="274" y="276"/>
                  </a:lnTo>
                  <a:lnTo>
                    <a:pt x="290" y="267"/>
                  </a:lnTo>
                  <a:lnTo>
                    <a:pt x="236" y="210"/>
                  </a:lnTo>
                  <a:lnTo>
                    <a:pt x="177" y="193"/>
                  </a:lnTo>
                  <a:lnTo>
                    <a:pt x="75" y="127"/>
                  </a:lnTo>
                  <a:lnTo>
                    <a:pt x="106" y="132"/>
                  </a:lnTo>
                  <a:lnTo>
                    <a:pt x="113" y="115"/>
                  </a:lnTo>
                  <a:lnTo>
                    <a:pt x="106" y="111"/>
                  </a:lnTo>
                  <a:lnTo>
                    <a:pt x="129" y="94"/>
                  </a:lnTo>
                  <a:lnTo>
                    <a:pt x="151" y="99"/>
                  </a:lnTo>
                  <a:lnTo>
                    <a:pt x="198" y="155"/>
                  </a:lnTo>
                  <a:lnTo>
                    <a:pt x="205" y="172"/>
                  </a:lnTo>
                  <a:lnTo>
                    <a:pt x="257" y="181"/>
                  </a:lnTo>
                  <a:lnTo>
                    <a:pt x="311" y="155"/>
                  </a:lnTo>
                  <a:lnTo>
                    <a:pt x="382" y="189"/>
                  </a:lnTo>
                  <a:lnTo>
                    <a:pt x="394" y="181"/>
                  </a:lnTo>
                  <a:lnTo>
                    <a:pt x="399" y="155"/>
                  </a:lnTo>
                  <a:lnTo>
                    <a:pt x="432" y="148"/>
                  </a:lnTo>
                  <a:lnTo>
                    <a:pt x="437" y="132"/>
                  </a:lnTo>
                  <a:lnTo>
                    <a:pt x="437" y="99"/>
                  </a:lnTo>
                  <a:lnTo>
                    <a:pt x="453" y="44"/>
                  </a:lnTo>
                  <a:lnTo>
                    <a:pt x="491" y="16"/>
                  </a:lnTo>
                  <a:lnTo>
                    <a:pt x="529" y="21"/>
                  </a:lnTo>
                  <a:lnTo>
                    <a:pt x="595" y="0"/>
                  </a:lnTo>
                  <a:lnTo>
                    <a:pt x="621" y="28"/>
                  </a:lnTo>
                  <a:lnTo>
                    <a:pt x="675" y="44"/>
                  </a:lnTo>
                  <a:lnTo>
                    <a:pt x="685" y="70"/>
                  </a:lnTo>
                  <a:lnTo>
                    <a:pt x="654" y="99"/>
                  </a:lnTo>
                  <a:lnTo>
                    <a:pt x="654" y="115"/>
                  </a:lnTo>
                  <a:lnTo>
                    <a:pt x="663" y="127"/>
                  </a:lnTo>
                  <a:lnTo>
                    <a:pt x="621" y="148"/>
                  </a:lnTo>
                  <a:lnTo>
                    <a:pt x="654" y="155"/>
                  </a:lnTo>
                  <a:lnTo>
                    <a:pt x="633" y="193"/>
                  </a:lnTo>
                  <a:lnTo>
                    <a:pt x="647" y="238"/>
                  </a:lnTo>
                  <a:lnTo>
                    <a:pt x="692" y="250"/>
                  </a:lnTo>
                  <a:lnTo>
                    <a:pt x="718" y="283"/>
                  </a:lnTo>
                  <a:lnTo>
                    <a:pt x="739" y="300"/>
                  </a:lnTo>
                  <a:lnTo>
                    <a:pt x="729" y="316"/>
                  </a:lnTo>
                  <a:lnTo>
                    <a:pt x="675" y="378"/>
                  </a:lnTo>
                  <a:lnTo>
                    <a:pt x="670" y="394"/>
                  </a:lnTo>
                  <a:lnTo>
                    <a:pt x="729" y="489"/>
                  </a:lnTo>
                  <a:lnTo>
                    <a:pt x="746" y="538"/>
                  </a:lnTo>
                  <a:lnTo>
                    <a:pt x="725" y="543"/>
                  </a:lnTo>
                  <a:lnTo>
                    <a:pt x="718" y="576"/>
                  </a:lnTo>
                  <a:lnTo>
                    <a:pt x="708" y="592"/>
                  </a:lnTo>
                  <a:lnTo>
                    <a:pt x="725" y="592"/>
                  </a:lnTo>
                  <a:lnTo>
                    <a:pt x="729" y="611"/>
                  </a:lnTo>
                  <a:lnTo>
                    <a:pt x="708" y="611"/>
                  </a:lnTo>
                  <a:lnTo>
                    <a:pt x="708" y="633"/>
                  </a:lnTo>
                  <a:lnTo>
                    <a:pt x="725" y="637"/>
                  </a:lnTo>
                  <a:lnTo>
                    <a:pt x="746" y="649"/>
                  </a:lnTo>
                  <a:lnTo>
                    <a:pt x="755" y="666"/>
                  </a:lnTo>
                  <a:lnTo>
                    <a:pt x="739" y="670"/>
                  </a:lnTo>
                  <a:lnTo>
                    <a:pt x="746" y="682"/>
                  </a:lnTo>
                  <a:lnTo>
                    <a:pt x="739" y="687"/>
                  </a:lnTo>
                  <a:lnTo>
                    <a:pt x="777" y="711"/>
                  </a:lnTo>
                  <a:lnTo>
                    <a:pt x="777" y="727"/>
                  </a:lnTo>
                  <a:lnTo>
                    <a:pt x="739" y="765"/>
                  </a:lnTo>
                  <a:lnTo>
                    <a:pt x="826" y="822"/>
                  </a:lnTo>
                  <a:lnTo>
                    <a:pt x="848" y="859"/>
                  </a:lnTo>
                  <a:lnTo>
                    <a:pt x="826" y="904"/>
                  </a:lnTo>
                  <a:lnTo>
                    <a:pt x="685" y="1044"/>
                  </a:lnTo>
                  <a:lnTo>
                    <a:pt x="583" y="1126"/>
                  </a:lnTo>
                  <a:lnTo>
                    <a:pt x="562" y="1133"/>
                  </a:lnTo>
                  <a:lnTo>
                    <a:pt x="540" y="1117"/>
                  </a:lnTo>
                  <a:lnTo>
                    <a:pt x="524" y="1133"/>
                  </a:lnTo>
                  <a:lnTo>
                    <a:pt x="491" y="1133"/>
                  </a:lnTo>
                  <a:lnTo>
                    <a:pt x="503" y="1117"/>
                  </a:lnTo>
                  <a:lnTo>
                    <a:pt x="507" y="1117"/>
                  </a:lnTo>
                  <a:lnTo>
                    <a:pt x="503" y="1110"/>
                  </a:lnTo>
                  <a:lnTo>
                    <a:pt x="486" y="1138"/>
                  </a:lnTo>
                  <a:lnTo>
                    <a:pt x="458" y="1133"/>
                  </a:lnTo>
                  <a:lnTo>
                    <a:pt x="458" y="1150"/>
                  </a:lnTo>
                  <a:lnTo>
                    <a:pt x="458" y="1150"/>
                  </a:lnTo>
                  <a:lnTo>
                    <a:pt x="448" y="1138"/>
                  </a:lnTo>
                  <a:lnTo>
                    <a:pt x="453" y="1155"/>
                  </a:lnTo>
                  <a:lnTo>
                    <a:pt x="437" y="1150"/>
                  </a:lnTo>
                  <a:lnTo>
                    <a:pt x="448" y="1155"/>
                  </a:lnTo>
                  <a:lnTo>
                    <a:pt x="437" y="1155"/>
                  </a:lnTo>
                  <a:lnTo>
                    <a:pt x="432" y="1138"/>
                  </a:lnTo>
                  <a:lnTo>
                    <a:pt x="420" y="1155"/>
                  </a:lnTo>
                  <a:lnTo>
                    <a:pt x="361" y="1171"/>
                  </a:lnTo>
                  <a:lnTo>
                    <a:pt x="349" y="1183"/>
                  </a:lnTo>
                  <a:lnTo>
                    <a:pt x="340" y="1171"/>
                  </a:lnTo>
                  <a:lnTo>
                    <a:pt x="274" y="1188"/>
                  </a:lnTo>
                  <a:lnTo>
                    <a:pt x="285" y="1171"/>
                  </a:lnTo>
                  <a:lnTo>
                    <a:pt x="257" y="1195"/>
                  </a:lnTo>
                  <a:lnTo>
                    <a:pt x="236" y="1204"/>
                  </a:lnTo>
                  <a:lnTo>
                    <a:pt x="269" y="1183"/>
                  </a:lnTo>
                  <a:lnTo>
                    <a:pt x="252" y="1188"/>
                  </a:lnTo>
                  <a:lnTo>
                    <a:pt x="257" y="1183"/>
                  </a:lnTo>
                  <a:lnTo>
                    <a:pt x="252" y="1183"/>
                  </a:lnTo>
                  <a:lnTo>
                    <a:pt x="243" y="1171"/>
                  </a:lnTo>
                  <a:lnTo>
                    <a:pt x="243" y="1171"/>
                  </a:lnTo>
                  <a:lnTo>
                    <a:pt x="236" y="1166"/>
                  </a:lnTo>
                  <a:lnTo>
                    <a:pt x="252" y="1150"/>
                  </a:lnTo>
                  <a:lnTo>
                    <a:pt x="215" y="1155"/>
                  </a:lnTo>
                  <a:lnTo>
                    <a:pt x="205" y="1155"/>
                  </a:lnTo>
                  <a:lnTo>
                    <a:pt x="219" y="1138"/>
                  </a:lnTo>
                  <a:lnTo>
                    <a:pt x="160" y="1133"/>
                  </a:lnTo>
                  <a:lnTo>
                    <a:pt x="160" y="1117"/>
                  </a:lnTo>
                  <a:lnTo>
                    <a:pt x="144" y="1126"/>
                  </a:lnTo>
                  <a:lnTo>
                    <a:pt x="129" y="1110"/>
                  </a:lnTo>
                  <a:lnTo>
                    <a:pt x="129" y="1081"/>
                  </a:lnTo>
                  <a:lnTo>
                    <a:pt x="144" y="1039"/>
                  </a:lnTo>
                  <a:lnTo>
                    <a:pt x="134" y="1015"/>
                  </a:lnTo>
                  <a:lnTo>
                    <a:pt x="151" y="1015"/>
                  </a:lnTo>
                  <a:lnTo>
                    <a:pt x="122" y="966"/>
                  </a:lnTo>
                  <a:lnTo>
                    <a:pt x="129" y="944"/>
                  </a:lnTo>
                  <a:lnTo>
                    <a:pt x="129" y="928"/>
                  </a:lnTo>
                  <a:lnTo>
                    <a:pt x="113" y="911"/>
                  </a:lnTo>
                  <a:lnTo>
                    <a:pt x="113" y="892"/>
                  </a:lnTo>
                  <a:lnTo>
                    <a:pt x="113" y="876"/>
                  </a:lnTo>
                  <a:lnTo>
                    <a:pt x="129" y="859"/>
                  </a:lnTo>
                  <a:lnTo>
                    <a:pt x="134" y="850"/>
                  </a:lnTo>
                  <a:lnTo>
                    <a:pt x="151" y="850"/>
                  </a:lnTo>
                  <a:lnTo>
                    <a:pt x="134" y="822"/>
                  </a:lnTo>
                  <a:lnTo>
                    <a:pt x="167" y="822"/>
                  </a:lnTo>
                  <a:lnTo>
                    <a:pt x="177" y="833"/>
                  </a:lnTo>
                  <a:lnTo>
                    <a:pt x="198" y="822"/>
                  </a:lnTo>
                  <a:lnTo>
                    <a:pt x="198" y="817"/>
                  </a:lnTo>
                  <a:lnTo>
                    <a:pt x="189" y="800"/>
                  </a:lnTo>
                  <a:lnTo>
                    <a:pt x="198" y="793"/>
                  </a:lnTo>
                  <a:lnTo>
                    <a:pt x="205" y="800"/>
                  </a:lnTo>
                  <a:lnTo>
                    <a:pt x="215" y="765"/>
                  </a:lnTo>
                  <a:lnTo>
                    <a:pt x="231" y="781"/>
                  </a:lnTo>
                  <a:lnTo>
                    <a:pt x="236" y="760"/>
                  </a:lnTo>
                  <a:lnTo>
                    <a:pt x="269" y="748"/>
                  </a:lnTo>
                  <a:lnTo>
                    <a:pt x="274" y="727"/>
                  </a:lnTo>
                  <a:lnTo>
                    <a:pt x="290" y="727"/>
                  </a:lnTo>
                  <a:lnTo>
                    <a:pt x="311" y="687"/>
                  </a:lnTo>
                  <a:lnTo>
                    <a:pt x="340" y="670"/>
                  </a:lnTo>
                  <a:lnTo>
                    <a:pt x="349" y="637"/>
                  </a:lnTo>
                  <a:lnTo>
                    <a:pt x="394" y="633"/>
                  </a:lnTo>
                  <a:lnTo>
                    <a:pt x="403" y="637"/>
                  </a:lnTo>
                  <a:lnTo>
                    <a:pt x="415" y="633"/>
                  </a:lnTo>
                  <a:lnTo>
                    <a:pt x="399" y="628"/>
                  </a:lnTo>
                  <a:lnTo>
                    <a:pt x="415" y="628"/>
                  </a:lnTo>
                  <a:lnTo>
                    <a:pt x="403" y="600"/>
                  </a:lnTo>
                  <a:lnTo>
                    <a:pt x="415" y="571"/>
                  </a:lnTo>
                  <a:lnTo>
                    <a:pt x="403" y="559"/>
                  </a:lnTo>
                  <a:lnTo>
                    <a:pt x="361" y="543"/>
                  </a:lnTo>
                  <a:lnTo>
                    <a:pt x="349" y="526"/>
                  </a:lnTo>
                  <a:lnTo>
                    <a:pt x="361" y="517"/>
                  </a:lnTo>
                  <a:lnTo>
                    <a:pt x="344" y="526"/>
                  </a:lnTo>
                  <a:lnTo>
                    <a:pt x="328" y="522"/>
                  </a:lnTo>
                  <a:lnTo>
                    <a:pt x="328" y="522"/>
                  </a:lnTo>
                  <a:lnTo>
                    <a:pt x="328" y="522"/>
                  </a:lnTo>
                  <a:close/>
                  <a:moveTo>
                    <a:pt x="382" y="616"/>
                  </a:moveTo>
                  <a:lnTo>
                    <a:pt x="366" y="628"/>
                  </a:lnTo>
                  <a:lnTo>
                    <a:pt x="349" y="616"/>
                  </a:lnTo>
                  <a:lnTo>
                    <a:pt x="382" y="616"/>
                  </a:lnTo>
                  <a:lnTo>
                    <a:pt x="382" y="616"/>
                  </a:lnTo>
                  <a:lnTo>
                    <a:pt x="382" y="616"/>
                  </a:lnTo>
                  <a:close/>
                  <a:moveTo>
                    <a:pt x="236" y="760"/>
                  </a:moveTo>
                  <a:lnTo>
                    <a:pt x="219" y="760"/>
                  </a:lnTo>
                  <a:lnTo>
                    <a:pt x="236" y="748"/>
                  </a:lnTo>
                  <a:lnTo>
                    <a:pt x="236" y="760"/>
                  </a:lnTo>
                  <a:lnTo>
                    <a:pt x="236" y="760"/>
                  </a:lnTo>
                  <a:lnTo>
                    <a:pt x="236" y="760"/>
                  </a:lnTo>
                  <a:close/>
                  <a:moveTo>
                    <a:pt x="129" y="817"/>
                  </a:moveTo>
                  <a:lnTo>
                    <a:pt x="122" y="817"/>
                  </a:lnTo>
                  <a:lnTo>
                    <a:pt x="129" y="817"/>
                  </a:lnTo>
                  <a:lnTo>
                    <a:pt x="129" y="817"/>
                  </a:lnTo>
                  <a:lnTo>
                    <a:pt x="129" y="817"/>
                  </a:lnTo>
                  <a:lnTo>
                    <a:pt x="129" y="817"/>
                  </a:lnTo>
                  <a:close/>
                  <a:moveTo>
                    <a:pt x="189" y="822"/>
                  </a:moveTo>
                  <a:lnTo>
                    <a:pt x="177" y="817"/>
                  </a:lnTo>
                  <a:lnTo>
                    <a:pt x="189" y="817"/>
                  </a:lnTo>
                  <a:lnTo>
                    <a:pt x="189" y="822"/>
                  </a:lnTo>
                  <a:lnTo>
                    <a:pt x="189" y="822"/>
                  </a:lnTo>
                  <a:lnTo>
                    <a:pt x="189" y="822"/>
                  </a:lnTo>
                  <a:close/>
                  <a:moveTo>
                    <a:pt x="122" y="833"/>
                  </a:moveTo>
                  <a:lnTo>
                    <a:pt x="113" y="817"/>
                  </a:lnTo>
                  <a:lnTo>
                    <a:pt x="134" y="822"/>
                  </a:lnTo>
                  <a:lnTo>
                    <a:pt x="122" y="833"/>
                  </a:lnTo>
                  <a:lnTo>
                    <a:pt x="122" y="833"/>
                  </a:lnTo>
                  <a:lnTo>
                    <a:pt x="122" y="833"/>
                  </a:lnTo>
                  <a:close/>
                  <a:moveTo>
                    <a:pt x="129" y="1081"/>
                  </a:moveTo>
                  <a:lnTo>
                    <a:pt x="122" y="1077"/>
                  </a:lnTo>
                  <a:lnTo>
                    <a:pt x="129" y="1081"/>
                  </a:lnTo>
                  <a:lnTo>
                    <a:pt x="129" y="1081"/>
                  </a:lnTo>
                  <a:lnTo>
                    <a:pt x="129" y="1081"/>
                  </a:lnTo>
                  <a:lnTo>
                    <a:pt x="129" y="1081"/>
                  </a:lnTo>
                  <a:close/>
                  <a:moveTo>
                    <a:pt x="134" y="1133"/>
                  </a:moveTo>
                  <a:lnTo>
                    <a:pt x="129" y="1126"/>
                  </a:lnTo>
                  <a:lnTo>
                    <a:pt x="134" y="1126"/>
                  </a:lnTo>
                  <a:lnTo>
                    <a:pt x="134" y="1133"/>
                  </a:lnTo>
                  <a:lnTo>
                    <a:pt x="134" y="1133"/>
                  </a:lnTo>
                  <a:lnTo>
                    <a:pt x="134" y="1133"/>
                  </a:lnTo>
                  <a:close/>
                  <a:moveTo>
                    <a:pt x="177" y="1150"/>
                  </a:moveTo>
                  <a:lnTo>
                    <a:pt x="160" y="1138"/>
                  </a:lnTo>
                  <a:lnTo>
                    <a:pt x="160" y="1133"/>
                  </a:lnTo>
                  <a:lnTo>
                    <a:pt x="177" y="1150"/>
                  </a:lnTo>
                  <a:lnTo>
                    <a:pt x="177" y="1150"/>
                  </a:lnTo>
                  <a:lnTo>
                    <a:pt x="177" y="1150"/>
                  </a:lnTo>
                  <a:close/>
                  <a:moveTo>
                    <a:pt x="26" y="1183"/>
                  </a:moveTo>
                  <a:lnTo>
                    <a:pt x="21" y="1171"/>
                  </a:lnTo>
                  <a:lnTo>
                    <a:pt x="14" y="1155"/>
                  </a:lnTo>
                  <a:lnTo>
                    <a:pt x="21" y="1150"/>
                  </a:lnTo>
                  <a:lnTo>
                    <a:pt x="21" y="1166"/>
                  </a:lnTo>
                  <a:lnTo>
                    <a:pt x="26" y="1150"/>
                  </a:lnTo>
                  <a:lnTo>
                    <a:pt x="21" y="1138"/>
                  </a:lnTo>
                  <a:lnTo>
                    <a:pt x="26" y="1138"/>
                  </a:lnTo>
                  <a:lnTo>
                    <a:pt x="52" y="1150"/>
                  </a:lnTo>
                  <a:lnTo>
                    <a:pt x="42" y="1166"/>
                  </a:lnTo>
                  <a:lnTo>
                    <a:pt x="42" y="1155"/>
                  </a:lnTo>
                  <a:lnTo>
                    <a:pt x="37" y="1150"/>
                  </a:lnTo>
                  <a:lnTo>
                    <a:pt x="26" y="1155"/>
                  </a:lnTo>
                  <a:lnTo>
                    <a:pt x="37" y="1171"/>
                  </a:lnTo>
                  <a:lnTo>
                    <a:pt x="26" y="1183"/>
                  </a:lnTo>
                  <a:lnTo>
                    <a:pt x="26" y="1183"/>
                  </a:lnTo>
                  <a:lnTo>
                    <a:pt x="26" y="1183"/>
                  </a:lnTo>
                  <a:close/>
                  <a:moveTo>
                    <a:pt x="198" y="1150"/>
                  </a:moveTo>
                  <a:lnTo>
                    <a:pt x="198" y="1150"/>
                  </a:lnTo>
                  <a:lnTo>
                    <a:pt x="205" y="1150"/>
                  </a:lnTo>
                  <a:lnTo>
                    <a:pt x="198" y="1150"/>
                  </a:lnTo>
                  <a:lnTo>
                    <a:pt x="198" y="1150"/>
                  </a:lnTo>
                  <a:lnTo>
                    <a:pt x="198" y="1150"/>
                  </a:lnTo>
                  <a:close/>
                  <a:moveTo>
                    <a:pt x="189" y="1155"/>
                  </a:moveTo>
                  <a:lnTo>
                    <a:pt x="181" y="1150"/>
                  </a:lnTo>
                  <a:lnTo>
                    <a:pt x="198" y="1150"/>
                  </a:lnTo>
                  <a:lnTo>
                    <a:pt x="189" y="1155"/>
                  </a:lnTo>
                  <a:lnTo>
                    <a:pt x="189" y="1155"/>
                  </a:lnTo>
                  <a:lnTo>
                    <a:pt x="189" y="1155"/>
                  </a:lnTo>
                  <a:close/>
                  <a:moveTo>
                    <a:pt x="432" y="1166"/>
                  </a:moveTo>
                  <a:lnTo>
                    <a:pt x="432" y="1150"/>
                  </a:lnTo>
                  <a:lnTo>
                    <a:pt x="432" y="1155"/>
                  </a:lnTo>
                  <a:lnTo>
                    <a:pt x="432" y="1166"/>
                  </a:lnTo>
                  <a:lnTo>
                    <a:pt x="432" y="1166"/>
                  </a:lnTo>
                  <a:lnTo>
                    <a:pt x="432" y="1166"/>
                  </a:lnTo>
                  <a:close/>
                  <a:moveTo>
                    <a:pt x="59" y="1166"/>
                  </a:moveTo>
                  <a:lnTo>
                    <a:pt x="59" y="1155"/>
                  </a:lnTo>
                  <a:lnTo>
                    <a:pt x="68" y="1155"/>
                  </a:lnTo>
                  <a:lnTo>
                    <a:pt x="59" y="1166"/>
                  </a:lnTo>
                  <a:lnTo>
                    <a:pt x="59" y="1166"/>
                  </a:lnTo>
                  <a:lnTo>
                    <a:pt x="59" y="1166"/>
                  </a:lnTo>
                  <a:close/>
                  <a:moveTo>
                    <a:pt x="4" y="1171"/>
                  </a:moveTo>
                  <a:lnTo>
                    <a:pt x="0" y="1166"/>
                  </a:lnTo>
                  <a:lnTo>
                    <a:pt x="4" y="1155"/>
                  </a:lnTo>
                  <a:lnTo>
                    <a:pt x="14" y="1166"/>
                  </a:lnTo>
                  <a:lnTo>
                    <a:pt x="4" y="1171"/>
                  </a:lnTo>
                  <a:lnTo>
                    <a:pt x="4" y="1171"/>
                  </a:lnTo>
                  <a:lnTo>
                    <a:pt x="4" y="1171"/>
                  </a:lnTo>
                  <a:close/>
                  <a:moveTo>
                    <a:pt x="215" y="1183"/>
                  </a:moveTo>
                  <a:lnTo>
                    <a:pt x="205" y="1183"/>
                  </a:lnTo>
                  <a:lnTo>
                    <a:pt x="205" y="1155"/>
                  </a:lnTo>
                  <a:lnTo>
                    <a:pt x="236" y="1155"/>
                  </a:lnTo>
                  <a:lnTo>
                    <a:pt x="236" y="1171"/>
                  </a:lnTo>
                  <a:lnTo>
                    <a:pt x="215" y="1183"/>
                  </a:lnTo>
                  <a:lnTo>
                    <a:pt x="215" y="1183"/>
                  </a:lnTo>
                  <a:lnTo>
                    <a:pt x="215" y="1183"/>
                  </a:lnTo>
                  <a:close/>
                  <a:moveTo>
                    <a:pt x="177" y="1166"/>
                  </a:moveTo>
                  <a:lnTo>
                    <a:pt x="167" y="1166"/>
                  </a:lnTo>
                  <a:lnTo>
                    <a:pt x="181" y="1166"/>
                  </a:lnTo>
                  <a:lnTo>
                    <a:pt x="177" y="1166"/>
                  </a:lnTo>
                  <a:lnTo>
                    <a:pt x="177" y="1166"/>
                  </a:lnTo>
                  <a:lnTo>
                    <a:pt x="177" y="1166"/>
                  </a:lnTo>
                  <a:close/>
                  <a:moveTo>
                    <a:pt x="160" y="1171"/>
                  </a:moveTo>
                  <a:lnTo>
                    <a:pt x="151" y="1166"/>
                  </a:lnTo>
                  <a:lnTo>
                    <a:pt x="167" y="1166"/>
                  </a:lnTo>
                  <a:lnTo>
                    <a:pt x="160" y="1171"/>
                  </a:lnTo>
                  <a:lnTo>
                    <a:pt x="160" y="1171"/>
                  </a:lnTo>
                  <a:lnTo>
                    <a:pt x="160" y="1171"/>
                  </a:lnTo>
                  <a:close/>
                  <a:moveTo>
                    <a:pt x="52" y="1171"/>
                  </a:moveTo>
                  <a:lnTo>
                    <a:pt x="52" y="1166"/>
                  </a:lnTo>
                  <a:lnTo>
                    <a:pt x="59" y="1171"/>
                  </a:lnTo>
                  <a:lnTo>
                    <a:pt x="52" y="1171"/>
                  </a:lnTo>
                  <a:lnTo>
                    <a:pt x="52" y="1171"/>
                  </a:lnTo>
                  <a:lnTo>
                    <a:pt x="52" y="1171"/>
                  </a:lnTo>
                  <a:close/>
                  <a:moveTo>
                    <a:pt x="42" y="1171"/>
                  </a:moveTo>
                  <a:lnTo>
                    <a:pt x="52" y="1171"/>
                  </a:lnTo>
                  <a:lnTo>
                    <a:pt x="52" y="1183"/>
                  </a:lnTo>
                  <a:lnTo>
                    <a:pt x="37" y="1171"/>
                  </a:lnTo>
                  <a:lnTo>
                    <a:pt x="42" y="1171"/>
                  </a:lnTo>
                  <a:lnTo>
                    <a:pt x="42" y="1171"/>
                  </a:lnTo>
                  <a:lnTo>
                    <a:pt x="42" y="1171"/>
                  </a:lnTo>
                  <a:close/>
                  <a:moveTo>
                    <a:pt x="205" y="1171"/>
                  </a:moveTo>
                  <a:lnTo>
                    <a:pt x="198" y="1183"/>
                  </a:lnTo>
                  <a:lnTo>
                    <a:pt x="198" y="1171"/>
                  </a:lnTo>
                  <a:lnTo>
                    <a:pt x="205" y="1171"/>
                  </a:lnTo>
                  <a:lnTo>
                    <a:pt x="205" y="1171"/>
                  </a:lnTo>
                  <a:lnTo>
                    <a:pt x="205" y="1171"/>
                  </a:lnTo>
                  <a:close/>
                  <a:moveTo>
                    <a:pt x="243" y="1195"/>
                  </a:moveTo>
                  <a:lnTo>
                    <a:pt x="231" y="1188"/>
                  </a:lnTo>
                  <a:lnTo>
                    <a:pt x="252" y="1188"/>
                  </a:lnTo>
                  <a:lnTo>
                    <a:pt x="243" y="1195"/>
                  </a:lnTo>
                  <a:lnTo>
                    <a:pt x="243" y="1195"/>
                  </a:lnTo>
                  <a:lnTo>
                    <a:pt x="243" y="1195"/>
                  </a:lnTo>
                  <a:close/>
                </a:path>
              </a:pathLst>
            </a:custGeom>
            <a:solidFill>
              <a:schemeClr val="bg2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98" name="Freeform 440">
              <a:extLst>
                <a:ext uri="{FF2B5EF4-FFF2-40B4-BE49-F238E27FC236}">
                  <a16:creationId xmlns:a16="http://schemas.microsoft.com/office/drawing/2014/main" id="{A8F8039B-D0A4-4016-A5AD-9F5E7077FC8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224000" y="2923067"/>
              <a:ext cx="3874167" cy="33615"/>
            </a:xfrm>
            <a:custGeom>
              <a:avLst/>
              <a:gdLst>
                <a:gd name="T0" fmla="*/ 25214 w 25243"/>
                <a:gd name="T1" fmla="*/ 37 h 219"/>
                <a:gd name="T2" fmla="*/ 25243 w 25243"/>
                <a:gd name="T3" fmla="*/ 21 h 219"/>
                <a:gd name="T4" fmla="*/ 25200 w 25243"/>
                <a:gd name="T5" fmla="*/ 49 h 219"/>
                <a:gd name="T6" fmla="*/ 25184 w 25243"/>
                <a:gd name="T7" fmla="*/ 49 h 219"/>
                <a:gd name="T8" fmla="*/ 25167 w 25243"/>
                <a:gd name="T9" fmla="*/ 49 h 219"/>
                <a:gd name="T10" fmla="*/ 25146 w 25243"/>
                <a:gd name="T11" fmla="*/ 49 h 219"/>
                <a:gd name="T12" fmla="*/ 25162 w 25243"/>
                <a:gd name="T13" fmla="*/ 37 h 219"/>
                <a:gd name="T14" fmla="*/ 25205 w 25243"/>
                <a:gd name="T15" fmla="*/ 16 h 219"/>
                <a:gd name="T16" fmla="*/ 25243 w 25243"/>
                <a:gd name="T17" fmla="*/ 0 h 219"/>
                <a:gd name="T18" fmla="*/ 25243 w 25243"/>
                <a:gd name="T19" fmla="*/ 0 h 219"/>
                <a:gd name="T20" fmla="*/ 0 w 25243"/>
                <a:gd name="T21" fmla="*/ 21 h 219"/>
                <a:gd name="T22" fmla="*/ 0 w 25243"/>
                <a:gd name="T23" fmla="*/ 21 h 219"/>
                <a:gd name="T24" fmla="*/ 0 w 25243"/>
                <a:gd name="T25" fmla="*/ 21 h 219"/>
                <a:gd name="T26" fmla="*/ 0 w 25243"/>
                <a:gd name="T27" fmla="*/ 21 h 219"/>
                <a:gd name="T28" fmla="*/ 5 w 25243"/>
                <a:gd name="T29" fmla="*/ 37 h 219"/>
                <a:gd name="T30" fmla="*/ 0 w 25243"/>
                <a:gd name="T31" fmla="*/ 54 h 219"/>
                <a:gd name="T32" fmla="*/ 0 w 25243"/>
                <a:gd name="T33" fmla="*/ 49 h 219"/>
                <a:gd name="T34" fmla="*/ 25243 w 25243"/>
                <a:gd name="T35" fmla="*/ 54 h 219"/>
                <a:gd name="T36" fmla="*/ 25243 w 25243"/>
                <a:gd name="T37" fmla="*/ 49 h 219"/>
                <a:gd name="T38" fmla="*/ 25243 w 25243"/>
                <a:gd name="T39" fmla="*/ 54 h 219"/>
                <a:gd name="T40" fmla="*/ 71 w 25243"/>
                <a:gd name="T41" fmla="*/ 87 h 219"/>
                <a:gd name="T42" fmla="*/ 76 w 25243"/>
                <a:gd name="T43" fmla="*/ 75 h 219"/>
                <a:gd name="T44" fmla="*/ 71 w 25243"/>
                <a:gd name="T45" fmla="*/ 87 h 219"/>
                <a:gd name="T46" fmla="*/ 25205 w 25243"/>
                <a:gd name="T47" fmla="*/ 87 h 219"/>
                <a:gd name="T48" fmla="*/ 25205 w 25243"/>
                <a:gd name="T49" fmla="*/ 75 h 219"/>
                <a:gd name="T50" fmla="*/ 25205 w 25243"/>
                <a:gd name="T51" fmla="*/ 87 h 219"/>
                <a:gd name="T52" fmla="*/ 25124 w 25243"/>
                <a:gd name="T53" fmla="*/ 146 h 219"/>
                <a:gd name="T54" fmla="*/ 25058 w 25243"/>
                <a:gd name="T55" fmla="*/ 141 h 219"/>
                <a:gd name="T56" fmla="*/ 25070 w 25243"/>
                <a:gd name="T57" fmla="*/ 115 h 219"/>
                <a:gd name="T58" fmla="*/ 25075 w 25243"/>
                <a:gd name="T59" fmla="*/ 92 h 219"/>
                <a:gd name="T60" fmla="*/ 25150 w 25243"/>
                <a:gd name="T61" fmla="*/ 108 h 219"/>
                <a:gd name="T62" fmla="*/ 25124 w 25243"/>
                <a:gd name="T63" fmla="*/ 146 h 219"/>
                <a:gd name="T64" fmla="*/ 25124 w 25243"/>
                <a:gd name="T65" fmla="*/ 146 h 219"/>
                <a:gd name="T66" fmla="*/ 25162 w 25243"/>
                <a:gd name="T67" fmla="*/ 108 h 219"/>
                <a:gd name="T68" fmla="*/ 25167 w 25243"/>
                <a:gd name="T69" fmla="*/ 108 h 219"/>
                <a:gd name="T70" fmla="*/ 25162 w 25243"/>
                <a:gd name="T71" fmla="*/ 115 h 219"/>
                <a:gd name="T72" fmla="*/ 114 w 25243"/>
                <a:gd name="T73" fmla="*/ 130 h 219"/>
                <a:gd name="T74" fmla="*/ 126 w 25243"/>
                <a:gd name="T75" fmla="*/ 125 h 219"/>
                <a:gd name="T76" fmla="*/ 114 w 25243"/>
                <a:gd name="T77" fmla="*/ 130 h 219"/>
                <a:gd name="T78" fmla="*/ 25200 w 25243"/>
                <a:gd name="T79" fmla="*/ 141 h 219"/>
                <a:gd name="T80" fmla="*/ 25200 w 25243"/>
                <a:gd name="T81" fmla="*/ 125 h 219"/>
                <a:gd name="T82" fmla="*/ 25200 w 25243"/>
                <a:gd name="T83" fmla="*/ 141 h 219"/>
                <a:gd name="T84" fmla="*/ 88 w 25243"/>
                <a:gd name="T85" fmla="*/ 146 h 219"/>
                <a:gd name="T86" fmla="*/ 88 w 25243"/>
                <a:gd name="T87" fmla="*/ 146 h 219"/>
                <a:gd name="T88" fmla="*/ 88 w 25243"/>
                <a:gd name="T89" fmla="*/ 146 h 219"/>
                <a:gd name="T90" fmla="*/ 25243 w 25243"/>
                <a:gd name="T91" fmla="*/ 179 h 219"/>
                <a:gd name="T92" fmla="*/ 25243 w 25243"/>
                <a:gd name="T93" fmla="*/ 170 h 219"/>
                <a:gd name="T94" fmla="*/ 25243 w 25243"/>
                <a:gd name="T95" fmla="*/ 179 h 219"/>
                <a:gd name="T96" fmla="*/ 5 w 25243"/>
                <a:gd name="T97" fmla="*/ 212 h 219"/>
                <a:gd name="T98" fmla="*/ 17 w 25243"/>
                <a:gd name="T99" fmla="*/ 203 h 219"/>
                <a:gd name="T100" fmla="*/ 5 w 25243"/>
                <a:gd name="T101" fmla="*/ 212 h 219"/>
                <a:gd name="T102" fmla="*/ 25113 w 25243"/>
                <a:gd name="T103" fmla="*/ 219 h 219"/>
                <a:gd name="T104" fmla="*/ 25129 w 25243"/>
                <a:gd name="T105" fmla="*/ 203 h 219"/>
                <a:gd name="T106" fmla="*/ 25124 w 25243"/>
                <a:gd name="T107" fmla="*/ 212 h 219"/>
                <a:gd name="T108" fmla="*/ 25113 w 25243"/>
                <a:gd name="T109" fmla="*/ 219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5243" h="219">
                  <a:moveTo>
                    <a:pt x="25243" y="0"/>
                  </a:moveTo>
                  <a:lnTo>
                    <a:pt x="25214" y="37"/>
                  </a:lnTo>
                  <a:lnTo>
                    <a:pt x="25214" y="37"/>
                  </a:lnTo>
                  <a:lnTo>
                    <a:pt x="25243" y="21"/>
                  </a:lnTo>
                  <a:lnTo>
                    <a:pt x="25238" y="37"/>
                  </a:lnTo>
                  <a:lnTo>
                    <a:pt x="25200" y="49"/>
                  </a:lnTo>
                  <a:lnTo>
                    <a:pt x="25200" y="37"/>
                  </a:lnTo>
                  <a:lnTo>
                    <a:pt x="25184" y="49"/>
                  </a:lnTo>
                  <a:lnTo>
                    <a:pt x="25184" y="54"/>
                  </a:lnTo>
                  <a:lnTo>
                    <a:pt x="25167" y="49"/>
                  </a:lnTo>
                  <a:lnTo>
                    <a:pt x="25162" y="59"/>
                  </a:lnTo>
                  <a:lnTo>
                    <a:pt x="25146" y="49"/>
                  </a:lnTo>
                  <a:lnTo>
                    <a:pt x="25150" y="33"/>
                  </a:lnTo>
                  <a:lnTo>
                    <a:pt x="25162" y="37"/>
                  </a:lnTo>
                  <a:lnTo>
                    <a:pt x="25176" y="21"/>
                  </a:lnTo>
                  <a:lnTo>
                    <a:pt x="25205" y="16"/>
                  </a:lnTo>
                  <a:lnTo>
                    <a:pt x="25214" y="4"/>
                  </a:lnTo>
                  <a:lnTo>
                    <a:pt x="25243" y="0"/>
                  </a:lnTo>
                  <a:lnTo>
                    <a:pt x="25243" y="0"/>
                  </a:lnTo>
                  <a:lnTo>
                    <a:pt x="25243" y="0"/>
                  </a:lnTo>
                  <a:lnTo>
                    <a:pt x="25243" y="0"/>
                  </a:lnTo>
                  <a:close/>
                  <a:moveTo>
                    <a:pt x="0" y="21"/>
                  </a:moveTo>
                  <a:lnTo>
                    <a:pt x="5" y="16"/>
                  </a:lnTo>
                  <a:lnTo>
                    <a:pt x="0" y="21"/>
                  </a:lnTo>
                  <a:lnTo>
                    <a:pt x="0" y="21"/>
                  </a:lnTo>
                  <a:lnTo>
                    <a:pt x="0" y="21"/>
                  </a:lnTo>
                  <a:lnTo>
                    <a:pt x="0" y="21"/>
                  </a:lnTo>
                  <a:lnTo>
                    <a:pt x="0" y="21"/>
                  </a:lnTo>
                  <a:close/>
                  <a:moveTo>
                    <a:pt x="0" y="49"/>
                  </a:moveTo>
                  <a:lnTo>
                    <a:pt x="5" y="37"/>
                  </a:lnTo>
                  <a:lnTo>
                    <a:pt x="5" y="49"/>
                  </a:lnTo>
                  <a:lnTo>
                    <a:pt x="0" y="54"/>
                  </a:lnTo>
                  <a:lnTo>
                    <a:pt x="0" y="49"/>
                  </a:lnTo>
                  <a:lnTo>
                    <a:pt x="0" y="49"/>
                  </a:lnTo>
                  <a:lnTo>
                    <a:pt x="0" y="49"/>
                  </a:lnTo>
                  <a:close/>
                  <a:moveTo>
                    <a:pt x="25243" y="54"/>
                  </a:moveTo>
                  <a:lnTo>
                    <a:pt x="25238" y="54"/>
                  </a:lnTo>
                  <a:lnTo>
                    <a:pt x="25243" y="49"/>
                  </a:lnTo>
                  <a:lnTo>
                    <a:pt x="25243" y="54"/>
                  </a:lnTo>
                  <a:lnTo>
                    <a:pt x="25243" y="54"/>
                  </a:lnTo>
                  <a:lnTo>
                    <a:pt x="25243" y="54"/>
                  </a:lnTo>
                  <a:close/>
                  <a:moveTo>
                    <a:pt x="71" y="87"/>
                  </a:moveTo>
                  <a:lnTo>
                    <a:pt x="71" y="70"/>
                  </a:lnTo>
                  <a:lnTo>
                    <a:pt x="76" y="75"/>
                  </a:lnTo>
                  <a:lnTo>
                    <a:pt x="71" y="87"/>
                  </a:lnTo>
                  <a:lnTo>
                    <a:pt x="71" y="87"/>
                  </a:lnTo>
                  <a:lnTo>
                    <a:pt x="71" y="87"/>
                  </a:lnTo>
                  <a:close/>
                  <a:moveTo>
                    <a:pt x="25205" y="87"/>
                  </a:moveTo>
                  <a:lnTo>
                    <a:pt x="25205" y="75"/>
                  </a:lnTo>
                  <a:lnTo>
                    <a:pt x="25205" y="75"/>
                  </a:lnTo>
                  <a:lnTo>
                    <a:pt x="25205" y="87"/>
                  </a:lnTo>
                  <a:lnTo>
                    <a:pt x="25205" y="87"/>
                  </a:lnTo>
                  <a:lnTo>
                    <a:pt x="25205" y="87"/>
                  </a:lnTo>
                  <a:close/>
                  <a:moveTo>
                    <a:pt x="25124" y="146"/>
                  </a:moveTo>
                  <a:lnTo>
                    <a:pt x="25096" y="146"/>
                  </a:lnTo>
                  <a:lnTo>
                    <a:pt x="25058" y="141"/>
                  </a:lnTo>
                  <a:lnTo>
                    <a:pt x="25054" y="125"/>
                  </a:lnTo>
                  <a:lnTo>
                    <a:pt x="25070" y="115"/>
                  </a:lnTo>
                  <a:lnTo>
                    <a:pt x="25070" y="108"/>
                  </a:lnTo>
                  <a:lnTo>
                    <a:pt x="25075" y="92"/>
                  </a:lnTo>
                  <a:lnTo>
                    <a:pt x="25124" y="75"/>
                  </a:lnTo>
                  <a:lnTo>
                    <a:pt x="25150" y="108"/>
                  </a:lnTo>
                  <a:lnTo>
                    <a:pt x="25162" y="130"/>
                  </a:lnTo>
                  <a:lnTo>
                    <a:pt x="25124" y="146"/>
                  </a:lnTo>
                  <a:lnTo>
                    <a:pt x="25124" y="146"/>
                  </a:lnTo>
                  <a:lnTo>
                    <a:pt x="25124" y="146"/>
                  </a:lnTo>
                  <a:close/>
                  <a:moveTo>
                    <a:pt x="25162" y="115"/>
                  </a:moveTo>
                  <a:lnTo>
                    <a:pt x="25162" y="108"/>
                  </a:lnTo>
                  <a:lnTo>
                    <a:pt x="25167" y="108"/>
                  </a:lnTo>
                  <a:lnTo>
                    <a:pt x="25167" y="108"/>
                  </a:lnTo>
                  <a:lnTo>
                    <a:pt x="25162" y="115"/>
                  </a:lnTo>
                  <a:lnTo>
                    <a:pt x="25162" y="115"/>
                  </a:lnTo>
                  <a:lnTo>
                    <a:pt x="25162" y="115"/>
                  </a:lnTo>
                  <a:close/>
                  <a:moveTo>
                    <a:pt x="114" y="130"/>
                  </a:moveTo>
                  <a:lnTo>
                    <a:pt x="114" y="125"/>
                  </a:lnTo>
                  <a:lnTo>
                    <a:pt x="126" y="125"/>
                  </a:lnTo>
                  <a:lnTo>
                    <a:pt x="114" y="130"/>
                  </a:lnTo>
                  <a:lnTo>
                    <a:pt x="114" y="130"/>
                  </a:lnTo>
                  <a:lnTo>
                    <a:pt x="114" y="130"/>
                  </a:lnTo>
                  <a:close/>
                  <a:moveTo>
                    <a:pt x="25200" y="141"/>
                  </a:moveTo>
                  <a:lnTo>
                    <a:pt x="25200" y="130"/>
                  </a:lnTo>
                  <a:lnTo>
                    <a:pt x="25200" y="125"/>
                  </a:lnTo>
                  <a:lnTo>
                    <a:pt x="25200" y="141"/>
                  </a:lnTo>
                  <a:lnTo>
                    <a:pt x="25200" y="141"/>
                  </a:lnTo>
                  <a:lnTo>
                    <a:pt x="25200" y="141"/>
                  </a:lnTo>
                  <a:close/>
                  <a:moveTo>
                    <a:pt x="88" y="146"/>
                  </a:moveTo>
                  <a:lnTo>
                    <a:pt x="76" y="146"/>
                  </a:lnTo>
                  <a:lnTo>
                    <a:pt x="88" y="146"/>
                  </a:lnTo>
                  <a:lnTo>
                    <a:pt x="88" y="146"/>
                  </a:lnTo>
                  <a:lnTo>
                    <a:pt x="88" y="146"/>
                  </a:lnTo>
                  <a:lnTo>
                    <a:pt x="88" y="146"/>
                  </a:lnTo>
                  <a:close/>
                  <a:moveTo>
                    <a:pt x="25243" y="179"/>
                  </a:moveTo>
                  <a:lnTo>
                    <a:pt x="25238" y="170"/>
                  </a:lnTo>
                  <a:lnTo>
                    <a:pt x="25243" y="170"/>
                  </a:lnTo>
                  <a:lnTo>
                    <a:pt x="25243" y="179"/>
                  </a:lnTo>
                  <a:lnTo>
                    <a:pt x="25243" y="179"/>
                  </a:lnTo>
                  <a:lnTo>
                    <a:pt x="25243" y="179"/>
                  </a:lnTo>
                  <a:close/>
                  <a:moveTo>
                    <a:pt x="5" y="212"/>
                  </a:moveTo>
                  <a:lnTo>
                    <a:pt x="5" y="203"/>
                  </a:lnTo>
                  <a:lnTo>
                    <a:pt x="17" y="203"/>
                  </a:lnTo>
                  <a:lnTo>
                    <a:pt x="5" y="212"/>
                  </a:lnTo>
                  <a:lnTo>
                    <a:pt x="5" y="212"/>
                  </a:lnTo>
                  <a:lnTo>
                    <a:pt x="5" y="212"/>
                  </a:lnTo>
                  <a:close/>
                  <a:moveTo>
                    <a:pt x="25113" y="219"/>
                  </a:moveTo>
                  <a:lnTo>
                    <a:pt x="25108" y="219"/>
                  </a:lnTo>
                  <a:lnTo>
                    <a:pt x="25129" y="203"/>
                  </a:lnTo>
                  <a:lnTo>
                    <a:pt x="25146" y="203"/>
                  </a:lnTo>
                  <a:lnTo>
                    <a:pt x="25124" y="212"/>
                  </a:lnTo>
                  <a:lnTo>
                    <a:pt x="25113" y="219"/>
                  </a:lnTo>
                  <a:lnTo>
                    <a:pt x="25113" y="219"/>
                  </a:lnTo>
                  <a:lnTo>
                    <a:pt x="25113" y="219"/>
                  </a:lnTo>
                  <a:close/>
                </a:path>
              </a:pathLst>
            </a:custGeom>
            <a:solidFill>
              <a:schemeClr val="bg2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99" name="Freeform 441">
              <a:extLst>
                <a:ext uri="{FF2B5EF4-FFF2-40B4-BE49-F238E27FC236}">
                  <a16:creationId xmlns:a16="http://schemas.microsoft.com/office/drawing/2014/main" id="{1F1C13A2-FA1F-4B79-BEC2-4B296BB7F342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501985" y="3364203"/>
              <a:ext cx="38062" cy="17038"/>
            </a:xfrm>
            <a:custGeom>
              <a:avLst/>
              <a:gdLst>
                <a:gd name="T0" fmla="*/ 69 w 248"/>
                <a:gd name="T1" fmla="*/ 0 h 111"/>
                <a:gd name="T2" fmla="*/ 76 w 248"/>
                <a:gd name="T3" fmla="*/ 17 h 111"/>
                <a:gd name="T4" fmla="*/ 69 w 248"/>
                <a:gd name="T5" fmla="*/ 17 h 111"/>
                <a:gd name="T6" fmla="*/ 161 w 248"/>
                <a:gd name="T7" fmla="*/ 57 h 111"/>
                <a:gd name="T8" fmla="*/ 144 w 248"/>
                <a:gd name="T9" fmla="*/ 33 h 111"/>
                <a:gd name="T10" fmla="*/ 151 w 248"/>
                <a:gd name="T11" fmla="*/ 33 h 111"/>
                <a:gd name="T12" fmla="*/ 151 w 248"/>
                <a:gd name="T13" fmla="*/ 17 h 111"/>
                <a:gd name="T14" fmla="*/ 168 w 248"/>
                <a:gd name="T15" fmla="*/ 5 h 111"/>
                <a:gd name="T16" fmla="*/ 206 w 248"/>
                <a:gd name="T17" fmla="*/ 17 h 111"/>
                <a:gd name="T18" fmla="*/ 215 w 248"/>
                <a:gd name="T19" fmla="*/ 41 h 111"/>
                <a:gd name="T20" fmla="*/ 198 w 248"/>
                <a:gd name="T21" fmla="*/ 24 h 111"/>
                <a:gd name="T22" fmla="*/ 236 w 248"/>
                <a:gd name="T23" fmla="*/ 17 h 111"/>
                <a:gd name="T24" fmla="*/ 215 w 248"/>
                <a:gd name="T25" fmla="*/ 33 h 111"/>
                <a:gd name="T26" fmla="*/ 248 w 248"/>
                <a:gd name="T27" fmla="*/ 45 h 111"/>
                <a:gd name="T28" fmla="*/ 215 w 248"/>
                <a:gd name="T29" fmla="*/ 57 h 111"/>
                <a:gd name="T30" fmla="*/ 177 w 248"/>
                <a:gd name="T31" fmla="*/ 62 h 111"/>
                <a:gd name="T32" fmla="*/ 161 w 248"/>
                <a:gd name="T33" fmla="*/ 62 h 111"/>
                <a:gd name="T34" fmla="*/ 182 w 248"/>
                <a:gd name="T35" fmla="*/ 78 h 111"/>
                <a:gd name="T36" fmla="*/ 144 w 248"/>
                <a:gd name="T37" fmla="*/ 74 h 111"/>
                <a:gd name="T38" fmla="*/ 151 w 248"/>
                <a:gd name="T39" fmla="*/ 90 h 111"/>
                <a:gd name="T40" fmla="*/ 128 w 248"/>
                <a:gd name="T41" fmla="*/ 90 h 111"/>
                <a:gd name="T42" fmla="*/ 106 w 248"/>
                <a:gd name="T43" fmla="*/ 90 h 111"/>
                <a:gd name="T44" fmla="*/ 144 w 248"/>
                <a:gd name="T45" fmla="*/ 45 h 111"/>
                <a:gd name="T46" fmla="*/ 161 w 248"/>
                <a:gd name="T47" fmla="*/ 57 h 111"/>
                <a:gd name="T48" fmla="*/ 161 w 248"/>
                <a:gd name="T49" fmla="*/ 57 h 111"/>
                <a:gd name="T50" fmla="*/ 76 w 248"/>
                <a:gd name="T51" fmla="*/ 74 h 111"/>
                <a:gd name="T52" fmla="*/ 43 w 248"/>
                <a:gd name="T53" fmla="*/ 95 h 111"/>
                <a:gd name="T54" fmla="*/ 38 w 248"/>
                <a:gd name="T55" fmla="*/ 74 h 111"/>
                <a:gd name="T56" fmla="*/ 59 w 248"/>
                <a:gd name="T57" fmla="*/ 74 h 111"/>
                <a:gd name="T58" fmla="*/ 59 w 248"/>
                <a:gd name="T59" fmla="*/ 62 h 111"/>
                <a:gd name="T60" fmla="*/ 69 w 248"/>
                <a:gd name="T61" fmla="*/ 45 h 111"/>
                <a:gd name="T62" fmla="*/ 43 w 248"/>
                <a:gd name="T63" fmla="*/ 45 h 111"/>
                <a:gd name="T64" fmla="*/ 43 w 248"/>
                <a:gd name="T65" fmla="*/ 17 h 111"/>
                <a:gd name="T66" fmla="*/ 90 w 248"/>
                <a:gd name="T67" fmla="*/ 24 h 111"/>
                <a:gd name="T68" fmla="*/ 85 w 248"/>
                <a:gd name="T69" fmla="*/ 17 h 111"/>
                <a:gd name="T70" fmla="*/ 128 w 248"/>
                <a:gd name="T71" fmla="*/ 17 h 111"/>
                <a:gd name="T72" fmla="*/ 144 w 248"/>
                <a:gd name="T73" fmla="*/ 17 h 111"/>
                <a:gd name="T74" fmla="*/ 90 w 248"/>
                <a:gd name="T75" fmla="*/ 74 h 111"/>
                <a:gd name="T76" fmla="*/ 0 w 248"/>
                <a:gd name="T77" fmla="*/ 45 h 111"/>
                <a:gd name="T78" fmla="*/ 5 w 248"/>
                <a:gd name="T79" fmla="*/ 45 h 111"/>
                <a:gd name="T80" fmla="*/ 0 w 248"/>
                <a:gd name="T81" fmla="*/ 45 h 111"/>
                <a:gd name="T82" fmla="*/ 21 w 248"/>
                <a:gd name="T83" fmla="*/ 74 h 111"/>
                <a:gd name="T84" fmla="*/ 14 w 248"/>
                <a:gd name="T85" fmla="*/ 57 h 111"/>
                <a:gd name="T86" fmla="*/ 14 w 248"/>
                <a:gd name="T87" fmla="*/ 62 h 111"/>
                <a:gd name="T88" fmla="*/ 31 w 248"/>
                <a:gd name="T89" fmla="*/ 74 h 111"/>
                <a:gd name="T90" fmla="*/ 21 w 248"/>
                <a:gd name="T91" fmla="*/ 74 h 111"/>
                <a:gd name="T92" fmla="*/ 0 w 248"/>
                <a:gd name="T93" fmla="*/ 62 h 111"/>
                <a:gd name="T94" fmla="*/ 5 w 248"/>
                <a:gd name="T95" fmla="*/ 57 h 111"/>
                <a:gd name="T96" fmla="*/ 0 w 248"/>
                <a:gd name="T97" fmla="*/ 62 h 111"/>
                <a:gd name="T98" fmla="*/ 194 w 248"/>
                <a:gd name="T99" fmla="*/ 78 h 111"/>
                <a:gd name="T100" fmla="*/ 198 w 248"/>
                <a:gd name="T101" fmla="*/ 78 h 111"/>
                <a:gd name="T102" fmla="*/ 194 w 248"/>
                <a:gd name="T103" fmla="*/ 78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48" h="111">
                  <a:moveTo>
                    <a:pt x="69" y="17"/>
                  </a:moveTo>
                  <a:lnTo>
                    <a:pt x="69" y="0"/>
                  </a:lnTo>
                  <a:lnTo>
                    <a:pt x="85" y="5"/>
                  </a:lnTo>
                  <a:lnTo>
                    <a:pt x="76" y="17"/>
                  </a:lnTo>
                  <a:lnTo>
                    <a:pt x="69" y="17"/>
                  </a:lnTo>
                  <a:lnTo>
                    <a:pt x="69" y="17"/>
                  </a:lnTo>
                  <a:lnTo>
                    <a:pt x="69" y="17"/>
                  </a:lnTo>
                  <a:close/>
                  <a:moveTo>
                    <a:pt x="161" y="57"/>
                  </a:moveTo>
                  <a:lnTo>
                    <a:pt x="151" y="41"/>
                  </a:lnTo>
                  <a:lnTo>
                    <a:pt x="144" y="33"/>
                  </a:lnTo>
                  <a:lnTo>
                    <a:pt x="151" y="24"/>
                  </a:lnTo>
                  <a:lnTo>
                    <a:pt x="151" y="33"/>
                  </a:lnTo>
                  <a:lnTo>
                    <a:pt x="161" y="24"/>
                  </a:lnTo>
                  <a:lnTo>
                    <a:pt x="151" y="17"/>
                  </a:lnTo>
                  <a:lnTo>
                    <a:pt x="168" y="17"/>
                  </a:lnTo>
                  <a:lnTo>
                    <a:pt x="168" y="5"/>
                  </a:lnTo>
                  <a:lnTo>
                    <a:pt x="198" y="5"/>
                  </a:lnTo>
                  <a:lnTo>
                    <a:pt x="206" y="17"/>
                  </a:lnTo>
                  <a:lnTo>
                    <a:pt x="194" y="24"/>
                  </a:lnTo>
                  <a:lnTo>
                    <a:pt x="215" y="41"/>
                  </a:lnTo>
                  <a:lnTo>
                    <a:pt x="215" y="33"/>
                  </a:lnTo>
                  <a:lnTo>
                    <a:pt x="198" y="24"/>
                  </a:lnTo>
                  <a:lnTo>
                    <a:pt x="206" y="17"/>
                  </a:lnTo>
                  <a:lnTo>
                    <a:pt x="236" y="17"/>
                  </a:lnTo>
                  <a:lnTo>
                    <a:pt x="248" y="33"/>
                  </a:lnTo>
                  <a:lnTo>
                    <a:pt x="215" y="33"/>
                  </a:lnTo>
                  <a:lnTo>
                    <a:pt x="248" y="41"/>
                  </a:lnTo>
                  <a:lnTo>
                    <a:pt x="248" y="45"/>
                  </a:lnTo>
                  <a:lnTo>
                    <a:pt x="206" y="45"/>
                  </a:lnTo>
                  <a:lnTo>
                    <a:pt x="215" y="57"/>
                  </a:lnTo>
                  <a:lnTo>
                    <a:pt x="198" y="62"/>
                  </a:lnTo>
                  <a:lnTo>
                    <a:pt x="177" y="62"/>
                  </a:lnTo>
                  <a:lnTo>
                    <a:pt x="161" y="57"/>
                  </a:lnTo>
                  <a:lnTo>
                    <a:pt x="161" y="62"/>
                  </a:lnTo>
                  <a:lnTo>
                    <a:pt x="182" y="74"/>
                  </a:lnTo>
                  <a:lnTo>
                    <a:pt x="182" y="78"/>
                  </a:lnTo>
                  <a:lnTo>
                    <a:pt x="161" y="90"/>
                  </a:lnTo>
                  <a:lnTo>
                    <a:pt x="144" y="74"/>
                  </a:lnTo>
                  <a:lnTo>
                    <a:pt x="139" y="74"/>
                  </a:lnTo>
                  <a:lnTo>
                    <a:pt x="151" y="90"/>
                  </a:lnTo>
                  <a:lnTo>
                    <a:pt x="151" y="95"/>
                  </a:lnTo>
                  <a:lnTo>
                    <a:pt x="128" y="90"/>
                  </a:lnTo>
                  <a:lnTo>
                    <a:pt x="128" y="111"/>
                  </a:lnTo>
                  <a:lnTo>
                    <a:pt x="106" y="90"/>
                  </a:lnTo>
                  <a:lnTo>
                    <a:pt x="123" y="62"/>
                  </a:lnTo>
                  <a:lnTo>
                    <a:pt x="144" y="45"/>
                  </a:lnTo>
                  <a:lnTo>
                    <a:pt x="151" y="45"/>
                  </a:lnTo>
                  <a:lnTo>
                    <a:pt x="161" y="57"/>
                  </a:lnTo>
                  <a:lnTo>
                    <a:pt x="161" y="57"/>
                  </a:lnTo>
                  <a:lnTo>
                    <a:pt x="161" y="57"/>
                  </a:lnTo>
                  <a:close/>
                  <a:moveTo>
                    <a:pt x="90" y="74"/>
                  </a:moveTo>
                  <a:lnTo>
                    <a:pt x="76" y="74"/>
                  </a:lnTo>
                  <a:lnTo>
                    <a:pt x="69" y="90"/>
                  </a:lnTo>
                  <a:lnTo>
                    <a:pt x="43" y="95"/>
                  </a:lnTo>
                  <a:lnTo>
                    <a:pt x="21" y="78"/>
                  </a:lnTo>
                  <a:lnTo>
                    <a:pt x="38" y="74"/>
                  </a:lnTo>
                  <a:lnTo>
                    <a:pt x="31" y="74"/>
                  </a:lnTo>
                  <a:lnTo>
                    <a:pt x="59" y="74"/>
                  </a:lnTo>
                  <a:lnTo>
                    <a:pt x="59" y="57"/>
                  </a:lnTo>
                  <a:lnTo>
                    <a:pt x="59" y="62"/>
                  </a:lnTo>
                  <a:lnTo>
                    <a:pt x="76" y="45"/>
                  </a:lnTo>
                  <a:lnTo>
                    <a:pt x="69" y="45"/>
                  </a:lnTo>
                  <a:lnTo>
                    <a:pt x="43" y="57"/>
                  </a:lnTo>
                  <a:lnTo>
                    <a:pt x="43" y="45"/>
                  </a:lnTo>
                  <a:lnTo>
                    <a:pt x="76" y="41"/>
                  </a:lnTo>
                  <a:lnTo>
                    <a:pt x="43" y="17"/>
                  </a:lnTo>
                  <a:lnTo>
                    <a:pt x="76" y="24"/>
                  </a:lnTo>
                  <a:lnTo>
                    <a:pt x="90" y="24"/>
                  </a:lnTo>
                  <a:lnTo>
                    <a:pt x="85" y="24"/>
                  </a:lnTo>
                  <a:lnTo>
                    <a:pt x="85" y="17"/>
                  </a:lnTo>
                  <a:lnTo>
                    <a:pt x="123" y="24"/>
                  </a:lnTo>
                  <a:lnTo>
                    <a:pt x="128" y="17"/>
                  </a:lnTo>
                  <a:lnTo>
                    <a:pt x="128" y="5"/>
                  </a:lnTo>
                  <a:lnTo>
                    <a:pt x="144" y="17"/>
                  </a:lnTo>
                  <a:lnTo>
                    <a:pt x="90" y="74"/>
                  </a:lnTo>
                  <a:lnTo>
                    <a:pt x="90" y="74"/>
                  </a:lnTo>
                  <a:lnTo>
                    <a:pt x="90" y="74"/>
                  </a:lnTo>
                  <a:close/>
                  <a:moveTo>
                    <a:pt x="0" y="45"/>
                  </a:moveTo>
                  <a:lnTo>
                    <a:pt x="0" y="45"/>
                  </a:lnTo>
                  <a:lnTo>
                    <a:pt x="5" y="45"/>
                  </a:lnTo>
                  <a:lnTo>
                    <a:pt x="0" y="45"/>
                  </a:lnTo>
                  <a:lnTo>
                    <a:pt x="0" y="45"/>
                  </a:lnTo>
                  <a:lnTo>
                    <a:pt x="0" y="45"/>
                  </a:lnTo>
                  <a:close/>
                  <a:moveTo>
                    <a:pt x="21" y="74"/>
                  </a:moveTo>
                  <a:lnTo>
                    <a:pt x="5" y="57"/>
                  </a:lnTo>
                  <a:lnTo>
                    <a:pt x="14" y="57"/>
                  </a:lnTo>
                  <a:lnTo>
                    <a:pt x="21" y="57"/>
                  </a:lnTo>
                  <a:lnTo>
                    <a:pt x="14" y="62"/>
                  </a:lnTo>
                  <a:lnTo>
                    <a:pt x="21" y="57"/>
                  </a:lnTo>
                  <a:lnTo>
                    <a:pt x="31" y="74"/>
                  </a:lnTo>
                  <a:lnTo>
                    <a:pt x="21" y="74"/>
                  </a:lnTo>
                  <a:lnTo>
                    <a:pt x="21" y="74"/>
                  </a:lnTo>
                  <a:lnTo>
                    <a:pt x="21" y="74"/>
                  </a:lnTo>
                  <a:close/>
                  <a:moveTo>
                    <a:pt x="0" y="62"/>
                  </a:moveTo>
                  <a:lnTo>
                    <a:pt x="0" y="57"/>
                  </a:lnTo>
                  <a:lnTo>
                    <a:pt x="5" y="57"/>
                  </a:lnTo>
                  <a:lnTo>
                    <a:pt x="0" y="62"/>
                  </a:lnTo>
                  <a:lnTo>
                    <a:pt x="0" y="62"/>
                  </a:lnTo>
                  <a:lnTo>
                    <a:pt x="0" y="62"/>
                  </a:lnTo>
                  <a:close/>
                  <a:moveTo>
                    <a:pt x="194" y="78"/>
                  </a:moveTo>
                  <a:lnTo>
                    <a:pt x="198" y="74"/>
                  </a:lnTo>
                  <a:lnTo>
                    <a:pt x="198" y="78"/>
                  </a:lnTo>
                  <a:lnTo>
                    <a:pt x="194" y="78"/>
                  </a:lnTo>
                  <a:lnTo>
                    <a:pt x="194" y="78"/>
                  </a:lnTo>
                  <a:lnTo>
                    <a:pt x="194" y="78"/>
                  </a:lnTo>
                  <a:close/>
                </a:path>
              </a:pathLst>
            </a:custGeom>
            <a:solidFill>
              <a:schemeClr val="bg2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00" name="Freeform 442">
              <a:extLst>
                <a:ext uri="{FF2B5EF4-FFF2-40B4-BE49-F238E27FC236}">
                  <a16:creationId xmlns:a16="http://schemas.microsoft.com/office/drawing/2014/main" id="{6E022555-DECB-43CE-9BE5-D0961A79FD6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793213" y="2660135"/>
              <a:ext cx="122473" cy="24252"/>
            </a:xfrm>
            <a:custGeom>
              <a:avLst/>
              <a:gdLst>
                <a:gd name="T0" fmla="*/ 0 w 798"/>
                <a:gd name="T1" fmla="*/ 12 h 158"/>
                <a:gd name="T2" fmla="*/ 0 w 798"/>
                <a:gd name="T3" fmla="*/ 12 h 158"/>
                <a:gd name="T4" fmla="*/ 0 w 798"/>
                <a:gd name="T5" fmla="*/ 0 h 158"/>
                <a:gd name="T6" fmla="*/ 0 w 798"/>
                <a:gd name="T7" fmla="*/ 12 h 158"/>
                <a:gd name="T8" fmla="*/ 0 w 798"/>
                <a:gd name="T9" fmla="*/ 12 h 158"/>
                <a:gd name="T10" fmla="*/ 0 w 798"/>
                <a:gd name="T11" fmla="*/ 12 h 158"/>
                <a:gd name="T12" fmla="*/ 463 w 798"/>
                <a:gd name="T13" fmla="*/ 50 h 158"/>
                <a:gd name="T14" fmla="*/ 451 w 798"/>
                <a:gd name="T15" fmla="*/ 38 h 158"/>
                <a:gd name="T16" fmla="*/ 463 w 798"/>
                <a:gd name="T17" fmla="*/ 33 h 158"/>
                <a:gd name="T18" fmla="*/ 468 w 798"/>
                <a:gd name="T19" fmla="*/ 38 h 158"/>
                <a:gd name="T20" fmla="*/ 463 w 798"/>
                <a:gd name="T21" fmla="*/ 50 h 158"/>
                <a:gd name="T22" fmla="*/ 463 w 798"/>
                <a:gd name="T23" fmla="*/ 50 h 158"/>
                <a:gd name="T24" fmla="*/ 463 w 798"/>
                <a:gd name="T25" fmla="*/ 50 h 158"/>
                <a:gd name="T26" fmla="*/ 798 w 798"/>
                <a:gd name="T27" fmla="*/ 158 h 158"/>
                <a:gd name="T28" fmla="*/ 791 w 798"/>
                <a:gd name="T29" fmla="*/ 149 h 158"/>
                <a:gd name="T30" fmla="*/ 798 w 798"/>
                <a:gd name="T31" fmla="*/ 149 h 158"/>
                <a:gd name="T32" fmla="*/ 798 w 798"/>
                <a:gd name="T33" fmla="*/ 158 h 158"/>
                <a:gd name="T34" fmla="*/ 798 w 798"/>
                <a:gd name="T35" fmla="*/ 158 h 158"/>
                <a:gd name="T36" fmla="*/ 798 w 798"/>
                <a:gd name="T37" fmla="*/ 158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98" h="158">
                  <a:moveTo>
                    <a:pt x="0" y="12"/>
                  </a:moveTo>
                  <a:lnTo>
                    <a:pt x="0" y="12"/>
                  </a:lnTo>
                  <a:lnTo>
                    <a:pt x="0" y="0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close/>
                  <a:moveTo>
                    <a:pt x="463" y="50"/>
                  </a:moveTo>
                  <a:lnTo>
                    <a:pt x="451" y="38"/>
                  </a:lnTo>
                  <a:lnTo>
                    <a:pt x="463" y="33"/>
                  </a:lnTo>
                  <a:lnTo>
                    <a:pt x="468" y="38"/>
                  </a:lnTo>
                  <a:lnTo>
                    <a:pt x="463" y="50"/>
                  </a:lnTo>
                  <a:lnTo>
                    <a:pt x="463" y="50"/>
                  </a:lnTo>
                  <a:lnTo>
                    <a:pt x="463" y="50"/>
                  </a:lnTo>
                  <a:close/>
                  <a:moveTo>
                    <a:pt x="798" y="158"/>
                  </a:moveTo>
                  <a:lnTo>
                    <a:pt x="791" y="149"/>
                  </a:lnTo>
                  <a:lnTo>
                    <a:pt x="798" y="149"/>
                  </a:lnTo>
                  <a:lnTo>
                    <a:pt x="798" y="158"/>
                  </a:lnTo>
                  <a:lnTo>
                    <a:pt x="798" y="158"/>
                  </a:lnTo>
                  <a:lnTo>
                    <a:pt x="798" y="158"/>
                  </a:lnTo>
                  <a:close/>
                </a:path>
              </a:pathLst>
            </a:custGeom>
            <a:solidFill>
              <a:schemeClr val="bg2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01" name="Freeform 443">
              <a:extLst>
                <a:ext uri="{FF2B5EF4-FFF2-40B4-BE49-F238E27FC236}">
                  <a16:creationId xmlns:a16="http://schemas.microsoft.com/office/drawing/2014/main" id="{AC37D94F-71AC-48EB-89A9-2BA603FFD68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081353" y="1944862"/>
              <a:ext cx="11204" cy="15196"/>
            </a:xfrm>
            <a:custGeom>
              <a:avLst/>
              <a:gdLst>
                <a:gd name="T0" fmla="*/ 64 w 73"/>
                <a:gd name="T1" fmla="*/ 16 h 99"/>
                <a:gd name="T2" fmla="*/ 56 w 73"/>
                <a:gd name="T3" fmla="*/ 4 h 99"/>
                <a:gd name="T4" fmla="*/ 64 w 73"/>
                <a:gd name="T5" fmla="*/ 0 h 99"/>
                <a:gd name="T6" fmla="*/ 73 w 73"/>
                <a:gd name="T7" fmla="*/ 4 h 99"/>
                <a:gd name="T8" fmla="*/ 64 w 73"/>
                <a:gd name="T9" fmla="*/ 16 h 99"/>
                <a:gd name="T10" fmla="*/ 64 w 73"/>
                <a:gd name="T11" fmla="*/ 16 h 99"/>
                <a:gd name="T12" fmla="*/ 64 w 73"/>
                <a:gd name="T13" fmla="*/ 16 h 99"/>
                <a:gd name="T14" fmla="*/ 52 w 73"/>
                <a:gd name="T15" fmla="*/ 33 h 99"/>
                <a:gd name="T16" fmla="*/ 26 w 73"/>
                <a:gd name="T17" fmla="*/ 0 h 99"/>
                <a:gd name="T18" fmla="*/ 56 w 73"/>
                <a:gd name="T19" fmla="*/ 16 h 99"/>
                <a:gd name="T20" fmla="*/ 52 w 73"/>
                <a:gd name="T21" fmla="*/ 33 h 99"/>
                <a:gd name="T22" fmla="*/ 52 w 73"/>
                <a:gd name="T23" fmla="*/ 33 h 99"/>
                <a:gd name="T24" fmla="*/ 52 w 73"/>
                <a:gd name="T25" fmla="*/ 33 h 99"/>
                <a:gd name="T26" fmla="*/ 52 w 73"/>
                <a:gd name="T27" fmla="*/ 44 h 99"/>
                <a:gd name="T28" fmla="*/ 12 w 73"/>
                <a:gd name="T29" fmla="*/ 16 h 99"/>
                <a:gd name="T30" fmla="*/ 12 w 73"/>
                <a:gd name="T31" fmla="*/ 4 h 99"/>
                <a:gd name="T32" fmla="*/ 26 w 73"/>
                <a:gd name="T33" fmla="*/ 4 h 99"/>
                <a:gd name="T34" fmla="*/ 42 w 73"/>
                <a:gd name="T35" fmla="*/ 21 h 99"/>
                <a:gd name="T36" fmla="*/ 52 w 73"/>
                <a:gd name="T37" fmla="*/ 44 h 99"/>
                <a:gd name="T38" fmla="*/ 52 w 73"/>
                <a:gd name="T39" fmla="*/ 44 h 99"/>
                <a:gd name="T40" fmla="*/ 52 w 73"/>
                <a:gd name="T41" fmla="*/ 44 h 99"/>
                <a:gd name="T42" fmla="*/ 21 w 73"/>
                <a:gd name="T43" fmla="*/ 33 h 99"/>
                <a:gd name="T44" fmla="*/ 0 w 73"/>
                <a:gd name="T45" fmla="*/ 21 h 99"/>
                <a:gd name="T46" fmla="*/ 26 w 73"/>
                <a:gd name="T47" fmla="*/ 21 h 99"/>
                <a:gd name="T48" fmla="*/ 21 w 73"/>
                <a:gd name="T49" fmla="*/ 33 h 99"/>
                <a:gd name="T50" fmla="*/ 21 w 73"/>
                <a:gd name="T51" fmla="*/ 33 h 99"/>
                <a:gd name="T52" fmla="*/ 21 w 73"/>
                <a:gd name="T53" fmla="*/ 33 h 99"/>
                <a:gd name="T54" fmla="*/ 56 w 73"/>
                <a:gd name="T55" fmla="*/ 61 h 99"/>
                <a:gd name="T56" fmla="*/ 38 w 73"/>
                <a:gd name="T57" fmla="*/ 44 h 99"/>
                <a:gd name="T58" fmla="*/ 56 w 73"/>
                <a:gd name="T59" fmla="*/ 54 h 99"/>
                <a:gd name="T60" fmla="*/ 56 w 73"/>
                <a:gd name="T61" fmla="*/ 61 h 99"/>
                <a:gd name="T62" fmla="*/ 56 w 73"/>
                <a:gd name="T63" fmla="*/ 61 h 99"/>
                <a:gd name="T64" fmla="*/ 56 w 73"/>
                <a:gd name="T65" fmla="*/ 61 h 99"/>
                <a:gd name="T66" fmla="*/ 52 w 73"/>
                <a:gd name="T67" fmla="*/ 99 h 99"/>
                <a:gd name="T68" fmla="*/ 38 w 73"/>
                <a:gd name="T69" fmla="*/ 78 h 99"/>
                <a:gd name="T70" fmla="*/ 52 w 73"/>
                <a:gd name="T71" fmla="*/ 87 h 99"/>
                <a:gd name="T72" fmla="*/ 52 w 73"/>
                <a:gd name="T73" fmla="*/ 99 h 99"/>
                <a:gd name="T74" fmla="*/ 52 w 73"/>
                <a:gd name="T75" fmla="*/ 99 h 99"/>
                <a:gd name="T76" fmla="*/ 52 w 73"/>
                <a:gd name="T77" fmla="*/ 99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73" h="99">
                  <a:moveTo>
                    <a:pt x="64" y="16"/>
                  </a:moveTo>
                  <a:lnTo>
                    <a:pt x="56" y="4"/>
                  </a:lnTo>
                  <a:lnTo>
                    <a:pt x="64" y="0"/>
                  </a:lnTo>
                  <a:lnTo>
                    <a:pt x="73" y="4"/>
                  </a:lnTo>
                  <a:lnTo>
                    <a:pt x="64" y="16"/>
                  </a:lnTo>
                  <a:lnTo>
                    <a:pt x="64" y="16"/>
                  </a:lnTo>
                  <a:lnTo>
                    <a:pt x="64" y="16"/>
                  </a:lnTo>
                  <a:close/>
                  <a:moveTo>
                    <a:pt x="52" y="33"/>
                  </a:moveTo>
                  <a:lnTo>
                    <a:pt x="26" y="0"/>
                  </a:lnTo>
                  <a:lnTo>
                    <a:pt x="56" y="16"/>
                  </a:lnTo>
                  <a:lnTo>
                    <a:pt x="52" y="33"/>
                  </a:lnTo>
                  <a:lnTo>
                    <a:pt x="52" y="33"/>
                  </a:lnTo>
                  <a:lnTo>
                    <a:pt x="52" y="33"/>
                  </a:lnTo>
                  <a:close/>
                  <a:moveTo>
                    <a:pt x="52" y="44"/>
                  </a:moveTo>
                  <a:lnTo>
                    <a:pt x="12" y="16"/>
                  </a:lnTo>
                  <a:lnTo>
                    <a:pt x="12" y="4"/>
                  </a:lnTo>
                  <a:lnTo>
                    <a:pt x="26" y="4"/>
                  </a:lnTo>
                  <a:lnTo>
                    <a:pt x="42" y="21"/>
                  </a:lnTo>
                  <a:lnTo>
                    <a:pt x="52" y="44"/>
                  </a:lnTo>
                  <a:lnTo>
                    <a:pt x="52" y="44"/>
                  </a:lnTo>
                  <a:lnTo>
                    <a:pt x="52" y="44"/>
                  </a:lnTo>
                  <a:close/>
                  <a:moveTo>
                    <a:pt x="21" y="33"/>
                  </a:moveTo>
                  <a:lnTo>
                    <a:pt x="0" y="21"/>
                  </a:lnTo>
                  <a:lnTo>
                    <a:pt x="26" y="21"/>
                  </a:lnTo>
                  <a:lnTo>
                    <a:pt x="21" y="33"/>
                  </a:lnTo>
                  <a:lnTo>
                    <a:pt x="21" y="33"/>
                  </a:lnTo>
                  <a:lnTo>
                    <a:pt x="21" y="33"/>
                  </a:lnTo>
                  <a:close/>
                  <a:moveTo>
                    <a:pt x="56" y="61"/>
                  </a:moveTo>
                  <a:lnTo>
                    <a:pt x="38" y="44"/>
                  </a:lnTo>
                  <a:lnTo>
                    <a:pt x="56" y="54"/>
                  </a:lnTo>
                  <a:lnTo>
                    <a:pt x="56" y="61"/>
                  </a:lnTo>
                  <a:lnTo>
                    <a:pt x="56" y="61"/>
                  </a:lnTo>
                  <a:lnTo>
                    <a:pt x="56" y="61"/>
                  </a:lnTo>
                  <a:close/>
                  <a:moveTo>
                    <a:pt x="52" y="99"/>
                  </a:moveTo>
                  <a:lnTo>
                    <a:pt x="38" y="78"/>
                  </a:lnTo>
                  <a:lnTo>
                    <a:pt x="52" y="87"/>
                  </a:lnTo>
                  <a:lnTo>
                    <a:pt x="52" y="99"/>
                  </a:lnTo>
                  <a:lnTo>
                    <a:pt x="52" y="99"/>
                  </a:lnTo>
                  <a:lnTo>
                    <a:pt x="52" y="99"/>
                  </a:lnTo>
                  <a:close/>
                </a:path>
              </a:pathLst>
            </a:custGeom>
            <a:solidFill>
              <a:schemeClr val="bg2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02" name="Freeform 444">
              <a:extLst>
                <a:ext uri="{FF2B5EF4-FFF2-40B4-BE49-F238E27FC236}">
                  <a16:creationId xmlns:a16="http://schemas.microsoft.com/office/drawing/2014/main" id="{B2A29014-7BDA-456B-AC33-A2B08DCDC75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529722" y="2840028"/>
              <a:ext cx="139509" cy="153338"/>
            </a:xfrm>
            <a:custGeom>
              <a:avLst/>
              <a:gdLst>
                <a:gd name="T0" fmla="*/ 796 w 909"/>
                <a:gd name="T1" fmla="*/ 0 h 999"/>
                <a:gd name="T2" fmla="*/ 800 w 909"/>
                <a:gd name="T3" fmla="*/ 4 h 999"/>
                <a:gd name="T4" fmla="*/ 800 w 909"/>
                <a:gd name="T5" fmla="*/ 4 h 999"/>
                <a:gd name="T6" fmla="*/ 838 w 909"/>
                <a:gd name="T7" fmla="*/ 0 h 999"/>
                <a:gd name="T8" fmla="*/ 838 w 909"/>
                <a:gd name="T9" fmla="*/ 4 h 999"/>
                <a:gd name="T10" fmla="*/ 838 w 909"/>
                <a:gd name="T11" fmla="*/ 4 h 999"/>
                <a:gd name="T12" fmla="*/ 800 w 909"/>
                <a:gd name="T13" fmla="*/ 37 h 999"/>
                <a:gd name="T14" fmla="*/ 800 w 909"/>
                <a:gd name="T15" fmla="*/ 45 h 999"/>
                <a:gd name="T16" fmla="*/ 800 w 909"/>
                <a:gd name="T17" fmla="*/ 45 h 999"/>
                <a:gd name="T18" fmla="*/ 871 w 909"/>
                <a:gd name="T19" fmla="*/ 73 h 999"/>
                <a:gd name="T20" fmla="*/ 893 w 909"/>
                <a:gd name="T21" fmla="*/ 61 h 999"/>
                <a:gd name="T22" fmla="*/ 883 w 909"/>
                <a:gd name="T23" fmla="*/ 78 h 999"/>
                <a:gd name="T24" fmla="*/ 871 w 909"/>
                <a:gd name="T25" fmla="*/ 89 h 999"/>
                <a:gd name="T26" fmla="*/ 883 w 909"/>
                <a:gd name="T27" fmla="*/ 78 h 999"/>
                <a:gd name="T28" fmla="*/ 871 w 909"/>
                <a:gd name="T29" fmla="*/ 89 h 999"/>
                <a:gd name="T30" fmla="*/ 904 w 909"/>
                <a:gd name="T31" fmla="*/ 127 h 999"/>
                <a:gd name="T32" fmla="*/ 909 w 909"/>
                <a:gd name="T33" fmla="*/ 115 h 999"/>
                <a:gd name="T34" fmla="*/ 904 w 909"/>
                <a:gd name="T35" fmla="*/ 127 h 999"/>
                <a:gd name="T36" fmla="*/ 4 w 909"/>
                <a:gd name="T37" fmla="*/ 578 h 999"/>
                <a:gd name="T38" fmla="*/ 4 w 909"/>
                <a:gd name="T39" fmla="*/ 571 h 999"/>
                <a:gd name="T40" fmla="*/ 4 w 909"/>
                <a:gd name="T41" fmla="*/ 578 h 999"/>
                <a:gd name="T42" fmla="*/ 4 w 909"/>
                <a:gd name="T43" fmla="*/ 595 h 999"/>
                <a:gd name="T44" fmla="*/ 16 w 909"/>
                <a:gd name="T45" fmla="*/ 588 h 999"/>
                <a:gd name="T46" fmla="*/ 4 w 909"/>
                <a:gd name="T47" fmla="*/ 595 h 999"/>
                <a:gd name="T48" fmla="*/ 125 w 909"/>
                <a:gd name="T49" fmla="*/ 645 h 999"/>
                <a:gd name="T50" fmla="*/ 125 w 909"/>
                <a:gd name="T51" fmla="*/ 633 h 999"/>
                <a:gd name="T52" fmla="*/ 125 w 909"/>
                <a:gd name="T53" fmla="*/ 645 h 999"/>
                <a:gd name="T54" fmla="*/ 167 w 909"/>
                <a:gd name="T55" fmla="*/ 666 h 999"/>
                <a:gd name="T56" fmla="*/ 134 w 909"/>
                <a:gd name="T57" fmla="*/ 645 h 999"/>
                <a:gd name="T58" fmla="*/ 163 w 909"/>
                <a:gd name="T59" fmla="*/ 649 h 999"/>
                <a:gd name="T60" fmla="*/ 167 w 909"/>
                <a:gd name="T61" fmla="*/ 666 h 999"/>
                <a:gd name="T62" fmla="*/ 167 w 909"/>
                <a:gd name="T63" fmla="*/ 666 h 999"/>
                <a:gd name="T64" fmla="*/ 904 w 909"/>
                <a:gd name="T65" fmla="*/ 994 h 999"/>
                <a:gd name="T66" fmla="*/ 904 w 909"/>
                <a:gd name="T67" fmla="*/ 999 h 999"/>
                <a:gd name="T68" fmla="*/ 904 w 909"/>
                <a:gd name="T69" fmla="*/ 999 h 9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909" h="999">
                  <a:moveTo>
                    <a:pt x="800" y="4"/>
                  </a:moveTo>
                  <a:lnTo>
                    <a:pt x="796" y="0"/>
                  </a:lnTo>
                  <a:lnTo>
                    <a:pt x="812" y="0"/>
                  </a:lnTo>
                  <a:lnTo>
                    <a:pt x="800" y="4"/>
                  </a:lnTo>
                  <a:lnTo>
                    <a:pt x="800" y="4"/>
                  </a:lnTo>
                  <a:lnTo>
                    <a:pt x="800" y="4"/>
                  </a:lnTo>
                  <a:close/>
                  <a:moveTo>
                    <a:pt x="838" y="4"/>
                  </a:moveTo>
                  <a:lnTo>
                    <a:pt x="838" y="0"/>
                  </a:lnTo>
                  <a:lnTo>
                    <a:pt x="850" y="4"/>
                  </a:lnTo>
                  <a:lnTo>
                    <a:pt x="838" y="4"/>
                  </a:lnTo>
                  <a:lnTo>
                    <a:pt x="838" y="4"/>
                  </a:lnTo>
                  <a:lnTo>
                    <a:pt x="838" y="4"/>
                  </a:lnTo>
                  <a:close/>
                  <a:moveTo>
                    <a:pt x="800" y="45"/>
                  </a:moveTo>
                  <a:lnTo>
                    <a:pt x="800" y="37"/>
                  </a:lnTo>
                  <a:lnTo>
                    <a:pt x="812" y="37"/>
                  </a:lnTo>
                  <a:lnTo>
                    <a:pt x="800" y="45"/>
                  </a:lnTo>
                  <a:lnTo>
                    <a:pt x="800" y="45"/>
                  </a:lnTo>
                  <a:lnTo>
                    <a:pt x="800" y="45"/>
                  </a:lnTo>
                  <a:close/>
                  <a:moveTo>
                    <a:pt x="883" y="78"/>
                  </a:moveTo>
                  <a:lnTo>
                    <a:pt x="871" y="73"/>
                  </a:lnTo>
                  <a:lnTo>
                    <a:pt x="883" y="61"/>
                  </a:lnTo>
                  <a:lnTo>
                    <a:pt x="893" y="61"/>
                  </a:lnTo>
                  <a:lnTo>
                    <a:pt x="883" y="78"/>
                  </a:lnTo>
                  <a:lnTo>
                    <a:pt x="883" y="78"/>
                  </a:lnTo>
                  <a:lnTo>
                    <a:pt x="883" y="78"/>
                  </a:lnTo>
                  <a:close/>
                  <a:moveTo>
                    <a:pt x="871" y="89"/>
                  </a:moveTo>
                  <a:lnTo>
                    <a:pt x="871" y="78"/>
                  </a:lnTo>
                  <a:lnTo>
                    <a:pt x="883" y="78"/>
                  </a:lnTo>
                  <a:lnTo>
                    <a:pt x="871" y="89"/>
                  </a:lnTo>
                  <a:lnTo>
                    <a:pt x="871" y="89"/>
                  </a:lnTo>
                  <a:lnTo>
                    <a:pt x="871" y="89"/>
                  </a:lnTo>
                  <a:close/>
                  <a:moveTo>
                    <a:pt x="904" y="127"/>
                  </a:moveTo>
                  <a:lnTo>
                    <a:pt x="904" y="115"/>
                  </a:lnTo>
                  <a:lnTo>
                    <a:pt x="909" y="115"/>
                  </a:lnTo>
                  <a:lnTo>
                    <a:pt x="904" y="127"/>
                  </a:lnTo>
                  <a:lnTo>
                    <a:pt x="904" y="127"/>
                  </a:lnTo>
                  <a:lnTo>
                    <a:pt x="904" y="127"/>
                  </a:lnTo>
                  <a:close/>
                  <a:moveTo>
                    <a:pt x="4" y="578"/>
                  </a:moveTo>
                  <a:lnTo>
                    <a:pt x="0" y="571"/>
                  </a:lnTo>
                  <a:lnTo>
                    <a:pt x="4" y="571"/>
                  </a:lnTo>
                  <a:lnTo>
                    <a:pt x="4" y="578"/>
                  </a:lnTo>
                  <a:lnTo>
                    <a:pt x="4" y="578"/>
                  </a:lnTo>
                  <a:lnTo>
                    <a:pt x="4" y="578"/>
                  </a:lnTo>
                  <a:close/>
                  <a:moveTo>
                    <a:pt x="4" y="595"/>
                  </a:moveTo>
                  <a:lnTo>
                    <a:pt x="4" y="578"/>
                  </a:lnTo>
                  <a:lnTo>
                    <a:pt x="16" y="588"/>
                  </a:lnTo>
                  <a:lnTo>
                    <a:pt x="4" y="595"/>
                  </a:lnTo>
                  <a:lnTo>
                    <a:pt x="4" y="595"/>
                  </a:lnTo>
                  <a:lnTo>
                    <a:pt x="4" y="595"/>
                  </a:lnTo>
                  <a:close/>
                  <a:moveTo>
                    <a:pt x="125" y="645"/>
                  </a:moveTo>
                  <a:lnTo>
                    <a:pt x="113" y="633"/>
                  </a:lnTo>
                  <a:lnTo>
                    <a:pt x="125" y="633"/>
                  </a:lnTo>
                  <a:lnTo>
                    <a:pt x="125" y="645"/>
                  </a:lnTo>
                  <a:lnTo>
                    <a:pt x="125" y="645"/>
                  </a:lnTo>
                  <a:lnTo>
                    <a:pt x="125" y="645"/>
                  </a:lnTo>
                  <a:close/>
                  <a:moveTo>
                    <a:pt x="167" y="666"/>
                  </a:moveTo>
                  <a:lnTo>
                    <a:pt x="134" y="649"/>
                  </a:lnTo>
                  <a:lnTo>
                    <a:pt x="134" y="645"/>
                  </a:lnTo>
                  <a:lnTo>
                    <a:pt x="151" y="645"/>
                  </a:lnTo>
                  <a:lnTo>
                    <a:pt x="163" y="649"/>
                  </a:lnTo>
                  <a:lnTo>
                    <a:pt x="167" y="654"/>
                  </a:lnTo>
                  <a:lnTo>
                    <a:pt x="167" y="666"/>
                  </a:lnTo>
                  <a:lnTo>
                    <a:pt x="167" y="666"/>
                  </a:lnTo>
                  <a:lnTo>
                    <a:pt x="167" y="666"/>
                  </a:lnTo>
                  <a:close/>
                  <a:moveTo>
                    <a:pt x="904" y="999"/>
                  </a:moveTo>
                  <a:lnTo>
                    <a:pt x="904" y="994"/>
                  </a:lnTo>
                  <a:lnTo>
                    <a:pt x="904" y="994"/>
                  </a:lnTo>
                  <a:lnTo>
                    <a:pt x="904" y="999"/>
                  </a:lnTo>
                  <a:lnTo>
                    <a:pt x="904" y="999"/>
                  </a:lnTo>
                  <a:lnTo>
                    <a:pt x="904" y="999"/>
                  </a:lnTo>
                  <a:close/>
                </a:path>
              </a:pathLst>
            </a:custGeom>
            <a:solidFill>
              <a:schemeClr val="bg2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03" name="Freeform 445">
              <a:extLst>
                <a:ext uri="{FF2B5EF4-FFF2-40B4-BE49-F238E27FC236}">
                  <a16:creationId xmlns:a16="http://schemas.microsoft.com/office/drawing/2014/main" id="{19CEBA11-60DA-4244-9FF4-9480ED5CBDE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110360" y="2122759"/>
              <a:ext cx="154089" cy="134152"/>
            </a:xfrm>
            <a:custGeom>
              <a:avLst/>
              <a:gdLst>
                <a:gd name="T0" fmla="*/ 557 w 1004"/>
                <a:gd name="T1" fmla="*/ 22 h 874"/>
                <a:gd name="T2" fmla="*/ 626 w 1004"/>
                <a:gd name="T3" fmla="*/ 76 h 874"/>
                <a:gd name="T4" fmla="*/ 675 w 1004"/>
                <a:gd name="T5" fmla="*/ 83 h 874"/>
                <a:gd name="T6" fmla="*/ 718 w 1004"/>
                <a:gd name="T7" fmla="*/ 149 h 874"/>
                <a:gd name="T8" fmla="*/ 789 w 1004"/>
                <a:gd name="T9" fmla="*/ 154 h 874"/>
                <a:gd name="T10" fmla="*/ 848 w 1004"/>
                <a:gd name="T11" fmla="*/ 178 h 874"/>
                <a:gd name="T12" fmla="*/ 874 w 1004"/>
                <a:gd name="T13" fmla="*/ 248 h 874"/>
                <a:gd name="T14" fmla="*/ 864 w 1004"/>
                <a:gd name="T15" fmla="*/ 322 h 874"/>
                <a:gd name="T16" fmla="*/ 827 w 1004"/>
                <a:gd name="T17" fmla="*/ 343 h 874"/>
                <a:gd name="T18" fmla="*/ 767 w 1004"/>
                <a:gd name="T19" fmla="*/ 416 h 874"/>
                <a:gd name="T20" fmla="*/ 751 w 1004"/>
                <a:gd name="T21" fmla="*/ 449 h 874"/>
                <a:gd name="T22" fmla="*/ 805 w 1004"/>
                <a:gd name="T23" fmla="*/ 426 h 874"/>
                <a:gd name="T24" fmla="*/ 810 w 1004"/>
                <a:gd name="T25" fmla="*/ 487 h 874"/>
                <a:gd name="T26" fmla="*/ 805 w 1004"/>
                <a:gd name="T27" fmla="*/ 565 h 874"/>
                <a:gd name="T28" fmla="*/ 848 w 1004"/>
                <a:gd name="T29" fmla="*/ 631 h 874"/>
                <a:gd name="T30" fmla="*/ 860 w 1004"/>
                <a:gd name="T31" fmla="*/ 664 h 874"/>
                <a:gd name="T32" fmla="*/ 793 w 1004"/>
                <a:gd name="T33" fmla="*/ 704 h 874"/>
                <a:gd name="T34" fmla="*/ 767 w 1004"/>
                <a:gd name="T35" fmla="*/ 726 h 874"/>
                <a:gd name="T36" fmla="*/ 713 w 1004"/>
                <a:gd name="T37" fmla="*/ 709 h 874"/>
                <a:gd name="T38" fmla="*/ 685 w 1004"/>
                <a:gd name="T39" fmla="*/ 685 h 874"/>
                <a:gd name="T40" fmla="*/ 664 w 1004"/>
                <a:gd name="T41" fmla="*/ 704 h 874"/>
                <a:gd name="T42" fmla="*/ 567 w 1004"/>
                <a:gd name="T43" fmla="*/ 709 h 874"/>
                <a:gd name="T44" fmla="*/ 557 w 1004"/>
                <a:gd name="T45" fmla="*/ 780 h 874"/>
                <a:gd name="T46" fmla="*/ 470 w 1004"/>
                <a:gd name="T47" fmla="*/ 787 h 874"/>
                <a:gd name="T48" fmla="*/ 427 w 1004"/>
                <a:gd name="T49" fmla="*/ 759 h 874"/>
                <a:gd name="T50" fmla="*/ 307 w 1004"/>
                <a:gd name="T51" fmla="*/ 747 h 874"/>
                <a:gd name="T52" fmla="*/ 231 w 1004"/>
                <a:gd name="T53" fmla="*/ 709 h 874"/>
                <a:gd name="T54" fmla="*/ 248 w 1004"/>
                <a:gd name="T55" fmla="*/ 593 h 874"/>
                <a:gd name="T56" fmla="*/ 255 w 1004"/>
                <a:gd name="T57" fmla="*/ 504 h 874"/>
                <a:gd name="T58" fmla="*/ 248 w 1004"/>
                <a:gd name="T59" fmla="*/ 499 h 874"/>
                <a:gd name="T60" fmla="*/ 189 w 1004"/>
                <a:gd name="T61" fmla="*/ 392 h 874"/>
                <a:gd name="T62" fmla="*/ 210 w 1004"/>
                <a:gd name="T63" fmla="*/ 355 h 874"/>
                <a:gd name="T64" fmla="*/ 156 w 1004"/>
                <a:gd name="T65" fmla="*/ 338 h 874"/>
                <a:gd name="T66" fmla="*/ 134 w 1004"/>
                <a:gd name="T67" fmla="*/ 331 h 874"/>
                <a:gd name="T68" fmla="*/ 118 w 1004"/>
                <a:gd name="T69" fmla="*/ 331 h 874"/>
                <a:gd name="T70" fmla="*/ 28 w 1004"/>
                <a:gd name="T71" fmla="*/ 289 h 874"/>
                <a:gd name="T72" fmla="*/ 16 w 1004"/>
                <a:gd name="T73" fmla="*/ 265 h 874"/>
                <a:gd name="T74" fmla="*/ 0 w 1004"/>
                <a:gd name="T75" fmla="*/ 248 h 874"/>
                <a:gd name="T76" fmla="*/ 87 w 1004"/>
                <a:gd name="T77" fmla="*/ 211 h 874"/>
                <a:gd name="T78" fmla="*/ 193 w 1004"/>
                <a:gd name="T79" fmla="*/ 232 h 874"/>
                <a:gd name="T80" fmla="*/ 243 w 1004"/>
                <a:gd name="T81" fmla="*/ 227 h 874"/>
                <a:gd name="T82" fmla="*/ 201 w 1004"/>
                <a:gd name="T83" fmla="*/ 133 h 874"/>
                <a:gd name="T84" fmla="*/ 255 w 1004"/>
                <a:gd name="T85" fmla="*/ 154 h 874"/>
                <a:gd name="T86" fmla="*/ 340 w 1004"/>
                <a:gd name="T87" fmla="*/ 137 h 874"/>
                <a:gd name="T88" fmla="*/ 449 w 1004"/>
                <a:gd name="T89" fmla="*/ 59 h 874"/>
                <a:gd name="T90" fmla="*/ 512 w 1004"/>
                <a:gd name="T91" fmla="*/ 0 h 874"/>
                <a:gd name="T92" fmla="*/ 118 w 1004"/>
                <a:gd name="T93" fmla="*/ 355 h 874"/>
                <a:gd name="T94" fmla="*/ 231 w 1004"/>
                <a:gd name="T95" fmla="*/ 466 h 874"/>
                <a:gd name="T96" fmla="*/ 248 w 1004"/>
                <a:gd name="T97" fmla="*/ 487 h 874"/>
                <a:gd name="T98" fmla="*/ 945 w 1004"/>
                <a:gd name="T99" fmla="*/ 796 h 874"/>
                <a:gd name="T100" fmla="*/ 982 w 1004"/>
                <a:gd name="T101" fmla="*/ 759 h 874"/>
                <a:gd name="T102" fmla="*/ 999 w 1004"/>
                <a:gd name="T103" fmla="*/ 820 h 874"/>
                <a:gd name="T104" fmla="*/ 956 w 1004"/>
                <a:gd name="T105" fmla="*/ 848 h 874"/>
                <a:gd name="T106" fmla="*/ 945 w 1004"/>
                <a:gd name="T107" fmla="*/ 820 h 8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004" h="874">
                  <a:moveTo>
                    <a:pt x="512" y="0"/>
                  </a:moveTo>
                  <a:lnTo>
                    <a:pt x="519" y="22"/>
                  </a:lnTo>
                  <a:lnTo>
                    <a:pt x="534" y="26"/>
                  </a:lnTo>
                  <a:lnTo>
                    <a:pt x="557" y="22"/>
                  </a:lnTo>
                  <a:lnTo>
                    <a:pt x="567" y="55"/>
                  </a:lnTo>
                  <a:lnTo>
                    <a:pt x="588" y="55"/>
                  </a:lnTo>
                  <a:lnTo>
                    <a:pt x="595" y="67"/>
                  </a:lnTo>
                  <a:lnTo>
                    <a:pt x="626" y="76"/>
                  </a:lnTo>
                  <a:lnTo>
                    <a:pt x="626" y="100"/>
                  </a:lnTo>
                  <a:lnTo>
                    <a:pt x="647" y="111"/>
                  </a:lnTo>
                  <a:lnTo>
                    <a:pt x="675" y="83"/>
                  </a:lnTo>
                  <a:lnTo>
                    <a:pt x="675" y="83"/>
                  </a:lnTo>
                  <a:lnTo>
                    <a:pt x="675" y="100"/>
                  </a:lnTo>
                  <a:lnTo>
                    <a:pt x="675" y="116"/>
                  </a:lnTo>
                  <a:lnTo>
                    <a:pt x="701" y="133"/>
                  </a:lnTo>
                  <a:lnTo>
                    <a:pt x="718" y="149"/>
                  </a:lnTo>
                  <a:lnTo>
                    <a:pt x="739" y="137"/>
                  </a:lnTo>
                  <a:lnTo>
                    <a:pt x="751" y="149"/>
                  </a:lnTo>
                  <a:lnTo>
                    <a:pt x="784" y="149"/>
                  </a:lnTo>
                  <a:lnTo>
                    <a:pt x="789" y="154"/>
                  </a:lnTo>
                  <a:lnTo>
                    <a:pt x="805" y="178"/>
                  </a:lnTo>
                  <a:lnTo>
                    <a:pt x="822" y="170"/>
                  </a:lnTo>
                  <a:lnTo>
                    <a:pt x="843" y="178"/>
                  </a:lnTo>
                  <a:lnTo>
                    <a:pt x="848" y="178"/>
                  </a:lnTo>
                  <a:lnTo>
                    <a:pt x="874" y="187"/>
                  </a:lnTo>
                  <a:lnTo>
                    <a:pt x="912" y="194"/>
                  </a:lnTo>
                  <a:lnTo>
                    <a:pt x="881" y="232"/>
                  </a:lnTo>
                  <a:lnTo>
                    <a:pt x="874" y="248"/>
                  </a:lnTo>
                  <a:lnTo>
                    <a:pt x="864" y="277"/>
                  </a:lnTo>
                  <a:lnTo>
                    <a:pt x="864" y="289"/>
                  </a:lnTo>
                  <a:lnTo>
                    <a:pt x="860" y="315"/>
                  </a:lnTo>
                  <a:lnTo>
                    <a:pt x="864" y="322"/>
                  </a:lnTo>
                  <a:lnTo>
                    <a:pt x="848" y="338"/>
                  </a:lnTo>
                  <a:lnTo>
                    <a:pt x="827" y="331"/>
                  </a:lnTo>
                  <a:lnTo>
                    <a:pt x="822" y="343"/>
                  </a:lnTo>
                  <a:lnTo>
                    <a:pt x="827" y="343"/>
                  </a:lnTo>
                  <a:lnTo>
                    <a:pt x="822" y="355"/>
                  </a:lnTo>
                  <a:lnTo>
                    <a:pt x="789" y="392"/>
                  </a:lnTo>
                  <a:lnTo>
                    <a:pt x="784" y="400"/>
                  </a:lnTo>
                  <a:lnTo>
                    <a:pt x="767" y="416"/>
                  </a:lnTo>
                  <a:lnTo>
                    <a:pt x="756" y="426"/>
                  </a:lnTo>
                  <a:lnTo>
                    <a:pt x="767" y="433"/>
                  </a:lnTo>
                  <a:lnTo>
                    <a:pt x="767" y="442"/>
                  </a:lnTo>
                  <a:lnTo>
                    <a:pt x="751" y="449"/>
                  </a:lnTo>
                  <a:lnTo>
                    <a:pt x="756" y="454"/>
                  </a:lnTo>
                  <a:lnTo>
                    <a:pt x="772" y="449"/>
                  </a:lnTo>
                  <a:lnTo>
                    <a:pt x="772" y="433"/>
                  </a:lnTo>
                  <a:lnTo>
                    <a:pt x="805" y="426"/>
                  </a:lnTo>
                  <a:lnTo>
                    <a:pt x="810" y="433"/>
                  </a:lnTo>
                  <a:lnTo>
                    <a:pt x="810" y="454"/>
                  </a:lnTo>
                  <a:lnTo>
                    <a:pt x="827" y="470"/>
                  </a:lnTo>
                  <a:lnTo>
                    <a:pt x="810" y="487"/>
                  </a:lnTo>
                  <a:lnTo>
                    <a:pt x="836" y="520"/>
                  </a:lnTo>
                  <a:lnTo>
                    <a:pt x="836" y="537"/>
                  </a:lnTo>
                  <a:lnTo>
                    <a:pt x="793" y="544"/>
                  </a:lnTo>
                  <a:lnTo>
                    <a:pt x="805" y="565"/>
                  </a:lnTo>
                  <a:lnTo>
                    <a:pt x="827" y="565"/>
                  </a:lnTo>
                  <a:lnTo>
                    <a:pt x="810" y="598"/>
                  </a:lnTo>
                  <a:lnTo>
                    <a:pt x="822" y="619"/>
                  </a:lnTo>
                  <a:lnTo>
                    <a:pt x="848" y="631"/>
                  </a:lnTo>
                  <a:lnTo>
                    <a:pt x="874" y="631"/>
                  </a:lnTo>
                  <a:lnTo>
                    <a:pt x="874" y="636"/>
                  </a:lnTo>
                  <a:lnTo>
                    <a:pt x="860" y="652"/>
                  </a:lnTo>
                  <a:lnTo>
                    <a:pt x="860" y="664"/>
                  </a:lnTo>
                  <a:lnTo>
                    <a:pt x="860" y="669"/>
                  </a:lnTo>
                  <a:lnTo>
                    <a:pt x="848" y="669"/>
                  </a:lnTo>
                  <a:lnTo>
                    <a:pt x="836" y="676"/>
                  </a:lnTo>
                  <a:lnTo>
                    <a:pt x="793" y="704"/>
                  </a:lnTo>
                  <a:lnTo>
                    <a:pt x="805" y="709"/>
                  </a:lnTo>
                  <a:lnTo>
                    <a:pt x="793" y="721"/>
                  </a:lnTo>
                  <a:lnTo>
                    <a:pt x="767" y="721"/>
                  </a:lnTo>
                  <a:lnTo>
                    <a:pt x="767" y="726"/>
                  </a:lnTo>
                  <a:lnTo>
                    <a:pt x="751" y="726"/>
                  </a:lnTo>
                  <a:lnTo>
                    <a:pt x="739" y="726"/>
                  </a:lnTo>
                  <a:lnTo>
                    <a:pt x="734" y="721"/>
                  </a:lnTo>
                  <a:lnTo>
                    <a:pt x="713" y="709"/>
                  </a:lnTo>
                  <a:lnTo>
                    <a:pt x="701" y="704"/>
                  </a:lnTo>
                  <a:lnTo>
                    <a:pt x="685" y="704"/>
                  </a:lnTo>
                  <a:lnTo>
                    <a:pt x="701" y="692"/>
                  </a:lnTo>
                  <a:lnTo>
                    <a:pt x="685" y="685"/>
                  </a:lnTo>
                  <a:lnTo>
                    <a:pt x="685" y="692"/>
                  </a:lnTo>
                  <a:lnTo>
                    <a:pt x="675" y="704"/>
                  </a:lnTo>
                  <a:lnTo>
                    <a:pt x="664" y="676"/>
                  </a:lnTo>
                  <a:lnTo>
                    <a:pt x="664" y="704"/>
                  </a:lnTo>
                  <a:lnTo>
                    <a:pt x="659" y="704"/>
                  </a:lnTo>
                  <a:lnTo>
                    <a:pt x="647" y="692"/>
                  </a:lnTo>
                  <a:lnTo>
                    <a:pt x="609" y="685"/>
                  </a:lnTo>
                  <a:lnTo>
                    <a:pt x="567" y="709"/>
                  </a:lnTo>
                  <a:lnTo>
                    <a:pt x="550" y="726"/>
                  </a:lnTo>
                  <a:lnTo>
                    <a:pt x="541" y="747"/>
                  </a:lnTo>
                  <a:lnTo>
                    <a:pt x="550" y="775"/>
                  </a:lnTo>
                  <a:lnTo>
                    <a:pt x="557" y="780"/>
                  </a:lnTo>
                  <a:lnTo>
                    <a:pt x="541" y="780"/>
                  </a:lnTo>
                  <a:lnTo>
                    <a:pt x="512" y="787"/>
                  </a:lnTo>
                  <a:lnTo>
                    <a:pt x="496" y="780"/>
                  </a:lnTo>
                  <a:lnTo>
                    <a:pt x="470" y="787"/>
                  </a:lnTo>
                  <a:lnTo>
                    <a:pt x="458" y="775"/>
                  </a:lnTo>
                  <a:lnTo>
                    <a:pt x="458" y="763"/>
                  </a:lnTo>
                  <a:lnTo>
                    <a:pt x="432" y="763"/>
                  </a:lnTo>
                  <a:lnTo>
                    <a:pt x="427" y="759"/>
                  </a:lnTo>
                  <a:lnTo>
                    <a:pt x="390" y="742"/>
                  </a:lnTo>
                  <a:lnTo>
                    <a:pt x="378" y="759"/>
                  </a:lnTo>
                  <a:lnTo>
                    <a:pt x="335" y="759"/>
                  </a:lnTo>
                  <a:lnTo>
                    <a:pt x="307" y="747"/>
                  </a:lnTo>
                  <a:lnTo>
                    <a:pt x="297" y="747"/>
                  </a:lnTo>
                  <a:lnTo>
                    <a:pt x="281" y="730"/>
                  </a:lnTo>
                  <a:lnTo>
                    <a:pt x="231" y="726"/>
                  </a:lnTo>
                  <a:lnTo>
                    <a:pt x="231" y="709"/>
                  </a:lnTo>
                  <a:lnTo>
                    <a:pt x="210" y="704"/>
                  </a:lnTo>
                  <a:lnTo>
                    <a:pt x="227" y="692"/>
                  </a:lnTo>
                  <a:lnTo>
                    <a:pt x="231" y="676"/>
                  </a:lnTo>
                  <a:lnTo>
                    <a:pt x="248" y="593"/>
                  </a:lnTo>
                  <a:lnTo>
                    <a:pt x="264" y="581"/>
                  </a:lnTo>
                  <a:lnTo>
                    <a:pt x="248" y="577"/>
                  </a:lnTo>
                  <a:lnTo>
                    <a:pt x="248" y="581"/>
                  </a:lnTo>
                  <a:lnTo>
                    <a:pt x="255" y="504"/>
                  </a:lnTo>
                  <a:lnTo>
                    <a:pt x="281" y="525"/>
                  </a:lnTo>
                  <a:lnTo>
                    <a:pt x="297" y="565"/>
                  </a:lnTo>
                  <a:lnTo>
                    <a:pt x="281" y="508"/>
                  </a:lnTo>
                  <a:lnTo>
                    <a:pt x="248" y="499"/>
                  </a:lnTo>
                  <a:lnTo>
                    <a:pt x="255" y="470"/>
                  </a:lnTo>
                  <a:lnTo>
                    <a:pt x="255" y="442"/>
                  </a:lnTo>
                  <a:lnTo>
                    <a:pt x="210" y="426"/>
                  </a:lnTo>
                  <a:lnTo>
                    <a:pt x="189" y="392"/>
                  </a:lnTo>
                  <a:lnTo>
                    <a:pt x="193" y="371"/>
                  </a:lnTo>
                  <a:lnTo>
                    <a:pt x="179" y="359"/>
                  </a:lnTo>
                  <a:lnTo>
                    <a:pt x="189" y="355"/>
                  </a:lnTo>
                  <a:lnTo>
                    <a:pt x="210" y="355"/>
                  </a:lnTo>
                  <a:lnTo>
                    <a:pt x="193" y="343"/>
                  </a:lnTo>
                  <a:lnTo>
                    <a:pt x="172" y="355"/>
                  </a:lnTo>
                  <a:lnTo>
                    <a:pt x="156" y="343"/>
                  </a:lnTo>
                  <a:lnTo>
                    <a:pt x="156" y="338"/>
                  </a:lnTo>
                  <a:lnTo>
                    <a:pt x="163" y="338"/>
                  </a:lnTo>
                  <a:lnTo>
                    <a:pt x="156" y="331"/>
                  </a:lnTo>
                  <a:lnTo>
                    <a:pt x="172" y="331"/>
                  </a:lnTo>
                  <a:lnTo>
                    <a:pt x="134" y="331"/>
                  </a:lnTo>
                  <a:lnTo>
                    <a:pt x="142" y="331"/>
                  </a:lnTo>
                  <a:lnTo>
                    <a:pt x="142" y="322"/>
                  </a:lnTo>
                  <a:lnTo>
                    <a:pt x="118" y="322"/>
                  </a:lnTo>
                  <a:lnTo>
                    <a:pt x="118" y="331"/>
                  </a:lnTo>
                  <a:lnTo>
                    <a:pt x="108" y="315"/>
                  </a:lnTo>
                  <a:lnTo>
                    <a:pt x="54" y="298"/>
                  </a:lnTo>
                  <a:lnTo>
                    <a:pt x="28" y="305"/>
                  </a:lnTo>
                  <a:lnTo>
                    <a:pt x="28" y="289"/>
                  </a:lnTo>
                  <a:lnTo>
                    <a:pt x="0" y="281"/>
                  </a:lnTo>
                  <a:lnTo>
                    <a:pt x="33" y="277"/>
                  </a:lnTo>
                  <a:lnTo>
                    <a:pt x="28" y="265"/>
                  </a:lnTo>
                  <a:lnTo>
                    <a:pt x="16" y="265"/>
                  </a:lnTo>
                  <a:lnTo>
                    <a:pt x="12" y="260"/>
                  </a:lnTo>
                  <a:lnTo>
                    <a:pt x="16" y="248"/>
                  </a:lnTo>
                  <a:lnTo>
                    <a:pt x="38" y="260"/>
                  </a:lnTo>
                  <a:lnTo>
                    <a:pt x="0" y="248"/>
                  </a:lnTo>
                  <a:lnTo>
                    <a:pt x="0" y="232"/>
                  </a:lnTo>
                  <a:lnTo>
                    <a:pt x="28" y="227"/>
                  </a:lnTo>
                  <a:lnTo>
                    <a:pt x="80" y="220"/>
                  </a:lnTo>
                  <a:lnTo>
                    <a:pt x="87" y="211"/>
                  </a:lnTo>
                  <a:lnTo>
                    <a:pt x="108" y="204"/>
                  </a:lnTo>
                  <a:lnTo>
                    <a:pt x="146" y="244"/>
                  </a:lnTo>
                  <a:lnTo>
                    <a:pt x="172" y="220"/>
                  </a:lnTo>
                  <a:lnTo>
                    <a:pt x="193" y="232"/>
                  </a:lnTo>
                  <a:lnTo>
                    <a:pt x="193" y="220"/>
                  </a:lnTo>
                  <a:lnTo>
                    <a:pt x="201" y="220"/>
                  </a:lnTo>
                  <a:lnTo>
                    <a:pt x="201" y="227"/>
                  </a:lnTo>
                  <a:lnTo>
                    <a:pt x="243" y="227"/>
                  </a:lnTo>
                  <a:lnTo>
                    <a:pt x="227" y="220"/>
                  </a:lnTo>
                  <a:lnTo>
                    <a:pt x="217" y="170"/>
                  </a:lnTo>
                  <a:lnTo>
                    <a:pt x="210" y="154"/>
                  </a:lnTo>
                  <a:lnTo>
                    <a:pt x="201" y="133"/>
                  </a:lnTo>
                  <a:lnTo>
                    <a:pt x="193" y="121"/>
                  </a:lnTo>
                  <a:lnTo>
                    <a:pt x="248" y="133"/>
                  </a:lnTo>
                  <a:lnTo>
                    <a:pt x="243" y="137"/>
                  </a:lnTo>
                  <a:lnTo>
                    <a:pt x="255" y="154"/>
                  </a:lnTo>
                  <a:lnTo>
                    <a:pt x="319" y="166"/>
                  </a:lnTo>
                  <a:lnTo>
                    <a:pt x="361" y="149"/>
                  </a:lnTo>
                  <a:lnTo>
                    <a:pt x="361" y="149"/>
                  </a:lnTo>
                  <a:lnTo>
                    <a:pt x="340" y="137"/>
                  </a:lnTo>
                  <a:lnTo>
                    <a:pt x="352" y="121"/>
                  </a:lnTo>
                  <a:lnTo>
                    <a:pt x="411" y="111"/>
                  </a:lnTo>
                  <a:lnTo>
                    <a:pt x="432" y="83"/>
                  </a:lnTo>
                  <a:lnTo>
                    <a:pt x="449" y="59"/>
                  </a:lnTo>
                  <a:lnTo>
                    <a:pt x="449" y="10"/>
                  </a:lnTo>
                  <a:lnTo>
                    <a:pt x="512" y="0"/>
                  </a:lnTo>
                  <a:lnTo>
                    <a:pt x="512" y="0"/>
                  </a:lnTo>
                  <a:lnTo>
                    <a:pt x="512" y="0"/>
                  </a:lnTo>
                  <a:close/>
                  <a:moveTo>
                    <a:pt x="118" y="355"/>
                  </a:moveTo>
                  <a:lnTo>
                    <a:pt x="108" y="343"/>
                  </a:lnTo>
                  <a:lnTo>
                    <a:pt x="104" y="338"/>
                  </a:lnTo>
                  <a:lnTo>
                    <a:pt x="118" y="355"/>
                  </a:lnTo>
                  <a:lnTo>
                    <a:pt x="118" y="355"/>
                  </a:lnTo>
                  <a:lnTo>
                    <a:pt x="118" y="355"/>
                  </a:lnTo>
                  <a:close/>
                  <a:moveTo>
                    <a:pt x="248" y="487"/>
                  </a:moveTo>
                  <a:lnTo>
                    <a:pt x="231" y="466"/>
                  </a:lnTo>
                  <a:lnTo>
                    <a:pt x="248" y="470"/>
                  </a:lnTo>
                  <a:lnTo>
                    <a:pt x="248" y="487"/>
                  </a:lnTo>
                  <a:lnTo>
                    <a:pt x="248" y="487"/>
                  </a:lnTo>
                  <a:lnTo>
                    <a:pt x="248" y="487"/>
                  </a:lnTo>
                  <a:close/>
                  <a:moveTo>
                    <a:pt x="945" y="820"/>
                  </a:moveTo>
                  <a:lnTo>
                    <a:pt x="945" y="813"/>
                  </a:lnTo>
                  <a:lnTo>
                    <a:pt x="935" y="796"/>
                  </a:lnTo>
                  <a:lnTo>
                    <a:pt x="945" y="796"/>
                  </a:lnTo>
                  <a:lnTo>
                    <a:pt x="935" y="787"/>
                  </a:lnTo>
                  <a:lnTo>
                    <a:pt x="945" y="775"/>
                  </a:lnTo>
                  <a:lnTo>
                    <a:pt x="973" y="759"/>
                  </a:lnTo>
                  <a:lnTo>
                    <a:pt x="982" y="759"/>
                  </a:lnTo>
                  <a:lnTo>
                    <a:pt x="987" y="730"/>
                  </a:lnTo>
                  <a:lnTo>
                    <a:pt x="999" y="730"/>
                  </a:lnTo>
                  <a:lnTo>
                    <a:pt x="1004" y="803"/>
                  </a:lnTo>
                  <a:lnTo>
                    <a:pt x="999" y="820"/>
                  </a:lnTo>
                  <a:lnTo>
                    <a:pt x="987" y="848"/>
                  </a:lnTo>
                  <a:lnTo>
                    <a:pt x="982" y="874"/>
                  </a:lnTo>
                  <a:lnTo>
                    <a:pt x="949" y="858"/>
                  </a:lnTo>
                  <a:lnTo>
                    <a:pt x="956" y="848"/>
                  </a:lnTo>
                  <a:lnTo>
                    <a:pt x="945" y="848"/>
                  </a:lnTo>
                  <a:lnTo>
                    <a:pt x="949" y="829"/>
                  </a:lnTo>
                  <a:lnTo>
                    <a:pt x="935" y="829"/>
                  </a:lnTo>
                  <a:lnTo>
                    <a:pt x="945" y="820"/>
                  </a:lnTo>
                  <a:lnTo>
                    <a:pt x="945" y="820"/>
                  </a:lnTo>
                  <a:lnTo>
                    <a:pt x="945" y="820"/>
                  </a:lnTo>
                  <a:close/>
                </a:path>
              </a:pathLst>
            </a:custGeom>
            <a:solidFill>
              <a:schemeClr val="bg2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04" name="Freeform 446">
              <a:extLst>
                <a:ext uri="{FF2B5EF4-FFF2-40B4-BE49-F238E27FC236}">
                  <a16:creationId xmlns:a16="http://schemas.microsoft.com/office/drawing/2014/main" id="{E7F5DC91-A9DF-4AFA-8958-5DF72B88994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701238" y="3181854"/>
              <a:ext cx="295132" cy="160706"/>
            </a:xfrm>
            <a:custGeom>
              <a:avLst/>
              <a:gdLst>
                <a:gd name="T0" fmla="*/ 1916 w 1923"/>
                <a:gd name="T1" fmla="*/ 0 h 1047"/>
                <a:gd name="T2" fmla="*/ 1923 w 1923"/>
                <a:gd name="T3" fmla="*/ 12 h 1047"/>
                <a:gd name="T4" fmla="*/ 1923 w 1923"/>
                <a:gd name="T5" fmla="*/ 12 h 1047"/>
                <a:gd name="T6" fmla="*/ 0 w 1923"/>
                <a:gd name="T7" fmla="*/ 714 h 1047"/>
                <a:gd name="T8" fmla="*/ 10 w 1923"/>
                <a:gd name="T9" fmla="*/ 714 h 1047"/>
                <a:gd name="T10" fmla="*/ 10 w 1923"/>
                <a:gd name="T11" fmla="*/ 714 h 1047"/>
                <a:gd name="T12" fmla="*/ 106 w 1923"/>
                <a:gd name="T13" fmla="*/ 737 h 1047"/>
                <a:gd name="T14" fmla="*/ 118 w 1923"/>
                <a:gd name="T15" fmla="*/ 747 h 1047"/>
                <a:gd name="T16" fmla="*/ 118 w 1923"/>
                <a:gd name="T17" fmla="*/ 747 h 1047"/>
                <a:gd name="T18" fmla="*/ 139 w 1923"/>
                <a:gd name="T19" fmla="*/ 747 h 1047"/>
                <a:gd name="T20" fmla="*/ 156 w 1923"/>
                <a:gd name="T21" fmla="*/ 747 h 1047"/>
                <a:gd name="T22" fmla="*/ 139 w 1923"/>
                <a:gd name="T23" fmla="*/ 747 h 1047"/>
                <a:gd name="T24" fmla="*/ 1339 w 1923"/>
                <a:gd name="T25" fmla="*/ 992 h 1047"/>
                <a:gd name="T26" fmla="*/ 1365 w 1923"/>
                <a:gd name="T27" fmla="*/ 992 h 1047"/>
                <a:gd name="T28" fmla="*/ 1361 w 1923"/>
                <a:gd name="T29" fmla="*/ 992 h 1047"/>
                <a:gd name="T30" fmla="*/ 1377 w 1923"/>
                <a:gd name="T31" fmla="*/ 1009 h 1047"/>
                <a:gd name="T32" fmla="*/ 1429 w 1923"/>
                <a:gd name="T33" fmla="*/ 992 h 1047"/>
                <a:gd name="T34" fmla="*/ 1420 w 1923"/>
                <a:gd name="T35" fmla="*/ 1014 h 1047"/>
                <a:gd name="T36" fmla="*/ 1429 w 1923"/>
                <a:gd name="T37" fmla="*/ 1025 h 1047"/>
                <a:gd name="T38" fmla="*/ 1382 w 1923"/>
                <a:gd name="T39" fmla="*/ 1014 h 1047"/>
                <a:gd name="T40" fmla="*/ 1377 w 1923"/>
                <a:gd name="T41" fmla="*/ 1014 h 1047"/>
                <a:gd name="T42" fmla="*/ 1415 w 1923"/>
                <a:gd name="T43" fmla="*/ 1030 h 1047"/>
                <a:gd name="T44" fmla="*/ 1382 w 1923"/>
                <a:gd name="T45" fmla="*/ 1047 h 1047"/>
                <a:gd name="T46" fmla="*/ 1377 w 1923"/>
                <a:gd name="T47" fmla="*/ 1042 h 1047"/>
                <a:gd name="T48" fmla="*/ 1328 w 1923"/>
                <a:gd name="T49" fmla="*/ 1030 h 1047"/>
                <a:gd name="T50" fmla="*/ 1306 w 1923"/>
                <a:gd name="T51" fmla="*/ 1047 h 1047"/>
                <a:gd name="T52" fmla="*/ 1306 w 1923"/>
                <a:gd name="T53" fmla="*/ 985 h 1047"/>
                <a:gd name="T54" fmla="*/ 1328 w 1923"/>
                <a:gd name="T55" fmla="*/ 952 h 1047"/>
                <a:gd name="T56" fmla="*/ 1339 w 1923"/>
                <a:gd name="T57" fmla="*/ 959 h 1047"/>
                <a:gd name="T58" fmla="*/ 1328 w 1923"/>
                <a:gd name="T59" fmla="*/ 992 h 1047"/>
                <a:gd name="T60" fmla="*/ 1339 w 1923"/>
                <a:gd name="T61" fmla="*/ 992 h 1047"/>
                <a:gd name="T62" fmla="*/ 1339 w 1923"/>
                <a:gd name="T63" fmla="*/ 992 h 1047"/>
                <a:gd name="T64" fmla="*/ 1339 w 1923"/>
                <a:gd name="T65" fmla="*/ 976 h 1047"/>
                <a:gd name="T66" fmla="*/ 1349 w 1923"/>
                <a:gd name="T67" fmla="*/ 976 h 1047"/>
                <a:gd name="T68" fmla="*/ 1339 w 1923"/>
                <a:gd name="T69" fmla="*/ 992 h 10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923" h="1047">
                  <a:moveTo>
                    <a:pt x="1923" y="12"/>
                  </a:moveTo>
                  <a:lnTo>
                    <a:pt x="1916" y="0"/>
                  </a:lnTo>
                  <a:lnTo>
                    <a:pt x="1923" y="0"/>
                  </a:lnTo>
                  <a:lnTo>
                    <a:pt x="1923" y="12"/>
                  </a:lnTo>
                  <a:lnTo>
                    <a:pt x="1923" y="12"/>
                  </a:lnTo>
                  <a:lnTo>
                    <a:pt x="1923" y="12"/>
                  </a:lnTo>
                  <a:close/>
                  <a:moveTo>
                    <a:pt x="10" y="714"/>
                  </a:moveTo>
                  <a:lnTo>
                    <a:pt x="0" y="714"/>
                  </a:lnTo>
                  <a:lnTo>
                    <a:pt x="10" y="714"/>
                  </a:lnTo>
                  <a:lnTo>
                    <a:pt x="10" y="714"/>
                  </a:lnTo>
                  <a:lnTo>
                    <a:pt x="10" y="714"/>
                  </a:lnTo>
                  <a:lnTo>
                    <a:pt x="10" y="714"/>
                  </a:lnTo>
                  <a:close/>
                  <a:moveTo>
                    <a:pt x="118" y="747"/>
                  </a:moveTo>
                  <a:lnTo>
                    <a:pt x="106" y="737"/>
                  </a:lnTo>
                  <a:lnTo>
                    <a:pt x="118" y="737"/>
                  </a:lnTo>
                  <a:lnTo>
                    <a:pt x="118" y="747"/>
                  </a:lnTo>
                  <a:lnTo>
                    <a:pt x="118" y="747"/>
                  </a:lnTo>
                  <a:lnTo>
                    <a:pt x="118" y="747"/>
                  </a:lnTo>
                  <a:lnTo>
                    <a:pt x="118" y="747"/>
                  </a:lnTo>
                  <a:close/>
                  <a:moveTo>
                    <a:pt x="139" y="747"/>
                  </a:moveTo>
                  <a:lnTo>
                    <a:pt x="139" y="747"/>
                  </a:lnTo>
                  <a:lnTo>
                    <a:pt x="156" y="747"/>
                  </a:lnTo>
                  <a:lnTo>
                    <a:pt x="139" y="747"/>
                  </a:lnTo>
                  <a:lnTo>
                    <a:pt x="139" y="747"/>
                  </a:lnTo>
                  <a:lnTo>
                    <a:pt x="139" y="747"/>
                  </a:lnTo>
                  <a:close/>
                  <a:moveTo>
                    <a:pt x="1339" y="992"/>
                  </a:moveTo>
                  <a:lnTo>
                    <a:pt x="1365" y="976"/>
                  </a:lnTo>
                  <a:lnTo>
                    <a:pt x="1365" y="992"/>
                  </a:lnTo>
                  <a:lnTo>
                    <a:pt x="1344" y="1002"/>
                  </a:lnTo>
                  <a:lnTo>
                    <a:pt x="1361" y="992"/>
                  </a:lnTo>
                  <a:lnTo>
                    <a:pt x="1361" y="1009"/>
                  </a:lnTo>
                  <a:lnTo>
                    <a:pt x="1377" y="1009"/>
                  </a:lnTo>
                  <a:lnTo>
                    <a:pt x="1415" y="985"/>
                  </a:lnTo>
                  <a:lnTo>
                    <a:pt x="1429" y="992"/>
                  </a:lnTo>
                  <a:lnTo>
                    <a:pt x="1436" y="1002"/>
                  </a:lnTo>
                  <a:lnTo>
                    <a:pt x="1420" y="1014"/>
                  </a:lnTo>
                  <a:lnTo>
                    <a:pt x="1415" y="1014"/>
                  </a:lnTo>
                  <a:lnTo>
                    <a:pt x="1429" y="1025"/>
                  </a:lnTo>
                  <a:lnTo>
                    <a:pt x="1403" y="1014"/>
                  </a:lnTo>
                  <a:lnTo>
                    <a:pt x="1382" y="1014"/>
                  </a:lnTo>
                  <a:lnTo>
                    <a:pt x="1391" y="1025"/>
                  </a:lnTo>
                  <a:lnTo>
                    <a:pt x="1377" y="1014"/>
                  </a:lnTo>
                  <a:lnTo>
                    <a:pt x="1382" y="1030"/>
                  </a:lnTo>
                  <a:lnTo>
                    <a:pt x="1415" y="1030"/>
                  </a:lnTo>
                  <a:lnTo>
                    <a:pt x="1415" y="1047"/>
                  </a:lnTo>
                  <a:lnTo>
                    <a:pt x="1382" y="1047"/>
                  </a:lnTo>
                  <a:lnTo>
                    <a:pt x="1365" y="1025"/>
                  </a:lnTo>
                  <a:lnTo>
                    <a:pt x="1377" y="1042"/>
                  </a:lnTo>
                  <a:lnTo>
                    <a:pt x="1344" y="1030"/>
                  </a:lnTo>
                  <a:lnTo>
                    <a:pt x="1328" y="1030"/>
                  </a:lnTo>
                  <a:lnTo>
                    <a:pt x="1328" y="1047"/>
                  </a:lnTo>
                  <a:lnTo>
                    <a:pt x="1306" y="1047"/>
                  </a:lnTo>
                  <a:lnTo>
                    <a:pt x="1311" y="1014"/>
                  </a:lnTo>
                  <a:lnTo>
                    <a:pt x="1306" y="985"/>
                  </a:lnTo>
                  <a:lnTo>
                    <a:pt x="1323" y="952"/>
                  </a:lnTo>
                  <a:lnTo>
                    <a:pt x="1328" y="952"/>
                  </a:lnTo>
                  <a:lnTo>
                    <a:pt x="1323" y="969"/>
                  </a:lnTo>
                  <a:lnTo>
                    <a:pt x="1339" y="959"/>
                  </a:lnTo>
                  <a:lnTo>
                    <a:pt x="1323" y="992"/>
                  </a:lnTo>
                  <a:lnTo>
                    <a:pt x="1328" y="992"/>
                  </a:lnTo>
                  <a:lnTo>
                    <a:pt x="1328" y="976"/>
                  </a:lnTo>
                  <a:lnTo>
                    <a:pt x="1339" y="992"/>
                  </a:lnTo>
                  <a:lnTo>
                    <a:pt x="1339" y="992"/>
                  </a:lnTo>
                  <a:lnTo>
                    <a:pt x="1339" y="992"/>
                  </a:lnTo>
                  <a:close/>
                  <a:moveTo>
                    <a:pt x="1339" y="992"/>
                  </a:moveTo>
                  <a:lnTo>
                    <a:pt x="1339" y="976"/>
                  </a:lnTo>
                  <a:lnTo>
                    <a:pt x="1349" y="969"/>
                  </a:lnTo>
                  <a:lnTo>
                    <a:pt x="1349" y="976"/>
                  </a:lnTo>
                  <a:lnTo>
                    <a:pt x="1339" y="992"/>
                  </a:lnTo>
                  <a:lnTo>
                    <a:pt x="1339" y="992"/>
                  </a:lnTo>
                  <a:lnTo>
                    <a:pt x="1339" y="992"/>
                  </a:lnTo>
                  <a:close/>
                </a:path>
              </a:pathLst>
            </a:custGeom>
            <a:solidFill>
              <a:schemeClr val="bg2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05" name="Freeform 447">
              <a:extLst>
                <a:ext uri="{FF2B5EF4-FFF2-40B4-BE49-F238E27FC236}">
                  <a16:creationId xmlns:a16="http://schemas.microsoft.com/office/drawing/2014/main" id="{04457757-40F9-4F29-86F7-AB57F90A0A01}"/>
                </a:ext>
              </a:extLst>
            </p:cNvPr>
            <p:cNvSpPr>
              <a:spLocks/>
            </p:cNvSpPr>
            <p:nvPr/>
          </p:nvSpPr>
          <p:spPr bwMode="gray">
            <a:xfrm>
              <a:off x="5979753" y="2588301"/>
              <a:ext cx="33764" cy="8749"/>
            </a:xfrm>
            <a:custGeom>
              <a:avLst/>
              <a:gdLst>
                <a:gd name="T0" fmla="*/ 17 w 220"/>
                <a:gd name="T1" fmla="*/ 17 h 57"/>
                <a:gd name="T2" fmla="*/ 95 w 220"/>
                <a:gd name="T3" fmla="*/ 17 h 57"/>
                <a:gd name="T4" fmla="*/ 104 w 220"/>
                <a:gd name="T5" fmla="*/ 5 h 57"/>
                <a:gd name="T6" fmla="*/ 128 w 220"/>
                <a:gd name="T7" fmla="*/ 0 h 57"/>
                <a:gd name="T8" fmla="*/ 144 w 220"/>
                <a:gd name="T9" fmla="*/ 5 h 57"/>
                <a:gd name="T10" fmla="*/ 149 w 220"/>
                <a:gd name="T11" fmla="*/ 17 h 57"/>
                <a:gd name="T12" fmla="*/ 166 w 220"/>
                <a:gd name="T13" fmla="*/ 17 h 57"/>
                <a:gd name="T14" fmla="*/ 182 w 220"/>
                <a:gd name="T15" fmla="*/ 33 h 57"/>
                <a:gd name="T16" fmla="*/ 204 w 220"/>
                <a:gd name="T17" fmla="*/ 17 h 57"/>
                <a:gd name="T18" fmla="*/ 220 w 220"/>
                <a:gd name="T19" fmla="*/ 33 h 57"/>
                <a:gd name="T20" fmla="*/ 215 w 220"/>
                <a:gd name="T21" fmla="*/ 41 h 57"/>
                <a:gd name="T22" fmla="*/ 182 w 220"/>
                <a:gd name="T23" fmla="*/ 50 h 57"/>
                <a:gd name="T24" fmla="*/ 128 w 220"/>
                <a:gd name="T25" fmla="*/ 17 h 57"/>
                <a:gd name="T26" fmla="*/ 111 w 220"/>
                <a:gd name="T27" fmla="*/ 33 h 57"/>
                <a:gd name="T28" fmla="*/ 74 w 220"/>
                <a:gd name="T29" fmla="*/ 41 h 57"/>
                <a:gd name="T30" fmla="*/ 74 w 220"/>
                <a:gd name="T31" fmla="*/ 50 h 57"/>
                <a:gd name="T32" fmla="*/ 12 w 220"/>
                <a:gd name="T33" fmla="*/ 50 h 57"/>
                <a:gd name="T34" fmla="*/ 12 w 220"/>
                <a:gd name="T35" fmla="*/ 57 h 57"/>
                <a:gd name="T36" fmla="*/ 0 w 220"/>
                <a:gd name="T37" fmla="*/ 33 h 57"/>
                <a:gd name="T38" fmla="*/ 12 w 220"/>
                <a:gd name="T39" fmla="*/ 22 h 57"/>
                <a:gd name="T40" fmla="*/ 17 w 220"/>
                <a:gd name="T41" fmla="*/ 33 h 57"/>
                <a:gd name="T42" fmla="*/ 24 w 220"/>
                <a:gd name="T43" fmla="*/ 41 h 57"/>
                <a:gd name="T44" fmla="*/ 41 w 220"/>
                <a:gd name="T45" fmla="*/ 41 h 57"/>
                <a:gd name="T46" fmla="*/ 50 w 220"/>
                <a:gd name="T47" fmla="*/ 41 h 57"/>
                <a:gd name="T48" fmla="*/ 50 w 220"/>
                <a:gd name="T49" fmla="*/ 41 h 57"/>
                <a:gd name="T50" fmla="*/ 41 w 220"/>
                <a:gd name="T51" fmla="*/ 41 h 57"/>
                <a:gd name="T52" fmla="*/ 50 w 220"/>
                <a:gd name="T53" fmla="*/ 33 h 57"/>
                <a:gd name="T54" fmla="*/ 111 w 220"/>
                <a:gd name="T55" fmla="*/ 22 h 57"/>
                <a:gd name="T56" fmla="*/ 95 w 220"/>
                <a:gd name="T57" fmla="*/ 22 h 57"/>
                <a:gd name="T58" fmla="*/ 50 w 220"/>
                <a:gd name="T59" fmla="*/ 33 h 57"/>
                <a:gd name="T60" fmla="*/ 33 w 220"/>
                <a:gd name="T61" fmla="*/ 41 h 57"/>
                <a:gd name="T62" fmla="*/ 24 w 220"/>
                <a:gd name="T63" fmla="*/ 33 h 57"/>
                <a:gd name="T64" fmla="*/ 17 w 220"/>
                <a:gd name="T65" fmla="*/ 17 h 57"/>
                <a:gd name="T66" fmla="*/ 17 w 220"/>
                <a:gd name="T67" fmla="*/ 17 h 57"/>
                <a:gd name="T68" fmla="*/ 17 w 220"/>
                <a:gd name="T69" fmla="*/ 1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20" h="57">
                  <a:moveTo>
                    <a:pt x="17" y="17"/>
                  </a:moveTo>
                  <a:lnTo>
                    <a:pt x="95" y="17"/>
                  </a:lnTo>
                  <a:lnTo>
                    <a:pt x="104" y="5"/>
                  </a:lnTo>
                  <a:lnTo>
                    <a:pt x="128" y="0"/>
                  </a:lnTo>
                  <a:lnTo>
                    <a:pt x="144" y="5"/>
                  </a:lnTo>
                  <a:lnTo>
                    <a:pt x="149" y="17"/>
                  </a:lnTo>
                  <a:lnTo>
                    <a:pt x="166" y="17"/>
                  </a:lnTo>
                  <a:lnTo>
                    <a:pt x="182" y="33"/>
                  </a:lnTo>
                  <a:lnTo>
                    <a:pt x="204" y="17"/>
                  </a:lnTo>
                  <a:lnTo>
                    <a:pt x="220" y="33"/>
                  </a:lnTo>
                  <a:lnTo>
                    <a:pt x="215" y="41"/>
                  </a:lnTo>
                  <a:lnTo>
                    <a:pt x="182" y="50"/>
                  </a:lnTo>
                  <a:lnTo>
                    <a:pt x="128" y="17"/>
                  </a:lnTo>
                  <a:lnTo>
                    <a:pt x="111" y="33"/>
                  </a:lnTo>
                  <a:lnTo>
                    <a:pt x="74" y="41"/>
                  </a:lnTo>
                  <a:lnTo>
                    <a:pt x="74" y="50"/>
                  </a:lnTo>
                  <a:lnTo>
                    <a:pt x="12" y="50"/>
                  </a:lnTo>
                  <a:lnTo>
                    <a:pt x="12" y="57"/>
                  </a:lnTo>
                  <a:lnTo>
                    <a:pt x="0" y="33"/>
                  </a:lnTo>
                  <a:lnTo>
                    <a:pt x="12" y="22"/>
                  </a:lnTo>
                  <a:lnTo>
                    <a:pt x="17" y="33"/>
                  </a:lnTo>
                  <a:lnTo>
                    <a:pt x="24" y="41"/>
                  </a:lnTo>
                  <a:lnTo>
                    <a:pt x="41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41" y="41"/>
                  </a:lnTo>
                  <a:lnTo>
                    <a:pt x="50" y="33"/>
                  </a:lnTo>
                  <a:lnTo>
                    <a:pt x="111" y="22"/>
                  </a:lnTo>
                  <a:lnTo>
                    <a:pt x="95" y="22"/>
                  </a:lnTo>
                  <a:lnTo>
                    <a:pt x="50" y="33"/>
                  </a:lnTo>
                  <a:lnTo>
                    <a:pt x="33" y="41"/>
                  </a:lnTo>
                  <a:lnTo>
                    <a:pt x="24" y="33"/>
                  </a:lnTo>
                  <a:lnTo>
                    <a:pt x="17" y="17"/>
                  </a:lnTo>
                  <a:lnTo>
                    <a:pt x="17" y="17"/>
                  </a:lnTo>
                  <a:lnTo>
                    <a:pt x="17" y="17"/>
                  </a:lnTo>
                  <a:close/>
                </a:path>
              </a:pathLst>
            </a:custGeom>
            <a:solidFill>
              <a:schemeClr val="bg2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06" name="Freeform 448">
              <a:extLst>
                <a:ext uri="{FF2B5EF4-FFF2-40B4-BE49-F238E27FC236}">
                  <a16:creationId xmlns:a16="http://schemas.microsoft.com/office/drawing/2014/main" id="{63593928-7A89-490C-B545-AD39154214D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255394" y="2716773"/>
              <a:ext cx="62004" cy="69225"/>
            </a:xfrm>
            <a:custGeom>
              <a:avLst/>
              <a:gdLst>
                <a:gd name="T0" fmla="*/ 359 w 404"/>
                <a:gd name="T1" fmla="*/ 184 h 451"/>
                <a:gd name="T2" fmla="*/ 380 w 404"/>
                <a:gd name="T3" fmla="*/ 200 h 451"/>
                <a:gd name="T4" fmla="*/ 404 w 404"/>
                <a:gd name="T5" fmla="*/ 212 h 451"/>
                <a:gd name="T6" fmla="*/ 404 w 404"/>
                <a:gd name="T7" fmla="*/ 257 h 451"/>
                <a:gd name="T8" fmla="*/ 387 w 404"/>
                <a:gd name="T9" fmla="*/ 311 h 451"/>
                <a:gd name="T10" fmla="*/ 359 w 404"/>
                <a:gd name="T11" fmla="*/ 344 h 451"/>
                <a:gd name="T12" fmla="*/ 333 w 404"/>
                <a:gd name="T13" fmla="*/ 344 h 451"/>
                <a:gd name="T14" fmla="*/ 290 w 404"/>
                <a:gd name="T15" fmla="*/ 307 h 451"/>
                <a:gd name="T16" fmla="*/ 269 w 404"/>
                <a:gd name="T17" fmla="*/ 307 h 451"/>
                <a:gd name="T18" fmla="*/ 257 w 404"/>
                <a:gd name="T19" fmla="*/ 340 h 451"/>
                <a:gd name="T20" fmla="*/ 224 w 404"/>
                <a:gd name="T21" fmla="*/ 340 h 451"/>
                <a:gd name="T22" fmla="*/ 198 w 404"/>
                <a:gd name="T23" fmla="*/ 340 h 451"/>
                <a:gd name="T24" fmla="*/ 198 w 404"/>
                <a:gd name="T25" fmla="*/ 378 h 451"/>
                <a:gd name="T26" fmla="*/ 215 w 404"/>
                <a:gd name="T27" fmla="*/ 385 h 451"/>
                <a:gd name="T28" fmla="*/ 224 w 404"/>
                <a:gd name="T29" fmla="*/ 406 h 451"/>
                <a:gd name="T30" fmla="*/ 219 w 404"/>
                <a:gd name="T31" fmla="*/ 434 h 451"/>
                <a:gd name="T32" fmla="*/ 198 w 404"/>
                <a:gd name="T33" fmla="*/ 422 h 451"/>
                <a:gd name="T34" fmla="*/ 165 w 404"/>
                <a:gd name="T35" fmla="*/ 451 h 451"/>
                <a:gd name="T36" fmla="*/ 63 w 404"/>
                <a:gd name="T37" fmla="*/ 344 h 451"/>
                <a:gd name="T38" fmla="*/ 96 w 404"/>
                <a:gd name="T39" fmla="*/ 352 h 451"/>
                <a:gd name="T40" fmla="*/ 89 w 404"/>
                <a:gd name="T41" fmla="*/ 352 h 451"/>
                <a:gd name="T42" fmla="*/ 75 w 404"/>
                <a:gd name="T43" fmla="*/ 344 h 451"/>
                <a:gd name="T44" fmla="*/ 42 w 404"/>
                <a:gd name="T45" fmla="*/ 307 h 451"/>
                <a:gd name="T46" fmla="*/ 59 w 404"/>
                <a:gd name="T47" fmla="*/ 311 h 451"/>
                <a:gd name="T48" fmla="*/ 37 w 404"/>
                <a:gd name="T49" fmla="*/ 295 h 451"/>
                <a:gd name="T50" fmla="*/ 21 w 404"/>
                <a:gd name="T51" fmla="*/ 257 h 451"/>
                <a:gd name="T52" fmla="*/ 54 w 404"/>
                <a:gd name="T53" fmla="*/ 290 h 451"/>
                <a:gd name="T54" fmla="*/ 54 w 404"/>
                <a:gd name="T55" fmla="*/ 274 h 451"/>
                <a:gd name="T56" fmla="*/ 42 w 404"/>
                <a:gd name="T57" fmla="*/ 257 h 451"/>
                <a:gd name="T58" fmla="*/ 21 w 404"/>
                <a:gd name="T59" fmla="*/ 257 h 451"/>
                <a:gd name="T60" fmla="*/ 0 w 404"/>
                <a:gd name="T61" fmla="*/ 212 h 451"/>
                <a:gd name="T62" fmla="*/ 42 w 404"/>
                <a:gd name="T63" fmla="*/ 196 h 451"/>
                <a:gd name="T64" fmla="*/ 54 w 404"/>
                <a:gd name="T65" fmla="*/ 155 h 451"/>
                <a:gd name="T66" fmla="*/ 80 w 404"/>
                <a:gd name="T67" fmla="*/ 155 h 451"/>
                <a:gd name="T68" fmla="*/ 42 w 404"/>
                <a:gd name="T69" fmla="*/ 127 h 451"/>
                <a:gd name="T70" fmla="*/ 59 w 404"/>
                <a:gd name="T71" fmla="*/ 118 h 451"/>
                <a:gd name="T72" fmla="*/ 59 w 404"/>
                <a:gd name="T73" fmla="*/ 101 h 451"/>
                <a:gd name="T74" fmla="*/ 75 w 404"/>
                <a:gd name="T75" fmla="*/ 101 h 451"/>
                <a:gd name="T76" fmla="*/ 89 w 404"/>
                <a:gd name="T77" fmla="*/ 101 h 451"/>
                <a:gd name="T78" fmla="*/ 182 w 404"/>
                <a:gd name="T79" fmla="*/ 11 h 451"/>
                <a:gd name="T80" fmla="*/ 252 w 404"/>
                <a:gd name="T81" fmla="*/ 0 h 451"/>
                <a:gd name="T82" fmla="*/ 311 w 404"/>
                <a:gd name="T83" fmla="*/ 0 h 451"/>
                <a:gd name="T84" fmla="*/ 307 w 404"/>
                <a:gd name="T85" fmla="*/ 44 h 451"/>
                <a:gd name="T86" fmla="*/ 311 w 404"/>
                <a:gd name="T87" fmla="*/ 85 h 451"/>
                <a:gd name="T88" fmla="*/ 380 w 404"/>
                <a:gd name="T89" fmla="*/ 68 h 451"/>
                <a:gd name="T90" fmla="*/ 387 w 404"/>
                <a:gd name="T91" fmla="*/ 122 h 451"/>
                <a:gd name="T92" fmla="*/ 366 w 404"/>
                <a:gd name="T93" fmla="*/ 146 h 451"/>
                <a:gd name="T94" fmla="*/ 359 w 404"/>
                <a:gd name="T95" fmla="*/ 179 h 451"/>
                <a:gd name="T96" fmla="*/ 21 w 404"/>
                <a:gd name="T97" fmla="*/ 229 h 451"/>
                <a:gd name="T98" fmla="*/ 21 w 404"/>
                <a:gd name="T99" fmla="*/ 212 h 451"/>
                <a:gd name="T100" fmla="*/ 21 w 404"/>
                <a:gd name="T101" fmla="*/ 229 h 4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404" h="451">
                  <a:moveTo>
                    <a:pt x="359" y="179"/>
                  </a:moveTo>
                  <a:lnTo>
                    <a:pt x="359" y="184"/>
                  </a:lnTo>
                  <a:lnTo>
                    <a:pt x="375" y="184"/>
                  </a:lnTo>
                  <a:lnTo>
                    <a:pt x="380" y="200"/>
                  </a:lnTo>
                  <a:lnTo>
                    <a:pt x="396" y="200"/>
                  </a:lnTo>
                  <a:lnTo>
                    <a:pt x="404" y="212"/>
                  </a:lnTo>
                  <a:lnTo>
                    <a:pt x="396" y="240"/>
                  </a:lnTo>
                  <a:lnTo>
                    <a:pt x="404" y="257"/>
                  </a:lnTo>
                  <a:lnTo>
                    <a:pt x="396" y="307"/>
                  </a:lnTo>
                  <a:lnTo>
                    <a:pt x="387" y="311"/>
                  </a:lnTo>
                  <a:lnTo>
                    <a:pt x="375" y="344"/>
                  </a:lnTo>
                  <a:lnTo>
                    <a:pt x="359" y="344"/>
                  </a:lnTo>
                  <a:lnTo>
                    <a:pt x="349" y="323"/>
                  </a:lnTo>
                  <a:lnTo>
                    <a:pt x="333" y="344"/>
                  </a:lnTo>
                  <a:lnTo>
                    <a:pt x="295" y="340"/>
                  </a:lnTo>
                  <a:lnTo>
                    <a:pt x="290" y="307"/>
                  </a:lnTo>
                  <a:lnTo>
                    <a:pt x="274" y="295"/>
                  </a:lnTo>
                  <a:lnTo>
                    <a:pt x="269" y="307"/>
                  </a:lnTo>
                  <a:lnTo>
                    <a:pt x="257" y="307"/>
                  </a:lnTo>
                  <a:lnTo>
                    <a:pt x="257" y="340"/>
                  </a:lnTo>
                  <a:lnTo>
                    <a:pt x="236" y="344"/>
                  </a:lnTo>
                  <a:lnTo>
                    <a:pt x="224" y="340"/>
                  </a:lnTo>
                  <a:lnTo>
                    <a:pt x="215" y="344"/>
                  </a:lnTo>
                  <a:lnTo>
                    <a:pt x="198" y="340"/>
                  </a:lnTo>
                  <a:lnTo>
                    <a:pt x="203" y="352"/>
                  </a:lnTo>
                  <a:lnTo>
                    <a:pt x="198" y="378"/>
                  </a:lnTo>
                  <a:lnTo>
                    <a:pt x="203" y="368"/>
                  </a:lnTo>
                  <a:lnTo>
                    <a:pt x="215" y="385"/>
                  </a:lnTo>
                  <a:lnTo>
                    <a:pt x="203" y="401"/>
                  </a:lnTo>
                  <a:lnTo>
                    <a:pt x="224" y="406"/>
                  </a:lnTo>
                  <a:lnTo>
                    <a:pt x="219" y="422"/>
                  </a:lnTo>
                  <a:lnTo>
                    <a:pt x="219" y="434"/>
                  </a:lnTo>
                  <a:lnTo>
                    <a:pt x="215" y="434"/>
                  </a:lnTo>
                  <a:lnTo>
                    <a:pt x="198" y="422"/>
                  </a:lnTo>
                  <a:lnTo>
                    <a:pt x="172" y="434"/>
                  </a:lnTo>
                  <a:lnTo>
                    <a:pt x="165" y="451"/>
                  </a:lnTo>
                  <a:lnTo>
                    <a:pt x="118" y="394"/>
                  </a:lnTo>
                  <a:lnTo>
                    <a:pt x="63" y="344"/>
                  </a:lnTo>
                  <a:lnTo>
                    <a:pt x="89" y="361"/>
                  </a:lnTo>
                  <a:lnTo>
                    <a:pt x="96" y="352"/>
                  </a:lnTo>
                  <a:lnTo>
                    <a:pt x="96" y="352"/>
                  </a:lnTo>
                  <a:lnTo>
                    <a:pt x="89" y="352"/>
                  </a:lnTo>
                  <a:lnTo>
                    <a:pt x="80" y="344"/>
                  </a:lnTo>
                  <a:lnTo>
                    <a:pt x="75" y="344"/>
                  </a:lnTo>
                  <a:lnTo>
                    <a:pt x="59" y="340"/>
                  </a:lnTo>
                  <a:lnTo>
                    <a:pt x="42" y="307"/>
                  </a:lnTo>
                  <a:lnTo>
                    <a:pt x="54" y="307"/>
                  </a:lnTo>
                  <a:lnTo>
                    <a:pt x="59" y="311"/>
                  </a:lnTo>
                  <a:lnTo>
                    <a:pt x="54" y="307"/>
                  </a:lnTo>
                  <a:lnTo>
                    <a:pt x="37" y="295"/>
                  </a:lnTo>
                  <a:lnTo>
                    <a:pt x="37" y="283"/>
                  </a:lnTo>
                  <a:lnTo>
                    <a:pt x="21" y="257"/>
                  </a:lnTo>
                  <a:lnTo>
                    <a:pt x="37" y="290"/>
                  </a:lnTo>
                  <a:lnTo>
                    <a:pt x="54" y="290"/>
                  </a:lnTo>
                  <a:lnTo>
                    <a:pt x="54" y="283"/>
                  </a:lnTo>
                  <a:lnTo>
                    <a:pt x="54" y="274"/>
                  </a:lnTo>
                  <a:lnTo>
                    <a:pt x="37" y="283"/>
                  </a:lnTo>
                  <a:lnTo>
                    <a:pt x="42" y="257"/>
                  </a:lnTo>
                  <a:lnTo>
                    <a:pt x="37" y="266"/>
                  </a:lnTo>
                  <a:lnTo>
                    <a:pt x="21" y="257"/>
                  </a:lnTo>
                  <a:lnTo>
                    <a:pt x="0" y="212"/>
                  </a:lnTo>
                  <a:lnTo>
                    <a:pt x="0" y="212"/>
                  </a:lnTo>
                  <a:lnTo>
                    <a:pt x="21" y="229"/>
                  </a:lnTo>
                  <a:lnTo>
                    <a:pt x="42" y="196"/>
                  </a:lnTo>
                  <a:lnTo>
                    <a:pt x="42" y="139"/>
                  </a:lnTo>
                  <a:lnTo>
                    <a:pt x="54" y="155"/>
                  </a:lnTo>
                  <a:lnTo>
                    <a:pt x="75" y="163"/>
                  </a:lnTo>
                  <a:lnTo>
                    <a:pt x="80" y="155"/>
                  </a:lnTo>
                  <a:lnTo>
                    <a:pt x="54" y="146"/>
                  </a:lnTo>
                  <a:lnTo>
                    <a:pt x="42" y="127"/>
                  </a:lnTo>
                  <a:lnTo>
                    <a:pt x="42" y="122"/>
                  </a:lnTo>
                  <a:lnTo>
                    <a:pt x="59" y="118"/>
                  </a:lnTo>
                  <a:lnTo>
                    <a:pt x="59" y="127"/>
                  </a:lnTo>
                  <a:lnTo>
                    <a:pt x="59" y="101"/>
                  </a:lnTo>
                  <a:lnTo>
                    <a:pt x="63" y="89"/>
                  </a:lnTo>
                  <a:lnTo>
                    <a:pt x="75" y="101"/>
                  </a:lnTo>
                  <a:lnTo>
                    <a:pt x="80" y="101"/>
                  </a:lnTo>
                  <a:lnTo>
                    <a:pt x="89" y="101"/>
                  </a:lnTo>
                  <a:lnTo>
                    <a:pt x="182" y="101"/>
                  </a:lnTo>
                  <a:lnTo>
                    <a:pt x="182" y="11"/>
                  </a:lnTo>
                  <a:lnTo>
                    <a:pt x="182" y="0"/>
                  </a:lnTo>
                  <a:lnTo>
                    <a:pt x="252" y="0"/>
                  </a:lnTo>
                  <a:lnTo>
                    <a:pt x="278" y="0"/>
                  </a:lnTo>
                  <a:lnTo>
                    <a:pt x="311" y="0"/>
                  </a:lnTo>
                  <a:lnTo>
                    <a:pt x="321" y="11"/>
                  </a:lnTo>
                  <a:lnTo>
                    <a:pt x="307" y="44"/>
                  </a:lnTo>
                  <a:lnTo>
                    <a:pt x="311" y="68"/>
                  </a:lnTo>
                  <a:lnTo>
                    <a:pt x="311" y="85"/>
                  </a:lnTo>
                  <a:lnTo>
                    <a:pt x="349" y="68"/>
                  </a:lnTo>
                  <a:lnTo>
                    <a:pt x="380" y="68"/>
                  </a:lnTo>
                  <a:lnTo>
                    <a:pt x="404" y="101"/>
                  </a:lnTo>
                  <a:lnTo>
                    <a:pt x="387" y="122"/>
                  </a:lnTo>
                  <a:lnTo>
                    <a:pt x="375" y="127"/>
                  </a:lnTo>
                  <a:lnTo>
                    <a:pt x="366" y="146"/>
                  </a:lnTo>
                  <a:lnTo>
                    <a:pt x="359" y="179"/>
                  </a:lnTo>
                  <a:lnTo>
                    <a:pt x="359" y="179"/>
                  </a:lnTo>
                  <a:lnTo>
                    <a:pt x="359" y="179"/>
                  </a:lnTo>
                  <a:close/>
                  <a:moveTo>
                    <a:pt x="21" y="229"/>
                  </a:moveTo>
                  <a:lnTo>
                    <a:pt x="9" y="217"/>
                  </a:lnTo>
                  <a:lnTo>
                    <a:pt x="21" y="212"/>
                  </a:lnTo>
                  <a:lnTo>
                    <a:pt x="21" y="229"/>
                  </a:lnTo>
                  <a:lnTo>
                    <a:pt x="21" y="229"/>
                  </a:lnTo>
                  <a:lnTo>
                    <a:pt x="21" y="229"/>
                  </a:lnTo>
                  <a:close/>
                </a:path>
              </a:pathLst>
            </a:custGeom>
            <a:solidFill>
              <a:schemeClr val="bg2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07" name="Freeform 449">
              <a:extLst>
                <a:ext uri="{FF2B5EF4-FFF2-40B4-BE49-F238E27FC236}">
                  <a16:creationId xmlns:a16="http://schemas.microsoft.com/office/drawing/2014/main" id="{CAB5B8D7-3E79-40B8-823F-6E1BE9EA1FA4}"/>
                </a:ext>
              </a:extLst>
            </p:cNvPr>
            <p:cNvSpPr>
              <a:spLocks/>
            </p:cNvSpPr>
            <p:nvPr/>
          </p:nvSpPr>
          <p:spPr bwMode="gray">
            <a:xfrm>
              <a:off x="6592425" y="2226827"/>
              <a:ext cx="71059" cy="34843"/>
            </a:xfrm>
            <a:custGeom>
              <a:avLst/>
              <a:gdLst>
                <a:gd name="T0" fmla="*/ 0 w 463"/>
                <a:gd name="T1" fmla="*/ 26 h 227"/>
                <a:gd name="T2" fmla="*/ 0 w 463"/>
                <a:gd name="T3" fmla="*/ 10 h 227"/>
                <a:gd name="T4" fmla="*/ 17 w 463"/>
                <a:gd name="T5" fmla="*/ 0 h 227"/>
                <a:gd name="T6" fmla="*/ 43 w 463"/>
                <a:gd name="T7" fmla="*/ 10 h 227"/>
                <a:gd name="T8" fmla="*/ 109 w 463"/>
                <a:gd name="T9" fmla="*/ 33 h 227"/>
                <a:gd name="T10" fmla="*/ 199 w 463"/>
                <a:gd name="T11" fmla="*/ 43 h 227"/>
                <a:gd name="T12" fmla="*/ 220 w 463"/>
                <a:gd name="T13" fmla="*/ 66 h 227"/>
                <a:gd name="T14" fmla="*/ 258 w 463"/>
                <a:gd name="T15" fmla="*/ 83 h 227"/>
                <a:gd name="T16" fmla="*/ 258 w 463"/>
                <a:gd name="T17" fmla="*/ 88 h 227"/>
                <a:gd name="T18" fmla="*/ 270 w 463"/>
                <a:gd name="T19" fmla="*/ 88 h 227"/>
                <a:gd name="T20" fmla="*/ 312 w 463"/>
                <a:gd name="T21" fmla="*/ 71 h 227"/>
                <a:gd name="T22" fmla="*/ 329 w 463"/>
                <a:gd name="T23" fmla="*/ 88 h 227"/>
                <a:gd name="T24" fmla="*/ 345 w 463"/>
                <a:gd name="T25" fmla="*/ 71 h 227"/>
                <a:gd name="T26" fmla="*/ 362 w 463"/>
                <a:gd name="T27" fmla="*/ 83 h 227"/>
                <a:gd name="T28" fmla="*/ 367 w 463"/>
                <a:gd name="T29" fmla="*/ 100 h 227"/>
                <a:gd name="T30" fmla="*/ 400 w 463"/>
                <a:gd name="T31" fmla="*/ 100 h 227"/>
                <a:gd name="T32" fmla="*/ 393 w 463"/>
                <a:gd name="T33" fmla="*/ 128 h 227"/>
                <a:gd name="T34" fmla="*/ 447 w 463"/>
                <a:gd name="T35" fmla="*/ 154 h 227"/>
                <a:gd name="T36" fmla="*/ 430 w 463"/>
                <a:gd name="T37" fmla="*/ 170 h 227"/>
                <a:gd name="T38" fmla="*/ 437 w 463"/>
                <a:gd name="T39" fmla="*/ 182 h 227"/>
                <a:gd name="T40" fmla="*/ 463 w 463"/>
                <a:gd name="T41" fmla="*/ 199 h 227"/>
                <a:gd name="T42" fmla="*/ 463 w 463"/>
                <a:gd name="T43" fmla="*/ 215 h 227"/>
                <a:gd name="T44" fmla="*/ 454 w 463"/>
                <a:gd name="T45" fmla="*/ 227 h 227"/>
                <a:gd name="T46" fmla="*/ 430 w 463"/>
                <a:gd name="T47" fmla="*/ 211 h 227"/>
                <a:gd name="T48" fmla="*/ 409 w 463"/>
                <a:gd name="T49" fmla="*/ 211 h 227"/>
                <a:gd name="T50" fmla="*/ 400 w 463"/>
                <a:gd name="T51" fmla="*/ 199 h 227"/>
                <a:gd name="T52" fmla="*/ 367 w 463"/>
                <a:gd name="T53" fmla="*/ 194 h 227"/>
                <a:gd name="T54" fmla="*/ 345 w 463"/>
                <a:gd name="T55" fmla="*/ 199 h 227"/>
                <a:gd name="T56" fmla="*/ 341 w 463"/>
                <a:gd name="T57" fmla="*/ 211 h 227"/>
                <a:gd name="T58" fmla="*/ 237 w 463"/>
                <a:gd name="T59" fmla="*/ 215 h 227"/>
                <a:gd name="T60" fmla="*/ 232 w 463"/>
                <a:gd name="T61" fmla="*/ 215 h 227"/>
                <a:gd name="T62" fmla="*/ 220 w 463"/>
                <a:gd name="T63" fmla="*/ 215 h 227"/>
                <a:gd name="T64" fmla="*/ 194 w 463"/>
                <a:gd name="T65" fmla="*/ 177 h 227"/>
                <a:gd name="T66" fmla="*/ 178 w 463"/>
                <a:gd name="T67" fmla="*/ 177 h 227"/>
                <a:gd name="T68" fmla="*/ 168 w 463"/>
                <a:gd name="T69" fmla="*/ 194 h 227"/>
                <a:gd name="T70" fmla="*/ 140 w 463"/>
                <a:gd name="T71" fmla="*/ 182 h 227"/>
                <a:gd name="T72" fmla="*/ 123 w 463"/>
                <a:gd name="T73" fmla="*/ 194 h 227"/>
                <a:gd name="T74" fmla="*/ 109 w 463"/>
                <a:gd name="T75" fmla="*/ 182 h 227"/>
                <a:gd name="T76" fmla="*/ 123 w 463"/>
                <a:gd name="T77" fmla="*/ 154 h 227"/>
                <a:gd name="T78" fmla="*/ 97 w 463"/>
                <a:gd name="T79" fmla="*/ 83 h 227"/>
                <a:gd name="T80" fmla="*/ 76 w 463"/>
                <a:gd name="T81" fmla="*/ 71 h 227"/>
                <a:gd name="T82" fmla="*/ 71 w 463"/>
                <a:gd name="T83" fmla="*/ 55 h 227"/>
                <a:gd name="T84" fmla="*/ 55 w 463"/>
                <a:gd name="T85" fmla="*/ 50 h 227"/>
                <a:gd name="T86" fmla="*/ 22 w 463"/>
                <a:gd name="T87" fmla="*/ 43 h 227"/>
                <a:gd name="T88" fmla="*/ 17 w 463"/>
                <a:gd name="T89" fmla="*/ 26 h 227"/>
                <a:gd name="T90" fmla="*/ 0 w 463"/>
                <a:gd name="T91" fmla="*/ 26 h 227"/>
                <a:gd name="T92" fmla="*/ 0 w 463"/>
                <a:gd name="T93" fmla="*/ 26 h 227"/>
                <a:gd name="T94" fmla="*/ 0 w 463"/>
                <a:gd name="T95" fmla="*/ 26 h 2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463" h="227">
                  <a:moveTo>
                    <a:pt x="0" y="26"/>
                  </a:moveTo>
                  <a:lnTo>
                    <a:pt x="0" y="10"/>
                  </a:lnTo>
                  <a:lnTo>
                    <a:pt x="17" y="0"/>
                  </a:lnTo>
                  <a:lnTo>
                    <a:pt x="43" y="10"/>
                  </a:lnTo>
                  <a:lnTo>
                    <a:pt x="109" y="33"/>
                  </a:lnTo>
                  <a:lnTo>
                    <a:pt x="199" y="43"/>
                  </a:lnTo>
                  <a:lnTo>
                    <a:pt x="220" y="66"/>
                  </a:lnTo>
                  <a:lnTo>
                    <a:pt x="258" y="83"/>
                  </a:lnTo>
                  <a:lnTo>
                    <a:pt x="258" y="88"/>
                  </a:lnTo>
                  <a:lnTo>
                    <a:pt x="270" y="88"/>
                  </a:lnTo>
                  <a:lnTo>
                    <a:pt x="312" y="71"/>
                  </a:lnTo>
                  <a:lnTo>
                    <a:pt x="329" y="88"/>
                  </a:lnTo>
                  <a:lnTo>
                    <a:pt x="345" y="71"/>
                  </a:lnTo>
                  <a:lnTo>
                    <a:pt x="362" y="83"/>
                  </a:lnTo>
                  <a:lnTo>
                    <a:pt x="367" y="100"/>
                  </a:lnTo>
                  <a:lnTo>
                    <a:pt x="400" y="100"/>
                  </a:lnTo>
                  <a:lnTo>
                    <a:pt x="393" y="128"/>
                  </a:lnTo>
                  <a:lnTo>
                    <a:pt x="447" y="154"/>
                  </a:lnTo>
                  <a:lnTo>
                    <a:pt x="430" y="170"/>
                  </a:lnTo>
                  <a:lnTo>
                    <a:pt x="437" y="182"/>
                  </a:lnTo>
                  <a:lnTo>
                    <a:pt x="463" y="199"/>
                  </a:lnTo>
                  <a:lnTo>
                    <a:pt x="463" y="215"/>
                  </a:lnTo>
                  <a:lnTo>
                    <a:pt x="454" y="227"/>
                  </a:lnTo>
                  <a:lnTo>
                    <a:pt x="430" y="211"/>
                  </a:lnTo>
                  <a:lnTo>
                    <a:pt x="409" y="211"/>
                  </a:lnTo>
                  <a:lnTo>
                    <a:pt x="400" y="199"/>
                  </a:lnTo>
                  <a:lnTo>
                    <a:pt x="367" y="194"/>
                  </a:lnTo>
                  <a:lnTo>
                    <a:pt x="345" y="199"/>
                  </a:lnTo>
                  <a:lnTo>
                    <a:pt x="341" y="211"/>
                  </a:lnTo>
                  <a:lnTo>
                    <a:pt x="237" y="215"/>
                  </a:lnTo>
                  <a:lnTo>
                    <a:pt x="232" y="215"/>
                  </a:lnTo>
                  <a:lnTo>
                    <a:pt x="220" y="215"/>
                  </a:lnTo>
                  <a:lnTo>
                    <a:pt x="194" y="177"/>
                  </a:lnTo>
                  <a:lnTo>
                    <a:pt x="178" y="177"/>
                  </a:lnTo>
                  <a:lnTo>
                    <a:pt x="168" y="194"/>
                  </a:lnTo>
                  <a:lnTo>
                    <a:pt x="140" y="182"/>
                  </a:lnTo>
                  <a:lnTo>
                    <a:pt x="123" y="194"/>
                  </a:lnTo>
                  <a:lnTo>
                    <a:pt x="109" y="182"/>
                  </a:lnTo>
                  <a:lnTo>
                    <a:pt x="123" y="154"/>
                  </a:lnTo>
                  <a:lnTo>
                    <a:pt x="97" y="83"/>
                  </a:lnTo>
                  <a:lnTo>
                    <a:pt x="76" y="71"/>
                  </a:lnTo>
                  <a:lnTo>
                    <a:pt x="71" y="55"/>
                  </a:lnTo>
                  <a:lnTo>
                    <a:pt x="55" y="50"/>
                  </a:lnTo>
                  <a:lnTo>
                    <a:pt x="22" y="43"/>
                  </a:lnTo>
                  <a:lnTo>
                    <a:pt x="17" y="26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0" y="26"/>
                  </a:lnTo>
                  <a:close/>
                </a:path>
              </a:pathLst>
            </a:custGeom>
            <a:solidFill>
              <a:schemeClr val="bg2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08" name="Freeform 450">
              <a:extLst>
                <a:ext uri="{FF2B5EF4-FFF2-40B4-BE49-F238E27FC236}">
                  <a16:creationId xmlns:a16="http://schemas.microsoft.com/office/drawing/2014/main" id="{DCF0160A-BB6C-4AC1-909E-99C20974CACE}"/>
                </a:ext>
              </a:extLst>
            </p:cNvPr>
            <p:cNvSpPr>
              <a:spLocks/>
            </p:cNvSpPr>
            <p:nvPr/>
          </p:nvSpPr>
          <p:spPr bwMode="gray">
            <a:xfrm>
              <a:off x="6126322" y="2618845"/>
              <a:ext cx="47884" cy="71681"/>
            </a:xfrm>
            <a:custGeom>
              <a:avLst/>
              <a:gdLst>
                <a:gd name="T0" fmla="*/ 16 w 312"/>
                <a:gd name="T1" fmla="*/ 432 h 467"/>
                <a:gd name="T2" fmla="*/ 16 w 312"/>
                <a:gd name="T3" fmla="*/ 432 h 467"/>
                <a:gd name="T4" fmla="*/ 21 w 312"/>
                <a:gd name="T5" fmla="*/ 432 h 467"/>
                <a:gd name="T6" fmla="*/ 38 w 312"/>
                <a:gd name="T7" fmla="*/ 432 h 467"/>
                <a:gd name="T8" fmla="*/ 38 w 312"/>
                <a:gd name="T9" fmla="*/ 406 h 467"/>
                <a:gd name="T10" fmla="*/ 21 w 312"/>
                <a:gd name="T11" fmla="*/ 394 h 467"/>
                <a:gd name="T12" fmla="*/ 0 w 312"/>
                <a:gd name="T13" fmla="*/ 321 h 467"/>
                <a:gd name="T14" fmla="*/ 4 w 312"/>
                <a:gd name="T15" fmla="*/ 316 h 467"/>
                <a:gd name="T16" fmla="*/ 21 w 312"/>
                <a:gd name="T17" fmla="*/ 295 h 467"/>
                <a:gd name="T18" fmla="*/ 38 w 312"/>
                <a:gd name="T19" fmla="*/ 227 h 467"/>
                <a:gd name="T20" fmla="*/ 54 w 312"/>
                <a:gd name="T21" fmla="*/ 210 h 467"/>
                <a:gd name="T22" fmla="*/ 42 w 312"/>
                <a:gd name="T23" fmla="*/ 156 h 467"/>
                <a:gd name="T24" fmla="*/ 38 w 312"/>
                <a:gd name="T25" fmla="*/ 149 h 467"/>
                <a:gd name="T26" fmla="*/ 42 w 312"/>
                <a:gd name="T27" fmla="*/ 116 h 467"/>
                <a:gd name="T28" fmla="*/ 38 w 312"/>
                <a:gd name="T29" fmla="*/ 111 h 467"/>
                <a:gd name="T30" fmla="*/ 38 w 312"/>
                <a:gd name="T31" fmla="*/ 61 h 467"/>
                <a:gd name="T32" fmla="*/ 21 w 312"/>
                <a:gd name="T33" fmla="*/ 26 h 467"/>
                <a:gd name="T34" fmla="*/ 30 w 312"/>
                <a:gd name="T35" fmla="*/ 5 h 467"/>
                <a:gd name="T36" fmla="*/ 160 w 312"/>
                <a:gd name="T37" fmla="*/ 5 h 467"/>
                <a:gd name="T38" fmla="*/ 182 w 312"/>
                <a:gd name="T39" fmla="*/ 5 h 467"/>
                <a:gd name="T40" fmla="*/ 182 w 312"/>
                <a:gd name="T41" fmla="*/ 16 h 467"/>
                <a:gd name="T42" fmla="*/ 205 w 312"/>
                <a:gd name="T43" fmla="*/ 0 h 467"/>
                <a:gd name="T44" fmla="*/ 219 w 312"/>
                <a:gd name="T45" fmla="*/ 0 h 467"/>
                <a:gd name="T46" fmla="*/ 231 w 312"/>
                <a:gd name="T47" fmla="*/ 5 h 467"/>
                <a:gd name="T48" fmla="*/ 219 w 312"/>
                <a:gd name="T49" fmla="*/ 26 h 467"/>
                <a:gd name="T50" fmla="*/ 252 w 312"/>
                <a:gd name="T51" fmla="*/ 54 h 467"/>
                <a:gd name="T52" fmla="*/ 252 w 312"/>
                <a:gd name="T53" fmla="*/ 61 h 467"/>
                <a:gd name="T54" fmla="*/ 257 w 312"/>
                <a:gd name="T55" fmla="*/ 78 h 467"/>
                <a:gd name="T56" fmla="*/ 248 w 312"/>
                <a:gd name="T57" fmla="*/ 116 h 467"/>
                <a:gd name="T58" fmla="*/ 257 w 312"/>
                <a:gd name="T59" fmla="*/ 116 h 467"/>
                <a:gd name="T60" fmla="*/ 269 w 312"/>
                <a:gd name="T61" fmla="*/ 127 h 467"/>
                <a:gd name="T62" fmla="*/ 257 w 312"/>
                <a:gd name="T63" fmla="*/ 149 h 467"/>
                <a:gd name="T64" fmla="*/ 269 w 312"/>
                <a:gd name="T65" fmla="*/ 165 h 467"/>
                <a:gd name="T66" fmla="*/ 252 w 312"/>
                <a:gd name="T67" fmla="*/ 172 h 467"/>
                <a:gd name="T68" fmla="*/ 286 w 312"/>
                <a:gd name="T69" fmla="*/ 205 h 467"/>
                <a:gd name="T70" fmla="*/ 274 w 312"/>
                <a:gd name="T71" fmla="*/ 210 h 467"/>
                <a:gd name="T72" fmla="*/ 269 w 312"/>
                <a:gd name="T73" fmla="*/ 243 h 467"/>
                <a:gd name="T74" fmla="*/ 269 w 312"/>
                <a:gd name="T75" fmla="*/ 260 h 467"/>
                <a:gd name="T76" fmla="*/ 269 w 312"/>
                <a:gd name="T77" fmla="*/ 267 h 467"/>
                <a:gd name="T78" fmla="*/ 274 w 312"/>
                <a:gd name="T79" fmla="*/ 276 h 467"/>
                <a:gd name="T80" fmla="*/ 274 w 312"/>
                <a:gd name="T81" fmla="*/ 300 h 467"/>
                <a:gd name="T82" fmla="*/ 269 w 312"/>
                <a:gd name="T83" fmla="*/ 300 h 467"/>
                <a:gd name="T84" fmla="*/ 286 w 312"/>
                <a:gd name="T85" fmla="*/ 338 h 467"/>
                <a:gd name="T86" fmla="*/ 302 w 312"/>
                <a:gd name="T87" fmla="*/ 349 h 467"/>
                <a:gd name="T88" fmla="*/ 312 w 312"/>
                <a:gd name="T89" fmla="*/ 361 h 467"/>
                <a:gd name="T90" fmla="*/ 302 w 312"/>
                <a:gd name="T91" fmla="*/ 390 h 467"/>
                <a:gd name="T92" fmla="*/ 274 w 312"/>
                <a:gd name="T93" fmla="*/ 390 h 467"/>
                <a:gd name="T94" fmla="*/ 269 w 312"/>
                <a:gd name="T95" fmla="*/ 373 h 467"/>
                <a:gd name="T96" fmla="*/ 248 w 312"/>
                <a:gd name="T97" fmla="*/ 361 h 467"/>
                <a:gd name="T98" fmla="*/ 269 w 312"/>
                <a:gd name="T99" fmla="*/ 373 h 467"/>
                <a:gd name="T100" fmla="*/ 274 w 312"/>
                <a:gd name="T101" fmla="*/ 390 h 467"/>
                <a:gd name="T102" fmla="*/ 248 w 312"/>
                <a:gd name="T103" fmla="*/ 390 h 467"/>
                <a:gd name="T104" fmla="*/ 177 w 312"/>
                <a:gd name="T105" fmla="*/ 427 h 467"/>
                <a:gd name="T106" fmla="*/ 113 w 312"/>
                <a:gd name="T107" fmla="*/ 444 h 467"/>
                <a:gd name="T108" fmla="*/ 85 w 312"/>
                <a:gd name="T109" fmla="*/ 467 h 467"/>
                <a:gd name="T110" fmla="*/ 68 w 312"/>
                <a:gd name="T111" fmla="*/ 451 h 467"/>
                <a:gd name="T112" fmla="*/ 16 w 312"/>
                <a:gd name="T113" fmla="*/ 432 h 467"/>
                <a:gd name="T114" fmla="*/ 16 w 312"/>
                <a:gd name="T115" fmla="*/ 432 h 467"/>
                <a:gd name="T116" fmla="*/ 16 w 312"/>
                <a:gd name="T117" fmla="*/ 432 h 4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312" h="467">
                  <a:moveTo>
                    <a:pt x="16" y="432"/>
                  </a:moveTo>
                  <a:lnTo>
                    <a:pt x="16" y="432"/>
                  </a:lnTo>
                  <a:lnTo>
                    <a:pt x="21" y="432"/>
                  </a:lnTo>
                  <a:lnTo>
                    <a:pt x="38" y="432"/>
                  </a:lnTo>
                  <a:lnTo>
                    <a:pt x="38" y="406"/>
                  </a:lnTo>
                  <a:lnTo>
                    <a:pt x="21" y="394"/>
                  </a:lnTo>
                  <a:lnTo>
                    <a:pt x="0" y="321"/>
                  </a:lnTo>
                  <a:lnTo>
                    <a:pt x="4" y="316"/>
                  </a:lnTo>
                  <a:lnTo>
                    <a:pt x="21" y="295"/>
                  </a:lnTo>
                  <a:lnTo>
                    <a:pt x="38" y="227"/>
                  </a:lnTo>
                  <a:lnTo>
                    <a:pt x="54" y="210"/>
                  </a:lnTo>
                  <a:lnTo>
                    <a:pt x="42" y="156"/>
                  </a:lnTo>
                  <a:lnTo>
                    <a:pt x="38" y="149"/>
                  </a:lnTo>
                  <a:lnTo>
                    <a:pt x="42" y="116"/>
                  </a:lnTo>
                  <a:lnTo>
                    <a:pt x="38" y="111"/>
                  </a:lnTo>
                  <a:lnTo>
                    <a:pt x="38" y="61"/>
                  </a:lnTo>
                  <a:lnTo>
                    <a:pt x="21" y="26"/>
                  </a:lnTo>
                  <a:lnTo>
                    <a:pt x="30" y="5"/>
                  </a:lnTo>
                  <a:lnTo>
                    <a:pt x="160" y="5"/>
                  </a:lnTo>
                  <a:lnTo>
                    <a:pt x="182" y="5"/>
                  </a:lnTo>
                  <a:lnTo>
                    <a:pt x="182" y="16"/>
                  </a:lnTo>
                  <a:lnTo>
                    <a:pt x="205" y="0"/>
                  </a:lnTo>
                  <a:lnTo>
                    <a:pt x="219" y="0"/>
                  </a:lnTo>
                  <a:lnTo>
                    <a:pt x="231" y="5"/>
                  </a:lnTo>
                  <a:lnTo>
                    <a:pt x="219" y="26"/>
                  </a:lnTo>
                  <a:lnTo>
                    <a:pt x="252" y="54"/>
                  </a:lnTo>
                  <a:lnTo>
                    <a:pt x="252" y="61"/>
                  </a:lnTo>
                  <a:lnTo>
                    <a:pt x="257" y="78"/>
                  </a:lnTo>
                  <a:lnTo>
                    <a:pt x="248" y="116"/>
                  </a:lnTo>
                  <a:lnTo>
                    <a:pt x="257" y="116"/>
                  </a:lnTo>
                  <a:lnTo>
                    <a:pt x="269" y="127"/>
                  </a:lnTo>
                  <a:lnTo>
                    <a:pt x="257" y="149"/>
                  </a:lnTo>
                  <a:lnTo>
                    <a:pt x="269" y="165"/>
                  </a:lnTo>
                  <a:lnTo>
                    <a:pt x="252" y="172"/>
                  </a:lnTo>
                  <a:lnTo>
                    <a:pt x="286" y="205"/>
                  </a:lnTo>
                  <a:lnTo>
                    <a:pt x="274" y="210"/>
                  </a:lnTo>
                  <a:lnTo>
                    <a:pt x="269" y="243"/>
                  </a:lnTo>
                  <a:lnTo>
                    <a:pt x="269" y="260"/>
                  </a:lnTo>
                  <a:lnTo>
                    <a:pt x="269" y="267"/>
                  </a:lnTo>
                  <a:lnTo>
                    <a:pt x="274" y="276"/>
                  </a:lnTo>
                  <a:lnTo>
                    <a:pt x="274" y="300"/>
                  </a:lnTo>
                  <a:lnTo>
                    <a:pt x="269" y="300"/>
                  </a:lnTo>
                  <a:lnTo>
                    <a:pt x="286" y="338"/>
                  </a:lnTo>
                  <a:lnTo>
                    <a:pt x="302" y="349"/>
                  </a:lnTo>
                  <a:lnTo>
                    <a:pt x="312" y="361"/>
                  </a:lnTo>
                  <a:lnTo>
                    <a:pt x="302" y="390"/>
                  </a:lnTo>
                  <a:lnTo>
                    <a:pt x="274" y="390"/>
                  </a:lnTo>
                  <a:lnTo>
                    <a:pt x="269" y="373"/>
                  </a:lnTo>
                  <a:lnTo>
                    <a:pt x="248" y="361"/>
                  </a:lnTo>
                  <a:lnTo>
                    <a:pt x="269" y="373"/>
                  </a:lnTo>
                  <a:lnTo>
                    <a:pt x="274" y="390"/>
                  </a:lnTo>
                  <a:lnTo>
                    <a:pt x="248" y="390"/>
                  </a:lnTo>
                  <a:lnTo>
                    <a:pt x="177" y="427"/>
                  </a:lnTo>
                  <a:lnTo>
                    <a:pt x="113" y="444"/>
                  </a:lnTo>
                  <a:lnTo>
                    <a:pt x="85" y="467"/>
                  </a:lnTo>
                  <a:lnTo>
                    <a:pt x="68" y="451"/>
                  </a:lnTo>
                  <a:lnTo>
                    <a:pt x="16" y="432"/>
                  </a:lnTo>
                  <a:lnTo>
                    <a:pt x="16" y="432"/>
                  </a:lnTo>
                  <a:lnTo>
                    <a:pt x="16" y="432"/>
                  </a:lnTo>
                  <a:close/>
                </a:path>
              </a:pathLst>
            </a:custGeom>
            <a:solidFill>
              <a:schemeClr val="bg2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09" name="Freeform 451">
              <a:extLst>
                <a:ext uri="{FF2B5EF4-FFF2-40B4-BE49-F238E27FC236}">
                  <a16:creationId xmlns:a16="http://schemas.microsoft.com/office/drawing/2014/main" id="{F0379646-F9EC-4E91-9CE2-1785AE5E0E9F}"/>
                </a:ext>
              </a:extLst>
            </p:cNvPr>
            <p:cNvSpPr>
              <a:spLocks/>
            </p:cNvSpPr>
            <p:nvPr/>
          </p:nvSpPr>
          <p:spPr bwMode="gray">
            <a:xfrm>
              <a:off x="5495846" y="2606106"/>
              <a:ext cx="2456" cy="2609"/>
            </a:xfrm>
            <a:custGeom>
              <a:avLst/>
              <a:gdLst>
                <a:gd name="T0" fmla="*/ 16 w 16"/>
                <a:gd name="T1" fmla="*/ 0 h 17"/>
                <a:gd name="T2" fmla="*/ 16 w 16"/>
                <a:gd name="T3" fmla="*/ 17 h 17"/>
                <a:gd name="T4" fmla="*/ 0 w 16"/>
                <a:gd name="T5" fmla="*/ 17 h 17"/>
                <a:gd name="T6" fmla="*/ 7 w 16"/>
                <a:gd name="T7" fmla="*/ 0 h 17"/>
                <a:gd name="T8" fmla="*/ 16 w 16"/>
                <a:gd name="T9" fmla="*/ 0 h 17"/>
                <a:gd name="T10" fmla="*/ 16 w 16"/>
                <a:gd name="T11" fmla="*/ 0 h 17"/>
                <a:gd name="T12" fmla="*/ 16 w 16"/>
                <a:gd name="T13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" h="17">
                  <a:moveTo>
                    <a:pt x="16" y="0"/>
                  </a:moveTo>
                  <a:lnTo>
                    <a:pt x="16" y="17"/>
                  </a:lnTo>
                  <a:lnTo>
                    <a:pt x="0" y="17"/>
                  </a:lnTo>
                  <a:lnTo>
                    <a:pt x="7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close/>
                </a:path>
              </a:pathLst>
            </a:custGeom>
            <a:solidFill>
              <a:schemeClr val="bg2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10" name="Freeform 452">
              <a:extLst>
                <a:ext uri="{FF2B5EF4-FFF2-40B4-BE49-F238E27FC236}">
                  <a16:creationId xmlns:a16="http://schemas.microsoft.com/office/drawing/2014/main" id="{73D5650B-C395-4A1B-9E2F-20554CD13AED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375522" y="1485000"/>
              <a:ext cx="654263" cy="502533"/>
            </a:xfrm>
            <a:custGeom>
              <a:avLst/>
              <a:gdLst>
                <a:gd name="T0" fmla="*/ 1604 w 4263"/>
                <a:gd name="T1" fmla="*/ 2143 h 3274"/>
                <a:gd name="T2" fmla="*/ 1549 w 4263"/>
                <a:gd name="T3" fmla="*/ 1949 h 3274"/>
                <a:gd name="T4" fmla="*/ 1240 w 4263"/>
                <a:gd name="T5" fmla="*/ 1892 h 3274"/>
                <a:gd name="T6" fmla="*/ 1219 w 4263"/>
                <a:gd name="T7" fmla="*/ 1555 h 3274"/>
                <a:gd name="T8" fmla="*/ 756 w 4263"/>
                <a:gd name="T9" fmla="*/ 1205 h 3274"/>
                <a:gd name="T10" fmla="*/ 236 w 4263"/>
                <a:gd name="T11" fmla="*/ 1099 h 3274"/>
                <a:gd name="T12" fmla="*/ 16 w 4263"/>
                <a:gd name="T13" fmla="*/ 893 h 3274"/>
                <a:gd name="T14" fmla="*/ 718 w 4263"/>
                <a:gd name="T15" fmla="*/ 501 h 3274"/>
                <a:gd name="T16" fmla="*/ 1516 w 4263"/>
                <a:gd name="T17" fmla="*/ 305 h 3274"/>
                <a:gd name="T18" fmla="*/ 2315 w 4263"/>
                <a:gd name="T19" fmla="*/ 189 h 3274"/>
                <a:gd name="T20" fmla="*/ 2482 w 4263"/>
                <a:gd name="T21" fmla="*/ 24 h 3274"/>
                <a:gd name="T22" fmla="*/ 3439 w 4263"/>
                <a:gd name="T23" fmla="*/ 123 h 3274"/>
                <a:gd name="T24" fmla="*/ 3439 w 4263"/>
                <a:gd name="T25" fmla="*/ 506 h 3274"/>
                <a:gd name="T26" fmla="*/ 3633 w 4263"/>
                <a:gd name="T27" fmla="*/ 527 h 3274"/>
                <a:gd name="T28" fmla="*/ 3746 w 4263"/>
                <a:gd name="T29" fmla="*/ 749 h 3274"/>
                <a:gd name="T30" fmla="*/ 3789 w 4263"/>
                <a:gd name="T31" fmla="*/ 1054 h 3274"/>
                <a:gd name="T32" fmla="*/ 3734 w 4263"/>
                <a:gd name="T33" fmla="*/ 1259 h 3274"/>
                <a:gd name="T34" fmla="*/ 3578 w 4263"/>
                <a:gd name="T35" fmla="*/ 1489 h 3274"/>
                <a:gd name="T36" fmla="*/ 3297 w 4263"/>
                <a:gd name="T37" fmla="*/ 1637 h 3274"/>
                <a:gd name="T38" fmla="*/ 3493 w 4263"/>
                <a:gd name="T39" fmla="*/ 1814 h 3274"/>
                <a:gd name="T40" fmla="*/ 3531 w 4263"/>
                <a:gd name="T41" fmla="*/ 1982 h 3274"/>
                <a:gd name="T42" fmla="*/ 3137 w 4263"/>
                <a:gd name="T43" fmla="*/ 2015 h 3274"/>
                <a:gd name="T44" fmla="*/ 3326 w 4263"/>
                <a:gd name="T45" fmla="*/ 2197 h 3274"/>
                <a:gd name="T46" fmla="*/ 2839 w 4263"/>
                <a:gd name="T47" fmla="*/ 2275 h 3274"/>
                <a:gd name="T48" fmla="*/ 2532 w 4263"/>
                <a:gd name="T49" fmla="*/ 2592 h 3274"/>
                <a:gd name="T50" fmla="*/ 2272 w 4263"/>
                <a:gd name="T51" fmla="*/ 2670 h 3274"/>
                <a:gd name="T52" fmla="*/ 2154 w 4263"/>
                <a:gd name="T53" fmla="*/ 2941 h 3274"/>
                <a:gd name="T54" fmla="*/ 2067 w 4263"/>
                <a:gd name="T55" fmla="*/ 3163 h 3274"/>
                <a:gd name="T56" fmla="*/ 1927 w 4263"/>
                <a:gd name="T57" fmla="*/ 3203 h 3274"/>
                <a:gd name="T58" fmla="*/ 1743 w 4263"/>
                <a:gd name="T59" fmla="*/ 3163 h 3274"/>
                <a:gd name="T60" fmla="*/ 1672 w 4263"/>
                <a:gd name="T61" fmla="*/ 3031 h 3274"/>
                <a:gd name="T62" fmla="*/ 1511 w 4263"/>
                <a:gd name="T63" fmla="*/ 2821 h 3274"/>
                <a:gd name="T64" fmla="*/ 1533 w 4263"/>
                <a:gd name="T65" fmla="*/ 2736 h 3274"/>
                <a:gd name="T66" fmla="*/ 1424 w 4263"/>
                <a:gd name="T67" fmla="*/ 2632 h 3274"/>
                <a:gd name="T68" fmla="*/ 1353 w 4263"/>
                <a:gd name="T69" fmla="*/ 2514 h 3274"/>
                <a:gd name="T70" fmla="*/ 1566 w 4263"/>
                <a:gd name="T71" fmla="*/ 2393 h 3274"/>
                <a:gd name="T72" fmla="*/ 1386 w 4263"/>
                <a:gd name="T73" fmla="*/ 2320 h 3274"/>
                <a:gd name="T74" fmla="*/ 2272 w 4263"/>
                <a:gd name="T75" fmla="*/ 67 h 3274"/>
                <a:gd name="T76" fmla="*/ 2298 w 4263"/>
                <a:gd name="T77" fmla="*/ 173 h 3274"/>
                <a:gd name="T78" fmla="*/ 3666 w 4263"/>
                <a:gd name="T79" fmla="*/ 267 h 3274"/>
                <a:gd name="T80" fmla="*/ 3881 w 4263"/>
                <a:gd name="T81" fmla="*/ 749 h 3274"/>
                <a:gd name="T82" fmla="*/ 3649 w 4263"/>
                <a:gd name="T83" fmla="*/ 917 h 3274"/>
                <a:gd name="T84" fmla="*/ 3881 w 4263"/>
                <a:gd name="T85" fmla="*/ 962 h 3274"/>
                <a:gd name="T86" fmla="*/ 3741 w 4263"/>
                <a:gd name="T87" fmla="*/ 1127 h 3274"/>
                <a:gd name="T88" fmla="*/ 215 w 4263"/>
                <a:gd name="T89" fmla="*/ 1184 h 3274"/>
                <a:gd name="T90" fmla="*/ 3864 w 4263"/>
                <a:gd name="T91" fmla="*/ 1337 h 3274"/>
                <a:gd name="T92" fmla="*/ 1133 w 4263"/>
                <a:gd name="T93" fmla="*/ 1460 h 3274"/>
                <a:gd name="T94" fmla="*/ 1164 w 4263"/>
                <a:gd name="T95" fmla="*/ 1600 h 3274"/>
                <a:gd name="T96" fmla="*/ 1202 w 4263"/>
                <a:gd name="T97" fmla="*/ 1633 h 3274"/>
                <a:gd name="T98" fmla="*/ 1240 w 4263"/>
                <a:gd name="T99" fmla="*/ 1687 h 3274"/>
                <a:gd name="T100" fmla="*/ 1209 w 4263"/>
                <a:gd name="T101" fmla="*/ 1703 h 3274"/>
                <a:gd name="T102" fmla="*/ 1226 w 4263"/>
                <a:gd name="T103" fmla="*/ 1838 h 3274"/>
                <a:gd name="T104" fmla="*/ 3342 w 4263"/>
                <a:gd name="T105" fmla="*/ 1933 h 3274"/>
                <a:gd name="T106" fmla="*/ 1353 w 4263"/>
                <a:gd name="T107" fmla="*/ 2143 h 3274"/>
                <a:gd name="T108" fmla="*/ 3486 w 4263"/>
                <a:gd name="T109" fmla="*/ 2126 h 3274"/>
                <a:gd name="T110" fmla="*/ 1457 w 4263"/>
                <a:gd name="T111" fmla="*/ 2308 h 3274"/>
                <a:gd name="T112" fmla="*/ 1370 w 4263"/>
                <a:gd name="T113" fmla="*/ 2476 h 3274"/>
                <a:gd name="T114" fmla="*/ 2504 w 4263"/>
                <a:gd name="T115" fmla="*/ 2599 h 3274"/>
                <a:gd name="T116" fmla="*/ 1408 w 4263"/>
                <a:gd name="T117" fmla="*/ 2641 h 3274"/>
                <a:gd name="T118" fmla="*/ 1511 w 4263"/>
                <a:gd name="T119" fmla="*/ 2764 h 3274"/>
                <a:gd name="T120" fmla="*/ 1566 w 4263"/>
                <a:gd name="T121" fmla="*/ 2903 h 3274"/>
                <a:gd name="T122" fmla="*/ 1776 w 4263"/>
                <a:gd name="T123" fmla="*/ 3163 h 3274"/>
                <a:gd name="T124" fmla="*/ 2071 w 4263"/>
                <a:gd name="T125" fmla="*/ 3258 h 32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263" h="3274">
                  <a:moveTo>
                    <a:pt x="1441" y="2308"/>
                  </a:moveTo>
                  <a:lnTo>
                    <a:pt x="1436" y="2299"/>
                  </a:lnTo>
                  <a:lnTo>
                    <a:pt x="1408" y="2299"/>
                  </a:lnTo>
                  <a:lnTo>
                    <a:pt x="1424" y="2292"/>
                  </a:lnTo>
                  <a:lnTo>
                    <a:pt x="1382" y="2299"/>
                  </a:lnTo>
                  <a:lnTo>
                    <a:pt x="1382" y="2292"/>
                  </a:lnTo>
                  <a:lnTo>
                    <a:pt x="1398" y="2292"/>
                  </a:lnTo>
                  <a:lnTo>
                    <a:pt x="1441" y="2259"/>
                  </a:lnTo>
                  <a:lnTo>
                    <a:pt x="1478" y="2259"/>
                  </a:lnTo>
                  <a:lnTo>
                    <a:pt x="1490" y="2259"/>
                  </a:lnTo>
                  <a:lnTo>
                    <a:pt x="1478" y="2259"/>
                  </a:lnTo>
                  <a:lnTo>
                    <a:pt x="1504" y="2266"/>
                  </a:lnTo>
                  <a:lnTo>
                    <a:pt x="1559" y="2254"/>
                  </a:lnTo>
                  <a:lnTo>
                    <a:pt x="1559" y="2242"/>
                  </a:lnTo>
                  <a:lnTo>
                    <a:pt x="1542" y="2237"/>
                  </a:lnTo>
                  <a:lnTo>
                    <a:pt x="1570" y="2225"/>
                  </a:lnTo>
                  <a:lnTo>
                    <a:pt x="1528" y="2237"/>
                  </a:lnTo>
                  <a:lnTo>
                    <a:pt x="1549" y="2209"/>
                  </a:lnTo>
                  <a:lnTo>
                    <a:pt x="1533" y="2209"/>
                  </a:lnTo>
                  <a:lnTo>
                    <a:pt x="1542" y="2188"/>
                  </a:lnTo>
                  <a:lnTo>
                    <a:pt x="1559" y="2188"/>
                  </a:lnTo>
                  <a:lnTo>
                    <a:pt x="1542" y="2204"/>
                  </a:lnTo>
                  <a:lnTo>
                    <a:pt x="1566" y="2197"/>
                  </a:lnTo>
                  <a:lnTo>
                    <a:pt x="1587" y="2221"/>
                  </a:lnTo>
                  <a:lnTo>
                    <a:pt x="1596" y="2209"/>
                  </a:lnTo>
                  <a:lnTo>
                    <a:pt x="1580" y="2204"/>
                  </a:lnTo>
                  <a:lnTo>
                    <a:pt x="1596" y="2197"/>
                  </a:lnTo>
                  <a:lnTo>
                    <a:pt x="1596" y="2204"/>
                  </a:lnTo>
                  <a:lnTo>
                    <a:pt x="1604" y="2209"/>
                  </a:lnTo>
                  <a:lnTo>
                    <a:pt x="1596" y="2197"/>
                  </a:lnTo>
                  <a:lnTo>
                    <a:pt x="1566" y="2188"/>
                  </a:lnTo>
                  <a:lnTo>
                    <a:pt x="1604" y="2181"/>
                  </a:lnTo>
                  <a:lnTo>
                    <a:pt x="1580" y="2181"/>
                  </a:lnTo>
                  <a:lnTo>
                    <a:pt x="1580" y="2164"/>
                  </a:lnTo>
                  <a:lnTo>
                    <a:pt x="1587" y="2164"/>
                  </a:lnTo>
                  <a:lnTo>
                    <a:pt x="1549" y="2181"/>
                  </a:lnTo>
                  <a:lnTo>
                    <a:pt x="1533" y="2181"/>
                  </a:lnTo>
                  <a:lnTo>
                    <a:pt x="1559" y="2148"/>
                  </a:lnTo>
                  <a:lnTo>
                    <a:pt x="1604" y="2143"/>
                  </a:lnTo>
                  <a:lnTo>
                    <a:pt x="1549" y="2143"/>
                  </a:lnTo>
                  <a:lnTo>
                    <a:pt x="1559" y="2126"/>
                  </a:lnTo>
                  <a:lnTo>
                    <a:pt x="1587" y="2131"/>
                  </a:lnTo>
                  <a:lnTo>
                    <a:pt x="1559" y="2114"/>
                  </a:lnTo>
                  <a:lnTo>
                    <a:pt x="1570" y="2110"/>
                  </a:lnTo>
                  <a:lnTo>
                    <a:pt x="1604" y="2110"/>
                  </a:lnTo>
                  <a:lnTo>
                    <a:pt x="1596" y="2093"/>
                  </a:lnTo>
                  <a:lnTo>
                    <a:pt x="1570" y="2086"/>
                  </a:lnTo>
                  <a:lnTo>
                    <a:pt x="1596" y="2077"/>
                  </a:lnTo>
                  <a:lnTo>
                    <a:pt x="1528" y="2086"/>
                  </a:lnTo>
                  <a:lnTo>
                    <a:pt x="1559" y="2077"/>
                  </a:lnTo>
                  <a:lnTo>
                    <a:pt x="1528" y="2070"/>
                  </a:lnTo>
                  <a:lnTo>
                    <a:pt x="1511" y="2086"/>
                  </a:lnTo>
                  <a:lnTo>
                    <a:pt x="1452" y="2070"/>
                  </a:lnTo>
                  <a:lnTo>
                    <a:pt x="1424" y="2044"/>
                  </a:lnTo>
                  <a:lnTo>
                    <a:pt x="1344" y="2032"/>
                  </a:lnTo>
                  <a:lnTo>
                    <a:pt x="1289" y="1987"/>
                  </a:lnTo>
                  <a:lnTo>
                    <a:pt x="1327" y="1966"/>
                  </a:lnTo>
                  <a:lnTo>
                    <a:pt x="1424" y="1982"/>
                  </a:lnTo>
                  <a:lnTo>
                    <a:pt x="1504" y="2020"/>
                  </a:lnTo>
                  <a:lnTo>
                    <a:pt x="1570" y="2037"/>
                  </a:lnTo>
                  <a:lnTo>
                    <a:pt x="1580" y="2032"/>
                  </a:lnTo>
                  <a:lnTo>
                    <a:pt x="1566" y="2020"/>
                  </a:lnTo>
                  <a:lnTo>
                    <a:pt x="1580" y="2015"/>
                  </a:lnTo>
                  <a:lnTo>
                    <a:pt x="1549" y="2020"/>
                  </a:lnTo>
                  <a:lnTo>
                    <a:pt x="1516" y="2003"/>
                  </a:lnTo>
                  <a:lnTo>
                    <a:pt x="1528" y="1999"/>
                  </a:lnTo>
                  <a:lnTo>
                    <a:pt x="1549" y="2015"/>
                  </a:lnTo>
                  <a:lnTo>
                    <a:pt x="1566" y="2003"/>
                  </a:lnTo>
                  <a:lnTo>
                    <a:pt x="1542" y="1999"/>
                  </a:lnTo>
                  <a:lnTo>
                    <a:pt x="1570" y="1999"/>
                  </a:lnTo>
                  <a:lnTo>
                    <a:pt x="1511" y="1982"/>
                  </a:lnTo>
                  <a:lnTo>
                    <a:pt x="1528" y="1975"/>
                  </a:lnTo>
                  <a:lnTo>
                    <a:pt x="1570" y="1982"/>
                  </a:lnTo>
                  <a:lnTo>
                    <a:pt x="1549" y="1975"/>
                  </a:lnTo>
                  <a:lnTo>
                    <a:pt x="1559" y="1966"/>
                  </a:lnTo>
                  <a:lnTo>
                    <a:pt x="1533" y="1966"/>
                  </a:lnTo>
                  <a:lnTo>
                    <a:pt x="1478" y="1942"/>
                  </a:lnTo>
                  <a:lnTo>
                    <a:pt x="1549" y="1949"/>
                  </a:lnTo>
                  <a:lnTo>
                    <a:pt x="1511" y="1942"/>
                  </a:lnTo>
                  <a:lnTo>
                    <a:pt x="1528" y="1926"/>
                  </a:lnTo>
                  <a:lnTo>
                    <a:pt x="1457" y="1933"/>
                  </a:lnTo>
                  <a:lnTo>
                    <a:pt x="1511" y="1909"/>
                  </a:lnTo>
                  <a:lnTo>
                    <a:pt x="1504" y="1904"/>
                  </a:lnTo>
                  <a:lnTo>
                    <a:pt x="1436" y="1926"/>
                  </a:lnTo>
                  <a:lnTo>
                    <a:pt x="1457" y="1909"/>
                  </a:lnTo>
                  <a:lnTo>
                    <a:pt x="1457" y="1904"/>
                  </a:lnTo>
                  <a:lnTo>
                    <a:pt x="1516" y="1888"/>
                  </a:lnTo>
                  <a:lnTo>
                    <a:pt x="1495" y="1876"/>
                  </a:lnTo>
                  <a:lnTo>
                    <a:pt x="1441" y="1892"/>
                  </a:lnTo>
                  <a:lnTo>
                    <a:pt x="1403" y="1892"/>
                  </a:lnTo>
                  <a:lnTo>
                    <a:pt x="1441" y="1871"/>
                  </a:lnTo>
                  <a:lnTo>
                    <a:pt x="1490" y="1871"/>
                  </a:lnTo>
                  <a:lnTo>
                    <a:pt x="1504" y="1855"/>
                  </a:lnTo>
                  <a:lnTo>
                    <a:pt x="1462" y="1864"/>
                  </a:lnTo>
                  <a:lnTo>
                    <a:pt x="1386" y="1855"/>
                  </a:lnTo>
                  <a:lnTo>
                    <a:pt x="1424" y="1814"/>
                  </a:lnTo>
                  <a:lnTo>
                    <a:pt x="1408" y="1822"/>
                  </a:lnTo>
                  <a:lnTo>
                    <a:pt x="1403" y="1831"/>
                  </a:lnTo>
                  <a:lnTo>
                    <a:pt x="1382" y="1838"/>
                  </a:lnTo>
                  <a:lnTo>
                    <a:pt x="1382" y="1810"/>
                  </a:lnTo>
                  <a:lnTo>
                    <a:pt x="1353" y="1798"/>
                  </a:lnTo>
                  <a:lnTo>
                    <a:pt x="1344" y="1765"/>
                  </a:lnTo>
                  <a:lnTo>
                    <a:pt x="1365" y="1765"/>
                  </a:lnTo>
                  <a:lnTo>
                    <a:pt x="1332" y="1765"/>
                  </a:lnTo>
                  <a:lnTo>
                    <a:pt x="1382" y="1831"/>
                  </a:lnTo>
                  <a:lnTo>
                    <a:pt x="1353" y="1848"/>
                  </a:lnTo>
                  <a:lnTo>
                    <a:pt x="1344" y="1848"/>
                  </a:lnTo>
                  <a:lnTo>
                    <a:pt x="1348" y="1855"/>
                  </a:lnTo>
                  <a:lnTo>
                    <a:pt x="1348" y="1864"/>
                  </a:lnTo>
                  <a:lnTo>
                    <a:pt x="1327" y="1855"/>
                  </a:lnTo>
                  <a:lnTo>
                    <a:pt x="1327" y="1864"/>
                  </a:lnTo>
                  <a:lnTo>
                    <a:pt x="1344" y="1871"/>
                  </a:lnTo>
                  <a:lnTo>
                    <a:pt x="1344" y="1888"/>
                  </a:lnTo>
                  <a:lnTo>
                    <a:pt x="1278" y="1904"/>
                  </a:lnTo>
                  <a:lnTo>
                    <a:pt x="1247" y="1876"/>
                  </a:lnTo>
                  <a:lnTo>
                    <a:pt x="1256" y="1892"/>
                  </a:lnTo>
                  <a:lnTo>
                    <a:pt x="1240" y="1892"/>
                  </a:lnTo>
                  <a:lnTo>
                    <a:pt x="1219" y="1864"/>
                  </a:lnTo>
                  <a:lnTo>
                    <a:pt x="1226" y="1864"/>
                  </a:lnTo>
                  <a:lnTo>
                    <a:pt x="1202" y="1855"/>
                  </a:lnTo>
                  <a:lnTo>
                    <a:pt x="1240" y="1831"/>
                  </a:lnTo>
                  <a:lnTo>
                    <a:pt x="1278" y="1822"/>
                  </a:lnTo>
                  <a:lnTo>
                    <a:pt x="1294" y="1810"/>
                  </a:lnTo>
                  <a:lnTo>
                    <a:pt x="1311" y="1781"/>
                  </a:lnTo>
                  <a:lnTo>
                    <a:pt x="1273" y="1822"/>
                  </a:lnTo>
                  <a:lnTo>
                    <a:pt x="1240" y="1822"/>
                  </a:lnTo>
                  <a:lnTo>
                    <a:pt x="1226" y="1814"/>
                  </a:lnTo>
                  <a:lnTo>
                    <a:pt x="1273" y="1781"/>
                  </a:lnTo>
                  <a:lnTo>
                    <a:pt x="1263" y="1765"/>
                  </a:lnTo>
                  <a:lnTo>
                    <a:pt x="1289" y="1765"/>
                  </a:lnTo>
                  <a:lnTo>
                    <a:pt x="1263" y="1760"/>
                  </a:lnTo>
                  <a:lnTo>
                    <a:pt x="1273" y="1760"/>
                  </a:lnTo>
                  <a:lnTo>
                    <a:pt x="1247" y="1765"/>
                  </a:lnTo>
                  <a:lnTo>
                    <a:pt x="1219" y="1748"/>
                  </a:lnTo>
                  <a:lnTo>
                    <a:pt x="1235" y="1744"/>
                  </a:lnTo>
                  <a:lnTo>
                    <a:pt x="1311" y="1748"/>
                  </a:lnTo>
                  <a:lnTo>
                    <a:pt x="1263" y="1744"/>
                  </a:lnTo>
                  <a:lnTo>
                    <a:pt x="1273" y="1727"/>
                  </a:lnTo>
                  <a:lnTo>
                    <a:pt x="1289" y="1727"/>
                  </a:lnTo>
                  <a:lnTo>
                    <a:pt x="1273" y="1727"/>
                  </a:lnTo>
                  <a:lnTo>
                    <a:pt x="1289" y="1711"/>
                  </a:lnTo>
                  <a:lnTo>
                    <a:pt x="1273" y="1711"/>
                  </a:lnTo>
                  <a:lnTo>
                    <a:pt x="1294" y="1703"/>
                  </a:lnTo>
                  <a:lnTo>
                    <a:pt x="1273" y="1670"/>
                  </a:lnTo>
                  <a:lnTo>
                    <a:pt x="1219" y="1666"/>
                  </a:lnTo>
                  <a:lnTo>
                    <a:pt x="1256" y="1649"/>
                  </a:lnTo>
                  <a:lnTo>
                    <a:pt x="1235" y="1637"/>
                  </a:lnTo>
                  <a:lnTo>
                    <a:pt x="1247" y="1626"/>
                  </a:lnTo>
                  <a:lnTo>
                    <a:pt x="1256" y="1626"/>
                  </a:lnTo>
                  <a:lnTo>
                    <a:pt x="1188" y="1583"/>
                  </a:lnTo>
                  <a:lnTo>
                    <a:pt x="1202" y="1583"/>
                  </a:lnTo>
                  <a:lnTo>
                    <a:pt x="1193" y="1583"/>
                  </a:lnTo>
                  <a:lnTo>
                    <a:pt x="1193" y="1571"/>
                  </a:lnTo>
                  <a:lnTo>
                    <a:pt x="1219" y="1576"/>
                  </a:lnTo>
                  <a:lnTo>
                    <a:pt x="1193" y="1559"/>
                  </a:lnTo>
                  <a:lnTo>
                    <a:pt x="1219" y="1555"/>
                  </a:lnTo>
                  <a:lnTo>
                    <a:pt x="1188" y="1538"/>
                  </a:lnTo>
                  <a:lnTo>
                    <a:pt x="1193" y="1538"/>
                  </a:lnTo>
                  <a:lnTo>
                    <a:pt x="1164" y="1526"/>
                  </a:lnTo>
                  <a:lnTo>
                    <a:pt x="1188" y="1498"/>
                  </a:lnTo>
                  <a:lnTo>
                    <a:pt x="1100" y="1522"/>
                  </a:lnTo>
                  <a:lnTo>
                    <a:pt x="1171" y="1498"/>
                  </a:lnTo>
                  <a:lnTo>
                    <a:pt x="1138" y="1489"/>
                  </a:lnTo>
                  <a:lnTo>
                    <a:pt x="1188" y="1481"/>
                  </a:lnTo>
                  <a:lnTo>
                    <a:pt x="1138" y="1472"/>
                  </a:lnTo>
                  <a:lnTo>
                    <a:pt x="1181" y="1472"/>
                  </a:lnTo>
                  <a:lnTo>
                    <a:pt x="1181" y="1460"/>
                  </a:lnTo>
                  <a:lnTo>
                    <a:pt x="1155" y="1460"/>
                  </a:lnTo>
                  <a:lnTo>
                    <a:pt x="1133" y="1444"/>
                  </a:lnTo>
                  <a:lnTo>
                    <a:pt x="1126" y="1444"/>
                  </a:lnTo>
                  <a:lnTo>
                    <a:pt x="1112" y="1427"/>
                  </a:lnTo>
                  <a:lnTo>
                    <a:pt x="1133" y="1427"/>
                  </a:lnTo>
                  <a:lnTo>
                    <a:pt x="1126" y="1411"/>
                  </a:lnTo>
                  <a:lnTo>
                    <a:pt x="1041" y="1387"/>
                  </a:lnTo>
                  <a:lnTo>
                    <a:pt x="1058" y="1370"/>
                  </a:lnTo>
                  <a:lnTo>
                    <a:pt x="1030" y="1354"/>
                  </a:lnTo>
                  <a:lnTo>
                    <a:pt x="1030" y="1337"/>
                  </a:lnTo>
                  <a:lnTo>
                    <a:pt x="1004" y="1349"/>
                  </a:lnTo>
                  <a:lnTo>
                    <a:pt x="1041" y="1333"/>
                  </a:lnTo>
                  <a:lnTo>
                    <a:pt x="1041" y="1321"/>
                  </a:lnTo>
                  <a:lnTo>
                    <a:pt x="1025" y="1316"/>
                  </a:lnTo>
                  <a:lnTo>
                    <a:pt x="1030" y="1300"/>
                  </a:lnTo>
                  <a:lnTo>
                    <a:pt x="1008" y="1300"/>
                  </a:lnTo>
                  <a:lnTo>
                    <a:pt x="1025" y="1295"/>
                  </a:lnTo>
                  <a:lnTo>
                    <a:pt x="975" y="1295"/>
                  </a:lnTo>
                  <a:lnTo>
                    <a:pt x="971" y="1283"/>
                  </a:lnTo>
                  <a:lnTo>
                    <a:pt x="971" y="1276"/>
                  </a:lnTo>
                  <a:lnTo>
                    <a:pt x="971" y="1266"/>
                  </a:lnTo>
                  <a:lnTo>
                    <a:pt x="933" y="1283"/>
                  </a:lnTo>
                  <a:lnTo>
                    <a:pt x="937" y="1259"/>
                  </a:lnTo>
                  <a:lnTo>
                    <a:pt x="878" y="1238"/>
                  </a:lnTo>
                  <a:lnTo>
                    <a:pt x="862" y="1250"/>
                  </a:lnTo>
                  <a:lnTo>
                    <a:pt x="857" y="1226"/>
                  </a:lnTo>
                  <a:lnTo>
                    <a:pt x="760" y="1222"/>
                  </a:lnTo>
                  <a:lnTo>
                    <a:pt x="756" y="1205"/>
                  </a:lnTo>
                  <a:lnTo>
                    <a:pt x="722" y="1210"/>
                  </a:lnTo>
                  <a:lnTo>
                    <a:pt x="718" y="1222"/>
                  </a:lnTo>
                  <a:lnTo>
                    <a:pt x="706" y="1205"/>
                  </a:lnTo>
                  <a:lnTo>
                    <a:pt x="680" y="1193"/>
                  </a:lnTo>
                  <a:lnTo>
                    <a:pt x="652" y="1222"/>
                  </a:lnTo>
                  <a:lnTo>
                    <a:pt x="630" y="1226"/>
                  </a:lnTo>
                  <a:lnTo>
                    <a:pt x="614" y="1222"/>
                  </a:lnTo>
                  <a:lnTo>
                    <a:pt x="626" y="1205"/>
                  </a:lnTo>
                  <a:lnTo>
                    <a:pt x="597" y="1193"/>
                  </a:lnTo>
                  <a:lnTo>
                    <a:pt x="609" y="1205"/>
                  </a:lnTo>
                  <a:lnTo>
                    <a:pt x="597" y="1222"/>
                  </a:lnTo>
                  <a:lnTo>
                    <a:pt x="588" y="1210"/>
                  </a:lnTo>
                  <a:lnTo>
                    <a:pt x="588" y="1226"/>
                  </a:lnTo>
                  <a:lnTo>
                    <a:pt x="593" y="1226"/>
                  </a:lnTo>
                  <a:lnTo>
                    <a:pt x="538" y="1226"/>
                  </a:lnTo>
                  <a:lnTo>
                    <a:pt x="538" y="1238"/>
                  </a:lnTo>
                  <a:lnTo>
                    <a:pt x="534" y="1243"/>
                  </a:lnTo>
                  <a:lnTo>
                    <a:pt x="500" y="1238"/>
                  </a:lnTo>
                  <a:lnTo>
                    <a:pt x="517" y="1222"/>
                  </a:lnTo>
                  <a:lnTo>
                    <a:pt x="508" y="1222"/>
                  </a:lnTo>
                  <a:lnTo>
                    <a:pt x="522" y="1210"/>
                  </a:lnTo>
                  <a:lnTo>
                    <a:pt x="508" y="1210"/>
                  </a:lnTo>
                  <a:lnTo>
                    <a:pt x="479" y="1205"/>
                  </a:lnTo>
                  <a:lnTo>
                    <a:pt x="463" y="1238"/>
                  </a:lnTo>
                  <a:lnTo>
                    <a:pt x="425" y="1210"/>
                  </a:lnTo>
                  <a:lnTo>
                    <a:pt x="399" y="1226"/>
                  </a:lnTo>
                  <a:lnTo>
                    <a:pt x="463" y="1259"/>
                  </a:lnTo>
                  <a:lnTo>
                    <a:pt x="311" y="1238"/>
                  </a:lnTo>
                  <a:lnTo>
                    <a:pt x="323" y="1226"/>
                  </a:lnTo>
                  <a:lnTo>
                    <a:pt x="290" y="1226"/>
                  </a:lnTo>
                  <a:lnTo>
                    <a:pt x="302" y="1222"/>
                  </a:lnTo>
                  <a:lnTo>
                    <a:pt x="236" y="1193"/>
                  </a:lnTo>
                  <a:lnTo>
                    <a:pt x="302" y="1165"/>
                  </a:lnTo>
                  <a:lnTo>
                    <a:pt x="356" y="1165"/>
                  </a:lnTo>
                  <a:lnTo>
                    <a:pt x="356" y="1148"/>
                  </a:lnTo>
                  <a:lnTo>
                    <a:pt x="269" y="1148"/>
                  </a:lnTo>
                  <a:lnTo>
                    <a:pt x="205" y="1132"/>
                  </a:lnTo>
                  <a:lnTo>
                    <a:pt x="248" y="1099"/>
                  </a:lnTo>
                  <a:lnTo>
                    <a:pt x="236" y="1099"/>
                  </a:lnTo>
                  <a:lnTo>
                    <a:pt x="177" y="1132"/>
                  </a:lnTo>
                  <a:lnTo>
                    <a:pt x="144" y="1115"/>
                  </a:lnTo>
                  <a:lnTo>
                    <a:pt x="160" y="1111"/>
                  </a:lnTo>
                  <a:lnTo>
                    <a:pt x="130" y="1111"/>
                  </a:lnTo>
                  <a:lnTo>
                    <a:pt x="113" y="1094"/>
                  </a:lnTo>
                  <a:lnTo>
                    <a:pt x="151" y="1077"/>
                  </a:lnTo>
                  <a:lnTo>
                    <a:pt x="144" y="1073"/>
                  </a:lnTo>
                  <a:lnTo>
                    <a:pt x="198" y="1061"/>
                  </a:lnTo>
                  <a:lnTo>
                    <a:pt x="463" y="1077"/>
                  </a:lnTo>
                  <a:lnTo>
                    <a:pt x="479" y="1073"/>
                  </a:lnTo>
                  <a:lnTo>
                    <a:pt x="432" y="1077"/>
                  </a:lnTo>
                  <a:lnTo>
                    <a:pt x="274" y="1061"/>
                  </a:lnTo>
                  <a:lnTo>
                    <a:pt x="378" y="1037"/>
                  </a:lnTo>
                  <a:lnTo>
                    <a:pt x="479" y="1061"/>
                  </a:lnTo>
                  <a:lnTo>
                    <a:pt x="446" y="1037"/>
                  </a:lnTo>
                  <a:lnTo>
                    <a:pt x="484" y="1021"/>
                  </a:lnTo>
                  <a:lnTo>
                    <a:pt x="470" y="1004"/>
                  </a:lnTo>
                  <a:lnTo>
                    <a:pt x="437" y="1000"/>
                  </a:lnTo>
                  <a:lnTo>
                    <a:pt x="415" y="1000"/>
                  </a:lnTo>
                  <a:lnTo>
                    <a:pt x="382" y="1021"/>
                  </a:lnTo>
                  <a:lnTo>
                    <a:pt x="328" y="1021"/>
                  </a:lnTo>
                  <a:lnTo>
                    <a:pt x="302" y="1000"/>
                  </a:lnTo>
                  <a:lnTo>
                    <a:pt x="290" y="1000"/>
                  </a:lnTo>
                  <a:lnTo>
                    <a:pt x="307" y="1021"/>
                  </a:lnTo>
                  <a:lnTo>
                    <a:pt x="257" y="1028"/>
                  </a:lnTo>
                  <a:lnTo>
                    <a:pt x="193" y="1016"/>
                  </a:lnTo>
                  <a:lnTo>
                    <a:pt x="248" y="1000"/>
                  </a:lnTo>
                  <a:lnTo>
                    <a:pt x="248" y="983"/>
                  </a:lnTo>
                  <a:lnTo>
                    <a:pt x="167" y="1000"/>
                  </a:lnTo>
                  <a:lnTo>
                    <a:pt x="215" y="971"/>
                  </a:lnTo>
                  <a:lnTo>
                    <a:pt x="122" y="983"/>
                  </a:lnTo>
                  <a:lnTo>
                    <a:pt x="113" y="983"/>
                  </a:lnTo>
                  <a:lnTo>
                    <a:pt x="130" y="966"/>
                  </a:lnTo>
                  <a:lnTo>
                    <a:pt x="75" y="966"/>
                  </a:lnTo>
                  <a:lnTo>
                    <a:pt x="42" y="945"/>
                  </a:lnTo>
                  <a:lnTo>
                    <a:pt x="54" y="945"/>
                  </a:lnTo>
                  <a:lnTo>
                    <a:pt x="0" y="917"/>
                  </a:lnTo>
                  <a:lnTo>
                    <a:pt x="37" y="905"/>
                  </a:lnTo>
                  <a:lnTo>
                    <a:pt x="16" y="893"/>
                  </a:lnTo>
                  <a:lnTo>
                    <a:pt x="30" y="877"/>
                  </a:lnTo>
                  <a:lnTo>
                    <a:pt x="30" y="872"/>
                  </a:lnTo>
                  <a:lnTo>
                    <a:pt x="30" y="860"/>
                  </a:lnTo>
                  <a:lnTo>
                    <a:pt x="97" y="851"/>
                  </a:lnTo>
                  <a:lnTo>
                    <a:pt x="151" y="851"/>
                  </a:lnTo>
                  <a:lnTo>
                    <a:pt x="160" y="839"/>
                  </a:lnTo>
                  <a:lnTo>
                    <a:pt x="269" y="806"/>
                  </a:lnTo>
                  <a:lnTo>
                    <a:pt x="302" y="815"/>
                  </a:lnTo>
                  <a:lnTo>
                    <a:pt x="269" y="799"/>
                  </a:lnTo>
                  <a:lnTo>
                    <a:pt x="328" y="778"/>
                  </a:lnTo>
                  <a:lnTo>
                    <a:pt x="371" y="782"/>
                  </a:lnTo>
                  <a:lnTo>
                    <a:pt x="382" y="766"/>
                  </a:lnTo>
                  <a:lnTo>
                    <a:pt x="491" y="778"/>
                  </a:lnTo>
                  <a:lnTo>
                    <a:pt x="576" y="704"/>
                  </a:lnTo>
                  <a:lnTo>
                    <a:pt x="555" y="655"/>
                  </a:lnTo>
                  <a:lnTo>
                    <a:pt x="559" y="638"/>
                  </a:lnTo>
                  <a:lnTo>
                    <a:pt x="555" y="629"/>
                  </a:lnTo>
                  <a:lnTo>
                    <a:pt x="647" y="600"/>
                  </a:lnTo>
                  <a:lnTo>
                    <a:pt x="626" y="600"/>
                  </a:lnTo>
                  <a:lnTo>
                    <a:pt x="614" y="584"/>
                  </a:lnTo>
                  <a:lnTo>
                    <a:pt x="609" y="600"/>
                  </a:lnTo>
                  <a:lnTo>
                    <a:pt x="571" y="617"/>
                  </a:lnTo>
                  <a:lnTo>
                    <a:pt x="415" y="617"/>
                  </a:lnTo>
                  <a:lnTo>
                    <a:pt x="408" y="600"/>
                  </a:lnTo>
                  <a:lnTo>
                    <a:pt x="382" y="596"/>
                  </a:lnTo>
                  <a:lnTo>
                    <a:pt x="394" y="572"/>
                  </a:lnTo>
                  <a:lnTo>
                    <a:pt x="437" y="555"/>
                  </a:lnTo>
                  <a:lnTo>
                    <a:pt x="437" y="539"/>
                  </a:lnTo>
                  <a:lnTo>
                    <a:pt x="522" y="518"/>
                  </a:lnTo>
                  <a:lnTo>
                    <a:pt x="517" y="506"/>
                  </a:lnTo>
                  <a:lnTo>
                    <a:pt x="555" y="501"/>
                  </a:lnTo>
                  <a:lnTo>
                    <a:pt x="559" y="489"/>
                  </a:lnTo>
                  <a:lnTo>
                    <a:pt x="559" y="485"/>
                  </a:lnTo>
                  <a:lnTo>
                    <a:pt x="588" y="473"/>
                  </a:lnTo>
                  <a:lnTo>
                    <a:pt x="576" y="461"/>
                  </a:lnTo>
                  <a:lnTo>
                    <a:pt x="652" y="433"/>
                  </a:lnTo>
                  <a:lnTo>
                    <a:pt x="668" y="444"/>
                  </a:lnTo>
                  <a:lnTo>
                    <a:pt x="680" y="466"/>
                  </a:lnTo>
                  <a:lnTo>
                    <a:pt x="718" y="501"/>
                  </a:lnTo>
                  <a:lnTo>
                    <a:pt x="722" y="501"/>
                  </a:lnTo>
                  <a:lnTo>
                    <a:pt x="685" y="466"/>
                  </a:lnTo>
                  <a:lnTo>
                    <a:pt x="680" y="433"/>
                  </a:lnTo>
                  <a:lnTo>
                    <a:pt x="718" y="416"/>
                  </a:lnTo>
                  <a:lnTo>
                    <a:pt x="803" y="449"/>
                  </a:lnTo>
                  <a:lnTo>
                    <a:pt x="841" y="444"/>
                  </a:lnTo>
                  <a:lnTo>
                    <a:pt x="848" y="433"/>
                  </a:lnTo>
                  <a:lnTo>
                    <a:pt x="824" y="395"/>
                  </a:lnTo>
                  <a:lnTo>
                    <a:pt x="862" y="374"/>
                  </a:lnTo>
                  <a:lnTo>
                    <a:pt x="810" y="333"/>
                  </a:lnTo>
                  <a:lnTo>
                    <a:pt x="857" y="305"/>
                  </a:lnTo>
                  <a:lnTo>
                    <a:pt x="911" y="300"/>
                  </a:lnTo>
                  <a:lnTo>
                    <a:pt x="992" y="305"/>
                  </a:lnTo>
                  <a:lnTo>
                    <a:pt x="1008" y="350"/>
                  </a:lnTo>
                  <a:lnTo>
                    <a:pt x="1079" y="355"/>
                  </a:lnTo>
                  <a:lnTo>
                    <a:pt x="1112" y="390"/>
                  </a:lnTo>
                  <a:lnTo>
                    <a:pt x="1155" y="407"/>
                  </a:lnTo>
                  <a:lnTo>
                    <a:pt x="1164" y="407"/>
                  </a:lnTo>
                  <a:lnTo>
                    <a:pt x="1046" y="350"/>
                  </a:lnTo>
                  <a:lnTo>
                    <a:pt x="1020" y="305"/>
                  </a:lnTo>
                  <a:lnTo>
                    <a:pt x="949" y="296"/>
                  </a:lnTo>
                  <a:lnTo>
                    <a:pt x="1155" y="244"/>
                  </a:lnTo>
                  <a:lnTo>
                    <a:pt x="1171" y="263"/>
                  </a:lnTo>
                  <a:lnTo>
                    <a:pt x="1202" y="244"/>
                  </a:lnTo>
                  <a:lnTo>
                    <a:pt x="1247" y="244"/>
                  </a:lnTo>
                  <a:lnTo>
                    <a:pt x="1240" y="251"/>
                  </a:lnTo>
                  <a:lnTo>
                    <a:pt x="1256" y="263"/>
                  </a:lnTo>
                  <a:lnTo>
                    <a:pt x="1247" y="239"/>
                  </a:lnTo>
                  <a:lnTo>
                    <a:pt x="1226" y="239"/>
                  </a:lnTo>
                  <a:lnTo>
                    <a:pt x="1301" y="222"/>
                  </a:lnTo>
                  <a:lnTo>
                    <a:pt x="1365" y="267"/>
                  </a:lnTo>
                  <a:lnTo>
                    <a:pt x="1370" y="305"/>
                  </a:lnTo>
                  <a:lnTo>
                    <a:pt x="1348" y="338"/>
                  </a:lnTo>
                  <a:lnTo>
                    <a:pt x="1348" y="362"/>
                  </a:lnTo>
                  <a:lnTo>
                    <a:pt x="1370" y="374"/>
                  </a:lnTo>
                  <a:lnTo>
                    <a:pt x="1365" y="350"/>
                  </a:lnTo>
                  <a:lnTo>
                    <a:pt x="1408" y="317"/>
                  </a:lnTo>
                  <a:lnTo>
                    <a:pt x="1403" y="284"/>
                  </a:lnTo>
                  <a:lnTo>
                    <a:pt x="1516" y="305"/>
                  </a:lnTo>
                  <a:lnTo>
                    <a:pt x="1618" y="355"/>
                  </a:lnTo>
                  <a:lnTo>
                    <a:pt x="1641" y="350"/>
                  </a:lnTo>
                  <a:lnTo>
                    <a:pt x="1542" y="300"/>
                  </a:lnTo>
                  <a:lnTo>
                    <a:pt x="1625" y="305"/>
                  </a:lnTo>
                  <a:lnTo>
                    <a:pt x="1656" y="300"/>
                  </a:lnTo>
                  <a:lnTo>
                    <a:pt x="1566" y="251"/>
                  </a:lnTo>
                  <a:lnTo>
                    <a:pt x="1533" y="194"/>
                  </a:lnTo>
                  <a:lnTo>
                    <a:pt x="1672" y="206"/>
                  </a:lnTo>
                  <a:lnTo>
                    <a:pt x="1785" y="263"/>
                  </a:lnTo>
                  <a:lnTo>
                    <a:pt x="1873" y="279"/>
                  </a:lnTo>
                  <a:lnTo>
                    <a:pt x="1894" y="284"/>
                  </a:lnTo>
                  <a:lnTo>
                    <a:pt x="1889" y="300"/>
                  </a:lnTo>
                  <a:lnTo>
                    <a:pt x="1991" y="333"/>
                  </a:lnTo>
                  <a:lnTo>
                    <a:pt x="2019" y="317"/>
                  </a:lnTo>
                  <a:lnTo>
                    <a:pt x="1982" y="300"/>
                  </a:lnTo>
                  <a:lnTo>
                    <a:pt x="2003" y="296"/>
                  </a:lnTo>
                  <a:lnTo>
                    <a:pt x="1974" y="296"/>
                  </a:lnTo>
                  <a:lnTo>
                    <a:pt x="1996" y="279"/>
                  </a:lnTo>
                  <a:lnTo>
                    <a:pt x="1982" y="251"/>
                  </a:lnTo>
                  <a:lnTo>
                    <a:pt x="1991" y="239"/>
                  </a:lnTo>
                  <a:lnTo>
                    <a:pt x="2154" y="251"/>
                  </a:lnTo>
                  <a:lnTo>
                    <a:pt x="2050" y="227"/>
                  </a:lnTo>
                  <a:lnTo>
                    <a:pt x="2045" y="222"/>
                  </a:lnTo>
                  <a:lnTo>
                    <a:pt x="2050" y="222"/>
                  </a:lnTo>
                  <a:lnTo>
                    <a:pt x="1911" y="152"/>
                  </a:lnTo>
                  <a:lnTo>
                    <a:pt x="2163" y="152"/>
                  </a:lnTo>
                  <a:lnTo>
                    <a:pt x="2175" y="156"/>
                  </a:lnTo>
                  <a:lnTo>
                    <a:pt x="2163" y="168"/>
                  </a:lnTo>
                  <a:lnTo>
                    <a:pt x="2192" y="173"/>
                  </a:lnTo>
                  <a:lnTo>
                    <a:pt x="2192" y="194"/>
                  </a:lnTo>
                  <a:lnTo>
                    <a:pt x="2196" y="206"/>
                  </a:lnTo>
                  <a:lnTo>
                    <a:pt x="2208" y="194"/>
                  </a:lnTo>
                  <a:lnTo>
                    <a:pt x="2208" y="173"/>
                  </a:lnTo>
                  <a:lnTo>
                    <a:pt x="2180" y="156"/>
                  </a:lnTo>
                  <a:lnTo>
                    <a:pt x="2208" y="156"/>
                  </a:lnTo>
                  <a:lnTo>
                    <a:pt x="2298" y="189"/>
                  </a:lnTo>
                  <a:lnTo>
                    <a:pt x="2322" y="222"/>
                  </a:lnTo>
                  <a:lnTo>
                    <a:pt x="2336" y="222"/>
                  </a:lnTo>
                  <a:lnTo>
                    <a:pt x="2315" y="189"/>
                  </a:lnTo>
                  <a:lnTo>
                    <a:pt x="2326" y="178"/>
                  </a:lnTo>
                  <a:lnTo>
                    <a:pt x="2322" y="173"/>
                  </a:lnTo>
                  <a:lnTo>
                    <a:pt x="2305" y="168"/>
                  </a:lnTo>
                  <a:lnTo>
                    <a:pt x="2159" y="135"/>
                  </a:lnTo>
                  <a:lnTo>
                    <a:pt x="1958" y="123"/>
                  </a:lnTo>
                  <a:lnTo>
                    <a:pt x="1974" y="135"/>
                  </a:lnTo>
                  <a:lnTo>
                    <a:pt x="1894" y="140"/>
                  </a:lnTo>
                  <a:lnTo>
                    <a:pt x="1835" y="116"/>
                  </a:lnTo>
                  <a:lnTo>
                    <a:pt x="1894" y="123"/>
                  </a:lnTo>
                  <a:lnTo>
                    <a:pt x="1840" y="111"/>
                  </a:lnTo>
                  <a:lnTo>
                    <a:pt x="1894" y="95"/>
                  </a:lnTo>
                  <a:lnTo>
                    <a:pt x="1958" y="123"/>
                  </a:lnTo>
                  <a:lnTo>
                    <a:pt x="2083" y="123"/>
                  </a:lnTo>
                  <a:lnTo>
                    <a:pt x="1974" y="111"/>
                  </a:lnTo>
                  <a:lnTo>
                    <a:pt x="1927" y="83"/>
                  </a:lnTo>
                  <a:lnTo>
                    <a:pt x="1937" y="83"/>
                  </a:lnTo>
                  <a:lnTo>
                    <a:pt x="2109" y="95"/>
                  </a:lnTo>
                  <a:lnTo>
                    <a:pt x="2033" y="67"/>
                  </a:lnTo>
                  <a:lnTo>
                    <a:pt x="2109" y="67"/>
                  </a:lnTo>
                  <a:lnTo>
                    <a:pt x="2083" y="67"/>
                  </a:lnTo>
                  <a:lnTo>
                    <a:pt x="2126" y="62"/>
                  </a:lnTo>
                  <a:lnTo>
                    <a:pt x="2196" y="78"/>
                  </a:lnTo>
                  <a:lnTo>
                    <a:pt x="2180" y="95"/>
                  </a:lnTo>
                  <a:lnTo>
                    <a:pt x="2208" y="83"/>
                  </a:lnTo>
                  <a:lnTo>
                    <a:pt x="2272" y="116"/>
                  </a:lnTo>
                  <a:lnTo>
                    <a:pt x="2352" y="116"/>
                  </a:lnTo>
                  <a:lnTo>
                    <a:pt x="2411" y="156"/>
                  </a:lnTo>
                  <a:lnTo>
                    <a:pt x="2423" y="140"/>
                  </a:lnTo>
                  <a:lnTo>
                    <a:pt x="2374" y="116"/>
                  </a:lnTo>
                  <a:lnTo>
                    <a:pt x="2504" y="111"/>
                  </a:lnTo>
                  <a:lnTo>
                    <a:pt x="2397" y="100"/>
                  </a:lnTo>
                  <a:lnTo>
                    <a:pt x="2537" y="83"/>
                  </a:lnTo>
                  <a:lnTo>
                    <a:pt x="2407" y="67"/>
                  </a:lnTo>
                  <a:lnTo>
                    <a:pt x="2397" y="62"/>
                  </a:lnTo>
                  <a:lnTo>
                    <a:pt x="2397" y="29"/>
                  </a:lnTo>
                  <a:lnTo>
                    <a:pt x="2466" y="45"/>
                  </a:lnTo>
                  <a:lnTo>
                    <a:pt x="2478" y="45"/>
                  </a:lnTo>
                  <a:lnTo>
                    <a:pt x="2449" y="29"/>
                  </a:lnTo>
                  <a:lnTo>
                    <a:pt x="2482" y="24"/>
                  </a:lnTo>
                  <a:lnTo>
                    <a:pt x="2570" y="45"/>
                  </a:lnTo>
                  <a:lnTo>
                    <a:pt x="2537" y="24"/>
                  </a:lnTo>
                  <a:lnTo>
                    <a:pt x="2714" y="0"/>
                  </a:lnTo>
                  <a:lnTo>
                    <a:pt x="2747" y="29"/>
                  </a:lnTo>
                  <a:lnTo>
                    <a:pt x="2752" y="24"/>
                  </a:lnTo>
                  <a:lnTo>
                    <a:pt x="2730" y="5"/>
                  </a:lnTo>
                  <a:lnTo>
                    <a:pt x="2990" y="0"/>
                  </a:lnTo>
                  <a:lnTo>
                    <a:pt x="3125" y="24"/>
                  </a:lnTo>
                  <a:lnTo>
                    <a:pt x="3092" y="24"/>
                  </a:lnTo>
                  <a:lnTo>
                    <a:pt x="3115" y="41"/>
                  </a:lnTo>
                  <a:lnTo>
                    <a:pt x="3200" y="24"/>
                  </a:lnTo>
                  <a:lnTo>
                    <a:pt x="3326" y="57"/>
                  </a:lnTo>
                  <a:lnTo>
                    <a:pt x="3233" y="83"/>
                  </a:lnTo>
                  <a:lnTo>
                    <a:pt x="3016" y="78"/>
                  </a:lnTo>
                  <a:lnTo>
                    <a:pt x="2882" y="100"/>
                  </a:lnTo>
                  <a:lnTo>
                    <a:pt x="2775" y="83"/>
                  </a:lnTo>
                  <a:lnTo>
                    <a:pt x="2844" y="100"/>
                  </a:lnTo>
                  <a:lnTo>
                    <a:pt x="2624" y="123"/>
                  </a:lnTo>
                  <a:lnTo>
                    <a:pt x="2645" y="135"/>
                  </a:lnTo>
                  <a:lnTo>
                    <a:pt x="2629" y="152"/>
                  </a:lnTo>
                  <a:lnTo>
                    <a:pt x="2638" y="156"/>
                  </a:lnTo>
                  <a:lnTo>
                    <a:pt x="2645" y="140"/>
                  </a:lnTo>
                  <a:lnTo>
                    <a:pt x="2676" y="123"/>
                  </a:lnTo>
                  <a:lnTo>
                    <a:pt x="2747" y="123"/>
                  </a:lnTo>
                  <a:lnTo>
                    <a:pt x="2752" y="140"/>
                  </a:lnTo>
                  <a:lnTo>
                    <a:pt x="2737" y="152"/>
                  </a:lnTo>
                  <a:lnTo>
                    <a:pt x="2747" y="152"/>
                  </a:lnTo>
                  <a:lnTo>
                    <a:pt x="2768" y="116"/>
                  </a:lnTo>
                  <a:lnTo>
                    <a:pt x="2877" y="111"/>
                  </a:lnTo>
                  <a:lnTo>
                    <a:pt x="2898" y="123"/>
                  </a:lnTo>
                  <a:lnTo>
                    <a:pt x="3016" y="83"/>
                  </a:lnTo>
                  <a:lnTo>
                    <a:pt x="3146" y="100"/>
                  </a:lnTo>
                  <a:lnTo>
                    <a:pt x="3352" y="78"/>
                  </a:lnTo>
                  <a:lnTo>
                    <a:pt x="3380" y="95"/>
                  </a:lnTo>
                  <a:lnTo>
                    <a:pt x="3368" y="95"/>
                  </a:lnTo>
                  <a:lnTo>
                    <a:pt x="3385" y="111"/>
                  </a:lnTo>
                  <a:lnTo>
                    <a:pt x="3352" y="140"/>
                  </a:lnTo>
                  <a:lnTo>
                    <a:pt x="3309" y="152"/>
                  </a:lnTo>
                  <a:lnTo>
                    <a:pt x="3439" y="123"/>
                  </a:lnTo>
                  <a:lnTo>
                    <a:pt x="3448" y="135"/>
                  </a:lnTo>
                  <a:lnTo>
                    <a:pt x="3439" y="135"/>
                  </a:lnTo>
                  <a:lnTo>
                    <a:pt x="3439" y="156"/>
                  </a:lnTo>
                  <a:lnTo>
                    <a:pt x="3477" y="135"/>
                  </a:lnTo>
                  <a:lnTo>
                    <a:pt x="3628" y="178"/>
                  </a:lnTo>
                  <a:lnTo>
                    <a:pt x="3545" y="227"/>
                  </a:lnTo>
                  <a:lnTo>
                    <a:pt x="3363" y="263"/>
                  </a:lnTo>
                  <a:lnTo>
                    <a:pt x="3028" y="267"/>
                  </a:lnTo>
                  <a:lnTo>
                    <a:pt x="2910" y="251"/>
                  </a:lnTo>
                  <a:lnTo>
                    <a:pt x="3023" y="267"/>
                  </a:lnTo>
                  <a:lnTo>
                    <a:pt x="2801" y="322"/>
                  </a:lnTo>
                  <a:lnTo>
                    <a:pt x="2806" y="350"/>
                  </a:lnTo>
                  <a:lnTo>
                    <a:pt x="2898" y="317"/>
                  </a:lnTo>
                  <a:lnTo>
                    <a:pt x="3040" y="300"/>
                  </a:lnTo>
                  <a:lnTo>
                    <a:pt x="3028" y="305"/>
                  </a:lnTo>
                  <a:lnTo>
                    <a:pt x="3044" y="305"/>
                  </a:lnTo>
                  <a:lnTo>
                    <a:pt x="3082" y="296"/>
                  </a:lnTo>
                  <a:lnTo>
                    <a:pt x="3352" y="296"/>
                  </a:lnTo>
                  <a:lnTo>
                    <a:pt x="3347" y="317"/>
                  </a:lnTo>
                  <a:lnTo>
                    <a:pt x="3342" y="333"/>
                  </a:lnTo>
                  <a:lnTo>
                    <a:pt x="3184" y="378"/>
                  </a:lnTo>
                  <a:lnTo>
                    <a:pt x="3217" y="390"/>
                  </a:lnTo>
                  <a:lnTo>
                    <a:pt x="3184" y="395"/>
                  </a:lnTo>
                  <a:lnTo>
                    <a:pt x="3205" y="395"/>
                  </a:lnTo>
                  <a:lnTo>
                    <a:pt x="3368" y="338"/>
                  </a:lnTo>
                  <a:lnTo>
                    <a:pt x="3422" y="338"/>
                  </a:lnTo>
                  <a:lnTo>
                    <a:pt x="3432" y="333"/>
                  </a:lnTo>
                  <a:lnTo>
                    <a:pt x="3432" y="300"/>
                  </a:lnTo>
                  <a:lnTo>
                    <a:pt x="3439" y="284"/>
                  </a:lnTo>
                  <a:lnTo>
                    <a:pt x="3557" y="279"/>
                  </a:lnTo>
                  <a:lnTo>
                    <a:pt x="3578" y="300"/>
                  </a:lnTo>
                  <a:lnTo>
                    <a:pt x="3578" y="333"/>
                  </a:lnTo>
                  <a:lnTo>
                    <a:pt x="3562" y="378"/>
                  </a:lnTo>
                  <a:lnTo>
                    <a:pt x="3541" y="407"/>
                  </a:lnTo>
                  <a:lnTo>
                    <a:pt x="3507" y="411"/>
                  </a:lnTo>
                  <a:lnTo>
                    <a:pt x="3524" y="411"/>
                  </a:lnTo>
                  <a:lnTo>
                    <a:pt x="3448" y="473"/>
                  </a:lnTo>
                  <a:lnTo>
                    <a:pt x="3456" y="489"/>
                  </a:lnTo>
                  <a:lnTo>
                    <a:pt x="3439" y="506"/>
                  </a:lnTo>
                  <a:lnTo>
                    <a:pt x="3406" y="518"/>
                  </a:lnTo>
                  <a:lnTo>
                    <a:pt x="3432" y="518"/>
                  </a:lnTo>
                  <a:lnTo>
                    <a:pt x="3401" y="539"/>
                  </a:lnTo>
                  <a:lnTo>
                    <a:pt x="3465" y="506"/>
                  </a:lnTo>
                  <a:lnTo>
                    <a:pt x="3470" y="489"/>
                  </a:lnTo>
                  <a:lnTo>
                    <a:pt x="3470" y="473"/>
                  </a:lnTo>
                  <a:lnTo>
                    <a:pt x="3524" y="461"/>
                  </a:lnTo>
                  <a:lnTo>
                    <a:pt x="3666" y="362"/>
                  </a:lnTo>
                  <a:lnTo>
                    <a:pt x="3725" y="338"/>
                  </a:lnTo>
                  <a:lnTo>
                    <a:pt x="3704" y="355"/>
                  </a:lnTo>
                  <a:lnTo>
                    <a:pt x="3692" y="378"/>
                  </a:lnTo>
                  <a:lnTo>
                    <a:pt x="3772" y="362"/>
                  </a:lnTo>
                  <a:lnTo>
                    <a:pt x="3796" y="378"/>
                  </a:lnTo>
                  <a:lnTo>
                    <a:pt x="3810" y="374"/>
                  </a:lnTo>
                  <a:lnTo>
                    <a:pt x="3855" y="378"/>
                  </a:lnTo>
                  <a:lnTo>
                    <a:pt x="3855" y="362"/>
                  </a:lnTo>
                  <a:lnTo>
                    <a:pt x="3885" y="355"/>
                  </a:lnTo>
                  <a:lnTo>
                    <a:pt x="3864" y="350"/>
                  </a:lnTo>
                  <a:lnTo>
                    <a:pt x="3871" y="333"/>
                  </a:lnTo>
                  <a:lnTo>
                    <a:pt x="3902" y="338"/>
                  </a:lnTo>
                  <a:lnTo>
                    <a:pt x="3897" y="333"/>
                  </a:lnTo>
                  <a:lnTo>
                    <a:pt x="3897" y="317"/>
                  </a:lnTo>
                  <a:lnTo>
                    <a:pt x="3935" y="317"/>
                  </a:lnTo>
                  <a:lnTo>
                    <a:pt x="3952" y="300"/>
                  </a:lnTo>
                  <a:lnTo>
                    <a:pt x="4086" y="300"/>
                  </a:lnTo>
                  <a:lnTo>
                    <a:pt x="4195" y="322"/>
                  </a:lnTo>
                  <a:lnTo>
                    <a:pt x="4263" y="355"/>
                  </a:lnTo>
                  <a:lnTo>
                    <a:pt x="4136" y="433"/>
                  </a:lnTo>
                  <a:lnTo>
                    <a:pt x="4070" y="433"/>
                  </a:lnTo>
                  <a:lnTo>
                    <a:pt x="4060" y="444"/>
                  </a:lnTo>
                  <a:lnTo>
                    <a:pt x="4098" y="466"/>
                  </a:lnTo>
                  <a:lnTo>
                    <a:pt x="4011" y="489"/>
                  </a:lnTo>
                  <a:lnTo>
                    <a:pt x="3994" y="506"/>
                  </a:lnTo>
                  <a:lnTo>
                    <a:pt x="3864" y="489"/>
                  </a:lnTo>
                  <a:lnTo>
                    <a:pt x="3855" y="506"/>
                  </a:lnTo>
                  <a:lnTo>
                    <a:pt x="3817" y="522"/>
                  </a:lnTo>
                  <a:lnTo>
                    <a:pt x="3708" y="518"/>
                  </a:lnTo>
                  <a:lnTo>
                    <a:pt x="3682" y="527"/>
                  </a:lnTo>
                  <a:lnTo>
                    <a:pt x="3633" y="527"/>
                  </a:lnTo>
                  <a:lnTo>
                    <a:pt x="3666" y="544"/>
                  </a:lnTo>
                  <a:lnTo>
                    <a:pt x="3720" y="522"/>
                  </a:lnTo>
                  <a:lnTo>
                    <a:pt x="3826" y="539"/>
                  </a:lnTo>
                  <a:lnTo>
                    <a:pt x="3897" y="522"/>
                  </a:lnTo>
                  <a:lnTo>
                    <a:pt x="3994" y="544"/>
                  </a:lnTo>
                  <a:lnTo>
                    <a:pt x="3961" y="560"/>
                  </a:lnTo>
                  <a:lnTo>
                    <a:pt x="3952" y="560"/>
                  </a:lnTo>
                  <a:lnTo>
                    <a:pt x="3956" y="572"/>
                  </a:lnTo>
                  <a:lnTo>
                    <a:pt x="3918" y="584"/>
                  </a:lnTo>
                  <a:lnTo>
                    <a:pt x="3741" y="577"/>
                  </a:lnTo>
                  <a:lnTo>
                    <a:pt x="3682" y="612"/>
                  </a:lnTo>
                  <a:lnTo>
                    <a:pt x="3692" y="612"/>
                  </a:lnTo>
                  <a:lnTo>
                    <a:pt x="3682" y="629"/>
                  </a:lnTo>
                  <a:lnTo>
                    <a:pt x="3687" y="629"/>
                  </a:lnTo>
                  <a:lnTo>
                    <a:pt x="3666" y="650"/>
                  </a:lnTo>
                  <a:lnTo>
                    <a:pt x="3687" y="650"/>
                  </a:lnTo>
                  <a:lnTo>
                    <a:pt x="3692" y="666"/>
                  </a:lnTo>
                  <a:lnTo>
                    <a:pt x="3725" y="650"/>
                  </a:lnTo>
                  <a:lnTo>
                    <a:pt x="3704" y="655"/>
                  </a:lnTo>
                  <a:lnTo>
                    <a:pt x="3704" y="650"/>
                  </a:lnTo>
                  <a:lnTo>
                    <a:pt x="3720" y="633"/>
                  </a:lnTo>
                  <a:lnTo>
                    <a:pt x="3772" y="612"/>
                  </a:lnTo>
                  <a:lnTo>
                    <a:pt x="3864" y="600"/>
                  </a:lnTo>
                  <a:lnTo>
                    <a:pt x="3897" y="617"/>
                  </a:lnTo>
                  <a:lnTo>
                    <a:pt x="3843" y="666"/>
                  </a:lnTo>
                  <a:lnTo>
                    <a:pt x="3772" y="655"/>
                  </a:lnTo>
                  <a:lnTo>
                    <a:pt x="3746" y="683"/>
                  </a:lnTo>
                  <a:lnTo>
                    <a:pt x="3746" y="695"/>
                  </a:lnTo>
                  <a:lnTo>
                    <a:pt x="3734" y="711"/>
                  </a:lnTo>
                  <a:lnTo>
                    <a:pt x="3741" y="728"/>
                  </a:lnTo>
                  <a:lnTo>
                    <a:pt x="3725" y="761"/>
                  </a:lnTo>
                  <a:lnTo>
                    <a:pt x="3746" y="740"/>
                  </a:lnTo>
                  <a:lnTo>
                    <a:pt x="3779" y="740"/>
                  </a:lnTo>
                  <a:lnTo>
                    <a:pt x="3772" y="749"/>
                  </a:lnTo>
                  <a:lnTo>
                    <a:pt x="3789" y="761"/>
                  </a:lnTo>
                  <a:lnTo>
                    <a:pt x="3763" y="761"/>
                  </a:lnTo>
                  <a:lnTo>
                    <a:pt x="3772" y="744"/>
                  </a:lnTo>
                  <a:lnTo>
                    <a:pt x="3763" y="744"/>
                  </a:lnTo>
                  <a:lnTo>
                    <a:pt x="3746" y="749"/>
                  </a:lnTo>
                  <a:lnTo>
                    <a:pt x="3746" y="766"/>
                  </a:lnTo>
                  <a:lnTo>
                    <a:pt x="3708" y="778"/>
                  </a:lnTo>
                  <a:lnTo>
                    <a:pt x="3725" y="794"/>
                  </a:lnTo>
                  <a:lnTo>
                    <a:pt x="3720" y="806"/>
                  </a:lnTo>
                  <a:lnTo>
                    <a:pt x="3633" y="815"/>
                  </a:lnTo>
                  <a:lnTo>
                    <a:pt x="3654" y="839"/>
                  </a:lnTo>
                  <a:lnTo>
                    <a:pt x="3616" y="851"/>
                  </a:lnTo>
                  <a:lnTo>
                    <a:pt x="3654" y="851"/>
                  </a:lnTo>
                  <a:lnTo>
                    <a:pt x="3628" y="905"/>
                  </a:lnTo>
                  <a:lnTo>
                    <a:pt x="3628" y="910"/>
                  </a:lnTo>
                  <a:lnTo>
                    <a:pt x="3595" y="926"/>
                  </a:lnTo>
                  <a:lnTo>
                    <a:pt x="3616" y="926"/>
                  </a:lnTo>
                  <a:lnTo>
                    <a:pt x="3595" y="945"/>
                  </a:lnTo>
                  <a:lnTo>
                    <a:pt x="3583" y="962"/>
                  </a:lnTo>
                  <a:lnTo>
                    <a:pt x="3611" y="950"/>
                  </a:lnTo>
                  <a:lnTo>
                    <a:pt x="3578" y="1000"/>
                  </a:lnTo>
                  <a:lnTo>
                    <a:pt x="3616" y="1000"/>
                  </a:lnTo>
                  <a:lnTo>
                    <a:pt x="3595" y="1016"/>
                  </a:lnTo>
                  <a:lnTo>
                    <a:pt x="3611" y="1016"/>
                  </a:lnTo>
                  <a:lnTo>
                    <a:pt x="3616" y="1004"/>
                  </a:lnTo>
                  <a:lnTo>
                    <a:pt x="3628" y="971"/>
                  </a:lnTo>
                  <a:lnTo>
                    <a:pt x="3654" y="945"/>
                  </a:lnTo>
                  <a:lnTo>
                    <a:pt x="3692" y="966"/>
                  </a:lnTo>
                  <a:lnTo>
                    <a:pt x="3772" y="983"/>
                  </a:lnTo>
                  <a:lnTo>
                    <a:pt x="3796" y="1004"/>
                  </a:lnTo>
                  <a:lnTo>
                    <a:pt x="3763" y="1016"/>
                  </a:lnTo>
                  <a:lnTo>
                    <a:pt x="3704" y="988"/>
                  </a:lnTo>
                  <a:lnTo>
                    <a:pt x="3654" y="1000"/>
                  </a:lnTo>
                  <a:lnTo>
                    <a:pt x="3704" y="1016"/>
                  </a:lnTo>
                  <a:lnTo>
                    <a:pt x="3670" y="1016"/>
                  </a:lnTo>
                  <a:lnTo>
                    <a:pt x="3692" y="1021"/>
                  </a:lnTo>
                  <a:lnTo>
                    <a:pt x="3649" y="1016"/>
                  </a:lnTo>
                  <a:lnTo>
                    <a:pt x="3720" y="1028"/>
                  </a:lnTo>
                  <a:lnTo>
                    <a:pt x="3666" y="1037"/>
                  </a:lnTo>
                  <a:lnTo>
                    <a:pt x="3741" y="1037"/>
                  </a:lnTo>
                  <a:lnTo>
                    <a:pt x="3763" y="1054"/>
                  </a:lnTo>
                  <a:lnTo>
                    <a:pt x="3758" y="1061"/>
                  </a:lnTo>
                  <a:lnTo>
                    <a:pt x="3789" y="1073"/>
                  </a:lnTo>
                  <a:lnTo>
                    <a:pt x="3789" y="1054"/>
                  </a:lnTo>
                  <a:lnTo>
                    <a:pt x="3796" y="1044"/>
                  </a:lnTo>
                  <a:lnTo>
                    <a:pt x="3833" y="1044"/>
                  </a:lnTo>
                  <a:lnTo>
                    <a:pt x="3843" y="1061"/>
                  </a:lnTo>
                  <a:lnTo>
                    <a:pt x="3848" y="1111"/>
                  </a:lnTo>
                  <a:lnTo>
                    <a:pt x="3843" y="1132"/>
                  </a:lnTo>
                  <a:lnTo>
                    <a:pt x="3826" y="1132"/>
                  </a:lnTo>
                  <a:lnTo>
                    <a:pt x="3826" y="1139"/>
                  </a:lnTo>
                  <a:lnTo>
                    <a:pt x="3796" y="1127"/>
                  </a:lnTo>
                  <a:lnTo>
                    <a:pt x="3670" y="1099"/>
                  </a:lnTo>
                  <a:lnTo>
                    <a:pt x="3649" y="1111"/>
                  </a:lnTo>
                  <a:lnTo>
                    <a:pt x="3682" y="1111"/>
                  </a:lnTo>
                  <a:lnTo>
                    <a:pt x="3595" y="1115"/>
                  </a:lnTo>
                  <a:lnTo>
                    <a:pt x="3654" y="1127"/>
                  </a:lnTo>
                  <a:lnTo>
                    <a:pt x="3628" y="1132"/>
                  </a:lnTo>
                  <a:lnTo>
                    <a:pt x="3611" y="1155"/>
                  </a:lnTo>
                  <a:lnTo>
                    <a:pt x="3562" y="1127"/>
                  </a:lnTo>
                  <a:lnTo>
                    <a:pt x="3545" y="1127"/>
                  </a:lnTo>
                  <a:lnTo>
                    <a:pt x="3545" y="1139"/>
                  </a:lnTo>
                  <a:lnTo>
                    <a:pt x="3524" y="1148"/>
                  </a:lnTo>
                  <a:lnTo>
                    <a:pt x="3557" y="1172"/>
                  </a:lnTo>
                  <a:lnTo>
                    <a:pt x="3557" y="1165"/>
                  </a:lnTo>
                  <a:lnTo>
                    <a:pt x="3562" y="1155"/>
                  </a:lnTo>
                  <a:lnTo>
                    <a:pt x="3595" y="1165"/>
                  </a:lnTo>
                  <a:lnTo>
                    <a:pt x="3600" y="1172"/>
                  </a:lnTo>
                  <a:lnTo>
                    <a:pt x="3578" y="1184"/>
                  </a:lnTo>
                  <a:lnTo>
                    <a:pt x="3600" y="1184"/>
                  </a:lnTo>
                  <a:lnTo>
                    <a:pt x="3541" y="1184"/>
                  </a:lnTo>
                  <a:lnTo>
                    <a:pt x="3611" y="1189"/>
                  </a:lnTo>
                  <a:lnTo>
                    <a:pt x="3600" y="1210"/>
                  </a:lnTo>
                  <a:lnTo>
                    <a:pt x="3637" y="1205"/>
                  </a:lnTo>
                  <a:lnTo>
                    <a:pt x="3682" y="1226"/>
                  </a:lnTo>
                  <a:lnTo>
                    <a:pt x="3687" y="1226"/>
                  </a:lnTo>
                  <a:lnTo>
                    <a:pt x="3637" y="1205"/>
                  </a:lnTo>
                  <a:lnTo>
                    <a:pt x="3734" y="1222"/>
                  </a:lnTo>
                  <a:lnTo>
                    <a:pt x="3741" y="1226"/>
                  </a:lnTo>
                  <a:lnTo>
                    <a:pt x="3741" y="1243"/>
                  </a:lnTo>
                  <a:lnTo>
                    <a:pt x="3692" y="1250"/>
                  </a:lnTo>
                  <a:lnTo>
                    <a:pt x="3578" y="1250"/>
                  </a:lnTo>
                  <a:lnTo>
                    <a:pt x="3734" y="1259"/>
                  </a:lnTo>
                  <a:lnTo>
                    <a:pt x="3746" y="1283"/>
                  </a:lnTo>
                  <a:lnTo>
                    <a:pt x="3746" y="1300"/>
                  </a:lnTo>
                  <a:lnTo>
                    <a:pt x="3763" y="1316"/>
                  </a:lnTo>
                  <a:lnTo>
                    <a:pt x="3763" y="1337"/>
                  </a:lnTo>
                  <a:lnTo>
                    <a:pt x="3758" y="1370"/>
                  </a:lnTo>
                  <a:lnTo>
                    <a:pt x="3725" y="1377"/>
                  </a:lnTo>
                  <a:lnTo>
                    <a:pt x="3720" y="1370"/>
                  </a:lnTo>
                  <a:lnTo>
                    <a:pt x="3725" y="1354"/>
                  </a:lnTo>
                  <a:lnTo>
                    <a:pt x="3708" y="1349"/>
                  </a:lnTo>
                  <a:lnTo>
                    <a:pt x="3670" y="1354"/>
                  </a:lnTo>
                  <a:lnTo>
                    <a:pt x="3616" y="1316"/>
                  </a:lnTo>
                  <a:lnTo>
                    <a:pt x="3562" y="1300"/>
                  </a:lnTo>
                  <a:lnTo>
                    <a:pt x="3616" y="1333"/>
                  </a:lnTo>
                  <a:lnTo>
                    <a:pt x="3541" y="1316"/>
                  </a:lnTo>
                  <a:lnTo>
                    <a:pt x="3616" y="1333"/>
                  </a:lnTo>
                  <a:lnTo>
                    <a:pt x="3682" y="1377"/>
                  </a:lnTo>
                  <a:lnTo>
                    <a:pt x="3633" y="1377"/>
                  </a:lnTo>
                  <a:lnTo>
                    <a:pt x="3595" y="1406"/>
                  </a:lnTo>
                  <a:lnTo>
                    <a:pt x="3545" y="1370"/>
                  </a:lnTo>
                  <a:lnTo>
                    <a:pt x="3595" y="1406"/>
                  </a:lnTo>
                  <a:lnTo>
                    <a:pt x="3637" y="1387"/>
                  </a:lnTo>
                  <a:lnTo>
                    <a:pt x="3670" y="1387"/>
                  </a:lnTo>
                  <a:lnTo>
                    <a:pt x="3666" y="1415"/>
                  </a:lnTo>
                  <a:lnTo>
                    <a:pt x="3682" y="1432"/>
                  </a:lnTo>
                  <a:lnTo>
                    <a:pt x="3637" y="1444"/>
                  </a:lnTo>
                  <a:lnTo>
                    <a:pt x="3704" y="1444"/>
                  </a:lnTo>
                  <a:lnTo>
                    <a:pt x="3734" y="1460"/>
                  </a:lnTo>
                  <a:lnTo>
                    <a:pt x="3763" y="1444"/>
                  </a:lnTo>
                  <a:lnTo>
                    <a:pt x="3772" y="1448"/>
                  </a:lnTo>
                  <a:lnTo>
                    <a:pt x="3772" y="1465"/>
                  </a:lnTo>
                  <a:lnTo>
                    <a:pt x="3789" y="1472"/>
                  </a:lnTo>
                  <a:lnTo>
                    <a:pt x="3763" y="1498"/>
                  </a:lnTo>
                  <a:lnTo>
                    <a:pt x="3741" y="1505"/>
                  </a:lnTo>
                  <a:lnTo>
                    <a:pt x="3708" y="1498"/>
                  </a:lnTo>
                  <a:lnTo>
                    <a:pt x="3692" y="1472"/>
                  </a:lnTo>
                  <a:lnTo>
                    <a:pt x="3600" y="1472"/>
                  </a:lnTo>
                  <a:lnTo>
                    <a:pt x="3574" y="1448"/>
                  </a:lnTo>
                  <a:lnTo>
                    <a:pt x="3595" y="1481"/>
                  </a:lnTo>
                  <a:lnTo>
                    <a:pt x="3578" y="1489"/>
                  </a:lnTo>
                  <a:lnTo>
                    <a:pt x="3545" y="1498"/>
                  </a:lnTo>
                  <a:lnTo>
                    <a:pt x="3574" y="1498"/>
                  </a:lnTo>
                  <a:lnTo>
                    <a:pt x="3562" y="1514"/>
                  </a:lnTo>
                  <a:lnTo>
                    <a:pt x="3562" y="1522"/>
                  </a:lnTo>
                  <a:lnTo>
                    <a:pt x="3541" y="1526"/>
                  </a:lnTo>
                  <a:lnTo>
                    <a:pt x="3578" y="1538"/>
                  </a:lnTo>
                  <a:lnTo>
                    <a:pt x="3595" y="1559"/>
                  </a:lnTo>
                  <a:lnTo>
                    <a:pt x="3595" y="1583"/>
                  </a:lnTo>
                  <a:lnTo>
                    <a:pt x="3600" y="1576"/>
                  </a:lnTo>
                  <a:lnTo>
                    <a:pt x="3583" y="1538"/>
                  </a:lnTo>
                  <a:lnTo>
                    <a:pt x="3595" y="1526"/>
                  </a:lnTo>
                  <a:lnTo>
                    <a:pt x="3704" y="1555"/>
                  </a:lnTo>
                  <a:lnTo>
                    <a:pt x="3704" y="1571"/>
                  </a:lnTo>
                  <a:lnTo>
                    <a:pt x="3682" y="1576"/>
                  </a:lnTo>
                  <a:lnTo>
                    <a:pt x="3687" y="1583"/>
                  </a:lnTo>
                  <a:lnTo>
                    <a:pt x="3682" y="1600"/>
                  </a:lnTo>
                  <a:lnTo>
                    <a:pt x="3692" y="1600"/>
                  </a:lnTo>
                  <a:lnTo>
                    <a:pt x="3687" y="1616"/>
                  </a:lnTo>
                  <a:lnTo>
                    <a:pt x="3611" y="1609"/>
                  </a:lnTo>
                  <a:lnTo>
                    <a:pt x="3600" y="1626"/>
                  </a:lnTo>
                  <a:lnTo>
                    <a:pt x="3557" y="1637"/>
                  </a:lnTo>
                  <a:lnTo>
                    <a:pt x="3470" y="1616"/>
                  </a:lnTo>
                  <a:lnTo>
                    <a:pt x="3439" y="1592"/>
                  </a:lnTo>
                  <a:lnTo>
                    <a:pt x="3439" y="1576"/>
                  </a:lnTo>
                  <a:lnTo>
                    <a:pt x="3470" y="1576"/>
                  </a:lnTo>
                  <a:lnTo>
                    <a:pt x="3531" y="1600"/>
                  </a:lnTo>
                  <a:lnTo>
                    <a:pt x="3562" y="1592"/>
                  </a:lnTo>
                  <a:lnTo>
                    <a:pt x="3524" y="1600"/>
                  </a:lnTo>
                  <a:lnTo>
                    <a:pt x="3432" y="1559"/>
                  </a:lnTo>
                  <a:lnTo>
                    <a:pt x="3406" y="1576"/>
                  </a:lnTo>
                  <a:lnTo>
                    <a:pt x="3406" y="1600"/>
                  </a:lnTo>
                  <a:lnTo>
                    <a:pt x="3368" y="1592"/>
                  </a:lnTo>
                  <a:lnTo>
                    <a:pt x="3368" y="1576"/>
                  </a:lnTo>
                  <a:lnTo>
                    <a:pt x="3314" y="1543"/>
                  </a:lnTo>
                  <a:lnTo>
                    <a:pt x="3330" y="1571"/>
                  </a:lnTo>
                  <a:lnTo>
                    <a:pt x="3394" y="1609"/>
                  </a:lnTo>
                  <a:lnTo>
                    <a:pt x="3347" y="1616"/>
                  </a:lnTo>
                  <a:lnTo>
                    <a:pt x="3314" y="1637"/>
                  </a:lnTo>
                  <a:lnTo>
                    <a:pt x="3297" y="1637"/>
                  </a:lnTo>
                  <a:lnTo>
                    <a:pt x="3238" y="1633"/>
                  </a:lnTo>
                  <a:lnTo>
                    <a:pt x="3200" y="1609"/>
                  </a:lnTo>
                  <a:lnTo>
                    <a:pt x="3191" y="1616"/>
                  </a:lnTo>
                  <a:lnTo>
                    <a:pt x="3271" y="1637"/>
                  </a:lnTo>
                  <a:lnTo>
                    <a:pt x="3243" y="1654"/>
                  </a:lnTo>
                  <a:lnTo>
                    <a:pt x="3222" y="1649"/>
                  </a:lnTo>
                  <a:lnTo>
                    <a:pt x="3179" y="1654"/>
                  </a:lnTo>
                  <a:lnTo>
                    <a:pt x="3200" y="1666"/>
                  </a:lnTo>
                  <a:lnTo>
                    <a:pt x="3200" y="1682"/>
                  </a:lnTo>
                  <a:lnTo>
                    <a:pt x="3191" y="1687"/>
                  </a:lnTo>
                  <a:lnTo>
                    <a:pt x="3205" y="1682"/>
                  </a:lnTo>
                  <a:lnTo>
                    <a:pt x="3205" y="1666"/>
                  </a:lnTo>
                  <a:lnTo>
                    <a:pt x="3255" y="1666"/>
                  </a:lnTo>
                  <a:lnTo>
                    <a:pt x="3271" y="1649"/>
                  </a:lnTo>
                  <a:lnTo>
                    <a:pt x="3363" y="1666"/>
                  </a:lnTo>
                  <a:lnTo>
                    <a:pt x="3368" y="1682"/>
                  </a:lnTo>
                  <a:lnTo>
                    <a:pt x="3352" y="1687"/>
                  </a:lnTo>
                  <a:lnTo>
                    <a:pt x="3314" y="1687"/>
                  </a:lnTo>
                  <a:lnTo>
                    <a:pt x="3293" y="1703"/>
                  </a:lnTo>
                  <a:lnTo>
                    <a:pt x="3243" y="1694"/>
                  </a:lnTo>
                  <a:lnTo>
                    <a:pt x="3200" y="1694"/>
                  </a:lnTo>
                  <a:lnTo>
                    <a:pt x="3271" y="1711"/>
                  </a:lnTo>
                  <a:lnTo>
                    <a:pt x="3243" y="1720"/>
                  </a:lnTo>
                  <a:lnTo>
                    <a:pt x="3276" y="1711"/>
                  </a:lnTo>
                  <a:lnTo>
                    <a:pt x="3259" y="1737"/>
                  </a:lnTo>
                  <a:lnTo>
                    <a:pt x="3330" y="1703"/>
                  </a:lnTo>
                  <a:lnTo>
                    <a:pt x="3380" y="1711"/>
                  </a:lnTo>
                  <a:lnTo>
                    <a:pt x="3385" y="1720"/>
                  </a:lnTo>
                  <a:lnTo>
                    <a:pt x="3385" y="1737"/>
                  </a:lnTo>
                  <a:lnTo>
                    <a:pt x="3394" y="1744"/>
                  </a:lnTo>
                  <a:lnTo>
                    <a:pt x="3297" y="1760"/>
                  </a:lnTo>
                  <a:lnTo>
                    <a:pt x="3347" y="1760"/>
                  </a:lnTo>
                  <a:lnTo>
                    <a:pt x="3330" y="1798"/>
                  </a:lnTo>
                  <a:lnTo>
                    <a:pt x="3342" y="1793"/>
                  </a:lnTo>
                  <a:lnTo>
                    <a:pt x="3342" y="1777"/>
                  </a:lnTo>
                  <a:lnTo>
                    <a:pt x="3352" y="1765"/>
                  </a:lnTo>
                  <a:lnTo>
                    <a:pt x="3394" y="1760"/>
                  </a:lnTo>
                  <a:lnTo>
                    <a:pt x="3503" y="1810"/>
                  </a:lnTo>
                  <a:lnTo>
                    <a:pt x="3493" y="1814"/>
                  </a:lnTo>
                  <a:lnTo>
                    <a:pt x="3541" y="1831"/>
                  </a:lnTo>
                  <a:lnTo>
                    <a:pt x="3503" y="1864"/>
                  </a:lnTo>
                  <a:lnTo>
                    <a:pt x="3545" y="1838"/>
                  </a:lnTo>
                  <a:lnTo>
                    <a:pt x="3531" y="1864"/>
                  </a:lnTo>
                  <a:lnTo>
                    <a:pt x="3531" y="1871"/>
                  </a:lnTo>
                  <a:lnTo>
                    <a:pt x="3562" y="1848"/>
                  </a:lnTo>
                  <a:lnTo>
                    <a:pt x="3583" y="1848"/>
                  </a:lnTo>
                  <a:lnTo>
                    <a:pt x="3562" y="1864"/>
                  </a:lnTo>
                  <a:lnTo>
                    <a:pt x="3574" y="1871"/>
                  </a:lnTo>
                  <a:lnTo>
                    <a:pt x="3541" y="1871"/>
                  </a:lnTo>
                  <a:lnTo>
                    <a:pt x="3545" y="1909"/>
                  </a:lnTo>
                  <a:lnTo>
                    <a:pt x="3557" y="1909"/>
                  </a:lnTo>
                  <a:lnTo>
                    <a:pt x="3557" y="1888"/>
                  </a:lnTo>
                  <a:lnTo>
                    <a:pt x="3595" y="1876"/>
                  </a:lnTo>
                  <a:lnTo>
                    <a:pt x="3600" y="1892"/>
                  </a:lnTo>
                  <a:lnTo>
                    <a:pt x="3595" y="1904"/>
                  </a:lnTo>
                  <a:lnTo>
                    <a:pt x="3611" y="1904"/>
                  </a:lnTo>
                  <a:lnTo>
                    <a:pt x="3578" y="1909"/>
                  </a:lnTo>
                  <a:lnTo>
                    <a:pt x="3595" y="1909"/>
                  </a:lnTo>
                  <a:lnTo>
                    <a:pt x="3600" y="1926"/>
                  </a:lnTo>
                  <a:lnTo>
                    <a:pt x="3557" y="1942"/>
                  </a:lnTo>
                  <a:lnTo>
                    <a:pt x="3600" y="1933"/>
                  </a:lnTo>
                  <a:lnTo>
                    <a:pt x="3611" y="1949"/>
                  </a:lnTo>
                  <a:lnTo>
                    <a:pt x="3600" y="1975"/>
                  </a:lnTo>
                  <a:lnTo>
                    <a:pt x="3583" y="1975"/>
                  </a:lnTo>
                  <a:lnTo>
                    <a:pt x="3600" y="1975"/>
                  </a:lnTo>
                  <a:lnTo>
                    <a:pt x="3611" y="1982"/>
                  </a:lnTo>
                  <a:lnTo>
                    <a:pt x="3595" y="1982"/>
                  </a:lnTo>
                  <a:lnTo>
                    <a:pt x="3600" y="1987"/>
                  </a:lnTo>
                  <a:lnTo>
                    <a:pt x="3595" y="2003"/>
                  </a:lnTo>
                  <a:lnTo>
                    <a:pt x="3616" y="2003"/>
                  </a:lnTo>
                  <a:lnTo>
                    <a:pt x="3578" y="2032"/>
                  </a:lnTo>
                  <a:lnTo>
                    <a:pt x="3583" y="2015"/>
                  </a:lnTo>
                  <a:lnTo>
                    <a:pt x="3578" y="2015"/>
                  </a:lnTo>
                  <a:lnTo>
                    <a:pt x="3557" y="2020"/>
                  </a:lnTo>
                  <a:lnTo>
                    <a:pt x="3545" y="1987"/>
                  </a:lnTo>
                  <a:lnTo>
                    <a:pt x="3545" y="1966"/>
                  </a:lnTo>
                  <a:lnTo>
                    <a:pt x="3541" y="1966"/>
                  </a:lnTo>
                  <a:lnTo>
                    <a:pt x="3531" y="1982"/>
                  </a:lnTo>
                  <a:lnTo>
                    <a:pt x="3541" y="2003"/>
                  </a:lnTo>
                  <a:lnTo>
                    <a:pt x="3531" y="2020"/>
                  </a:lnTo>
                  <a:lnTo>
                    <a:pt x="3486" y="2020"/>
                  </a:lnTo>
                  <a:lnTo>
                    <a:pt x="3439" y="1987"/>
                  </a:lnTo>
                  <a:lnTo>
                    <a:pt x="3422" y="1975"/>
                  </a:lnTo>
                  <a:lnTo>
                    <a:pt x="3422" y="1942"/>
                  </a:lnTo>
                  <a:lnTo>
                    <a:pt x="3385" y="1904"/>
                  </a:lnTo>
                  <a:lnTo>
                    <a:pt x="3363" y="1909"/>
                  </a:lnTo>
                  <a:lnTo>
                    <a:pt x="3326" y="1876"/>
                  </a:lnTo>
                  <a:lnTo>
                    <a:pt x="3233" y="1871"/>
                  </a:lnTo>
                  <a:lnTo>
                    <a:pt x="3179" y="1822"/>
                  </a:lnTo>
                  <a:lnTo>
                    <a:pt x="3115" y="1798"/>
                  </a:lnTo>
                  <a:lnTo>
                    <a:pt x="3108" y="1798"/>
                  </a:lnTo>
                  <a:lnTo>
                    <a:pt x="3130" y="1814"/>
                  </a:lnTo>
                  <a:lnTo>
                    <a:pt x="3125" y="1822"/>
                  </a:lnTo>
                  <a:lnTo>
                    <a:pt x="3167" y="1831"/>
                  </a:lnTo>
                  <a:lnTo>
                    <a:pt x="3205" y="1855"/>
                  </a:lnTo>
                  <a:lnTo>
                    <a:pt x="3200" y="1864"/>
                  </a:lnTo>
                  <a:lnTo>
                    <a:pt x="3125" y="1871"/>
                  </a:lnTo>
                  <a:lnTo>
                    <a:pt x="3200" y="1871"/>
                  </a:lnTo>
                  <a:lnTo>
                    <a:pt x="3217" y="1871"/>
                  </a:lnTo>
                  <a:lnTo>
                    <a:pt x="3205" y="1876"/>
                  </a:lnTo>
                  <a:lnTo>
                    <a:pt x="3205" y="1888"/>
                  </a:lnTo>
                  <a:lnTo>
                    <a:pt x="3309" y="1876"/>
                  </a:lnTo>
                  <a:lnTo>
                    <a:pt x="3342" y="1904"/>
                  </a:lnTo>
                  <a:lnTo>
                    <a:pt x="3330" y="1921"/>
                  </a:lnTo>
                  <a:lnTo>
                    <a:pt x="3314" y="1909"/>
                  </a:lnTo>
                  <a:lnTo>
                    <a:pt x="3326" y="1926"/>
                  </a:lnTo>
                  <a:lnTo>
                    <a:pt x="3259" y="1949"/>
                  </a:lnTo>
                  <a:lnTo>
                    <a:pt x="3191" y="1959"/>
                  </a:lnTo>
                  <a:lnTo>
                    <a:pt x="3167" y="1926"/>
                  </a:lnTo>
                  <a:lnTo>
                    <a:pt x="3163" y="1926"/>
                  </a:lnTo>
                  <a:lnTo>
                    <a:pt x="3184" y="1949"/>
                  </a:lnTo>
                  <a:lnTo>
                    <a:pt x="3130" y="1949"/>
                  </a:lnTo>
                  <a:lnTo>
                    <a:pt x="3163" y="1966"/>
                  </a:lnTo>
                  <a:lnTo>
                    <a:pt x="3137" y="2003"/>
                  </a:lnTo>
                  <a:lnTo>
                    <a:pt x="3070" y="2015"/>
                  </a:lnTo>
                  <a:lnTo>
                    <a:pt x="3070" y="2032"/>
                  </a:lnTo>
                  <a:lnTo>
                    <a:pt x="3137" y="2015"/>
                  </a:lnTo>
                  <a:lnTo>
                    <a:pt x="3130" y="2020"/>
                  </a:lnTo>
                  <a:lnTo>
                    <a:pt x="3137" y="2032"/>
                  </a:lnTo>
                  <a:lnTo>
                    <a:pt x="3243" y="2015"/>
                  </a:lnTo>
                  <a:lnTo>
                    <a:pt x="3276" y="2032"/>
                  </a:lnTo>
                  <a:lnTo>
                    <a:pt x="3243" y="2037"/>
                  </a:lnTo>
                  <a:lnTo>
                    <a:pt x="3233" y="2037"/>
                  </a:lnTo>
                  <a:lnTo>
                    <a:pt x="3167" y="2070"/>
                  </a:lnTo>
                  <a:lnTo>
                    <a:pt x="3115" y="2060"/>
                  </a:lnTo>
                  <a:lnTo>
                    <a:pt x="3125" y="2070"/>
                  </a:lnTo>
                  <a:lnTo>
                    <a:pt x="3191" y="2070"/>
                  </a:lnTo>
                  <a:lnTo>
                    <a:pt x="3191" y="2086"/>
                  </a:lnTo>
                  <a:lnTo>
                    <a:pt x="3200" y="2086"/>
                  </a:lnTo>
                  <a:lnTo>
                    <a:pt x="3217" y="2053"/>
                  </a:lnTo>
                  <a:lnTo>
                    <a:pt x="3233" y="2044"/>
                  </a:lnTo>
                  <a:lnTo>
                    <a:pt x="3276" y="2053"/>
                  </a:lnTo>
                  <a:lnTo>
                    <a:pt x="3352" y="2020"/>
                  </a:lnTo>
                  <a:lnTo>
                    <a:pt x="3347" y="2037"/>
                  </a:lnTo>
                  <a:lnTo>
                    <a:pt x="3363" y="2032"/>
                  </a:lnTo>
                  <a:lnTo>
                    <a:pt x="3470" y="2060"/>
                  </a:lnTo>
                  <a:lnTo>
                    <a:pt x="3574" y="2060"/>
                  </a:lnTo>
                  <a:lnTo>
                    <a:pt x="3557" y="2077"/>
                  </a:lnTo>
                  <a:lnTo>
                    <a:pt x="3486" y="2093"/>
                  </a:lnTo>
                  <a:lnTo>
                    <a:pt x="3519" y="2098"/>
                  </a:lnTo>
                  <a:lnTo>
                    <a:pt x="3507" y="2110"/>
                  </a:lnTo>
                  <a:lnTo>
                    <a:pt x="3486" y="2093"/>
                  </a:lnTo>
                  <a:lnTo>
                    <a:pt x="3493" y="2110"/>
                  </a:lnTo>
                  <a:lnTo>
                    <a:pt x="3439" y="2110"/>
                  </a:lnTo>
                  <a:lnTo>
                    <a:pt x="3470" y="2126"/>
                  </a:lnTo>
                  <a:lnTo>
                    <a:pt x="3448" y="2143"/>
                  </a:lnTo>
                  <a:lnTo>
                    <a:pt x="3418" y="2126"/>
                  </a:lnTo>
                  <a:lnTo>
                    <a:pt x="3432" y="2143"/>
                  </a:lnTo>
                  <a:lnTo>
                    <a:pt x="3406" y="2155"/>
                  </a:lnTo>
                  <a:lnTo>
                    <a:pt x="3394" y="2155"/>
                  </a:lnTo>
                  <a:lnTo>
                    <a:pt x="3394" y="2171"/>
                  </a:lnTo>
                  <a:lnTo>
                    <a:pt x="3352" y="2171"/>
                  </a:lnTo>
                  <a:lnTo>
                    <a:pt x="3347" y="2171"/>
                  </a:lnTo>
                  <a:lnTo>
                    <a:pt x="3368" y="2188"/>
                  </a:lnTo>
                  <a:lnTo>
                    <a:pt x="3347" y="2204"/>
                  </a:lnTo>
                  <a:lnTo>
                    <a:pt x="3326" y="2197"/>
                  </a:lnTo>
                  <a:lnTo>
                    <a:pt x="3342" y="2209"/>
                  </a:lnTo>
                  <a:lnTo>
                    <a:pt x="3314" y="2209"/>
                  </a:lnTo>
                  <a:lnTo>
                    <a:pt x="3326" y="2221"/>
                  </a:lnTo>
                  <a:lnTo>
                    <a:pt x="3271" y="2242"/>
                  </a:lnTo>
                  <a:lnTo>
                    <a:pt x="3200" y="2259"/>
                  </a:lnTo>
                  <a:lnTo>
                    <a:pt x="3205" y="2259"/>
                  </a:lnTo>
                  <a:lnTo>
                    <a:pt x="3184" y="2259"/>
                  </a:lnTo>
                  <a:lnTo>
                    <a:pt x="3179" y="2266"/>
                  </a:lnTo>
                  <a:lnTo>
                    <a:pt x="3184" y="2266"/>
                  </a:lnTo>
                  <a:lnTo>
                    <a:pt x="3153" y="2259"/>
                  </a:lnTo>
                  <a:lnTo>
                    <a:pt x="3153" y="2275"/>
                  </a:lnTo>
                  <a:lnTo>
                    <a:pt x="3125" y="2275"/>
                  </a:lnTo>
                  <a:lnTo>
                    <a:pt x="3099" y="2292"/>
                  </a:lnTo>
                  <a:lnTo>
                    <a:pt x="3078" y="2282"/>
                  </a:lnTo>
                  <a:lnTo>
                    <a:pt x="3078" y="2292"/>
                  </a:lnTo>
                  <a:lnTo>
                    <a:pt x="3061" y="2292"/>
                  </a:lnTo>
                  <a:lnTo>
                    <a:pt x="3061" y="2308"/>
                  </a:lnTo>
                  <a:lnTo>
                    <a:pt x="3028" y="2292"/>
                  </a:lnTo>
                  <a:lnTo>
                    <a:pt x="3028" y="2275"/>
                  </a:lnTo>
                  <a:lnTo>
                    <a:pt x="3002" y="2299"/>
                  </a:lnTo>
                  <a:lnTo>
                    <a:pt x="3016" y="2315"/>
                  </a:lnTo>
                  <a:lnTo>
                    <a:pt x="2990" y="2315"/>
                  </a:lnTo>
                  <a:lnTo>
                    <a:pt x="2990" y="2308"/>
                  </a:lnTo>
                  <a:lnTo>
                    <a:pt x="2969" y="2299"/>
                  </a:lnTo>
                  <a:lnTo>
                    <a:pt x="2964" y="2299"/>
                  </a:lnTo>
                  <a:lnTo>
                    <a:pt x="2985" y="2308"/>
                  </a:lnTo>
                  <a:lnTo>
                    <a:pt x="2985" y="2320"/>
                  </a:lnTo>
                  <a:lnTo>
                    <a:pt x="2948" y="2320"/>
                  </a:lnTo>
                  <a:lnTo>
                    <a:pt x="2915" y="2315"/>
                  </a:lnTo>
                  <a:lnTo>
                    <a:pt x="2919" y="2308"/>
                  </a:lnTo>
                  <a:lnTo>
                    <a:pt x="2910" y="2320"/>
                  </a:lnTo>
                  <a:lnTo>
                    <a:pt x="2898" y="2315"/>
                  </a:lnTo>
                  <a:lnTo>
                    <a:pt x="2893" y="2308"/>
                  </a:lnTo>
                  <a:lnTo>
                    <a:pt x="2910" y="2299"/>
                  </a:lnTo>
                  <a:lnTo>
                    <a:pt x="2877" y="2299"/>
                  </a:lnTo>
                  <a:lnTo>
                    <a:pt x="2844" y="2254"/>
                  </a:lnTo>
                  <a:lnTo>
                    <a:pt x="2844" y="2266"/>
                  </a:lnTo>
                  <a:lnTo>
                    <a:pt x="2839" y="2266"/>
                  </a:lnTo>
                  <a:lnTo>
                    <a:pt x="2839" y="2275"/>
                  </a:lnTo>
                  <a:lnTo>
                    <a:pt x="2860" y="2292"/>
                  </a:lnTo>
                  <a:lnTo>
                    <a:pt x="2865" y="2308"/>
                  </a:lnTo>
                  <a:lnTo>
                    <a:pt x="2844" y="2308"/>
                  </a:lnTo>
                  <a:lnTo>
                    <a:pt x="2877" y="2315"/>
                  </a:lnTo>
                  <a:lnTo>
                    <a:pt x="2865" y="2348"/>
                  </a:lnTo>
                  <a:lnTo>
                    <a:pt x="2839" y="2348"/>
                  </a:lnTo>
                  <a:lnTo>
                    <a:pt x="2822" y="2365"/>
                  </a:lnTo>
                  <a:lnTo>
                    <a:pt x="2789" y="2370"/>
                  </a:lnTo>
                  <a:lnTo>
                    <a:pt x="2806" y="2377"/>
                  </a:lnTo>
                  <a:lnTo>
                    <a:pt x="2789" y="2386"/>
                  </a:lnTo>
                  <a:lnTo>
                    <a:pt x="2789" y="2403"/>
                  </a:lnTo>
                  <a:lnTo>
                    <a:pt x="2768" y="2410"/>
                  </a:lnTo>
                  <a:lnTo>
                    <a:pt x="2785" y="2426"/>
                  </a:lnTo>
                  <a:lnTo>
                    <a:pt x="2752" y="2459"/>
                  </a:lnTo>
                  <a:lnTo>
                    <a:pt x="2737" y="2448"/>
                  </a:lnTo>
                  <a:lnTo>
                    <a:pt x="2730" y="2481"/>
                  </a:lnTo>
                  <a:lnTo>
                    <a:pt x="2714" y="2504"/>
                  </a:lnTo>
                  <a:lnTo>
                    <a:pt x="2704" y="2497"/>
                  </a:lnTo>
                  <a:lnTo>
                    <a:pt x="2704" y="2481"/>
                  </a:lnTo>
                  <a:lnTo>
                    <a:pt x="2704" y="2497"/>
                  </a:lnTo>
                  <a:lnTo>
                    <a:pt x="2704" y="2504"/>
                  </a:lnTo>
                  <a:lnTo>
                    <a:pt x="2683" y="2530"/>
                  </a:lnTo>
                  <a:lnTo>
                    <a:pt x="2667" y="2537"/>
                  </a:lnTo>
                  <a:lnTo>
                    <a:pt x="2662" y="2530"/>
                  </a:lnTo>
                  <a:lnTo>
                    <a:pt x="2662" y="2521"/>
                  </a:lnTo>
                  <a:lnTo>
                    <a:pt x="2650" y="2537"/>
                  </a:lnTo>
                  <a:lnTo>
                    <a:pt x="2662" y="2542"/>
                  </a:lnTo>
                  <a:lnTo>
                    <a:pt x="2650" y="2542"/>
                  </a:lnTo>
                  <a:lnTo>
                    <a:pt x="2607" y="2521"/>
                  </a:lnTo>
                  <a:lnTo>
                    <a:pt x="2629" y="2542"/>
                  </a:lnTo>
                  <a:lnTo>
                    <a:pt x="2624" y="2542"/>
                  </a:lnTo>
                  <a:lnTo>
                    <a:pt x="2624" y="2559"/>
                  </a:lnTo>
                  <a:lnTo>
                    <a:pt x="2574" y="2587"/>
                  </a:lnTo>
                  <a:lnTo>
                    <a:pt x="2570" y="2575"/>
                  </a:lnTo>
                  <a:lnTo>
                    <a:pt x="2574" y="2559"/>
                  </a:lnTo>
                  <a:lnTo>
                    <a:pt x="2558" y="2559"/>
                  </a:lnTo>
                  <a:lnTo>
                    <a:pt x="2558" y="2570"/>
                  </a:lnTo>
                  <a:lnTo>
                    <a:pt x="2558" y="2575"/>
                  </a:lnTo>
                  <a:lnTo>
                    <a:pt x="2532" y="2592"/>
                  </a:lnTo>
                  <a:lnTo>
                    <a:pt x="2520" y="2575"/>
                  </a:lnTo>
                  <a:lnTo>
                    <a:pt x="2520" y="2570"/>
                  </a:lnTo>
                  <a:lnTo>
                    <a:pt x="2515" y="2570"/>
                  </a:lnTo>
                  <a:lnTo>
                    <a:pt x="2520" y="2592"/>
                  </a:lnTo>
                  <a:lnTo>
                    <a:pt x="2515" y="2599"/>
                  </a:lnTo>
                  <a:lnTo>
                    <a:pt x="2478" y="2587"/>
                  </a:lnTo>
                  <a:lnTo>
                    <a:pt x="2466" y="2570"/>
                  </a:lnTo>
                  <a:lnTo>
                    <a:pt x="2515" y="2530"/>
                  </a:lnTo>
                  <a:lnTo>
                    <a:pt x="2449" y="2530"/>
                  </a:lnTo>
                  <a:lnTo>
                    <a:pt x="2445" y="2530"/>
                  </a:lnTo>
                  <a:lnTo>
                    <a:pt x="2478" y="2542"/>
                  </a:lnTo>
                  <a:lnTo>
                    <a:pt x="2461" y="2542"/>
                  </a:lnTo>
                  <a:lnTo>
                    <a:pt x="2466" y="2554"/>
                  </a:lnTo>
                  <a:lnTo>
                    <a:pt x="2449" y="2559"/>
                  </a:lnTo>
                  <a:lnTo>
                    <a:pt x="2461" y="2575"/>
                  </a:lnTo>
                  <a:lnTo>
                    <a:pt x="2449" y="2587"/>
                  </a:lnTo>
                  <a:lnTo>
                    <a:pt x="2445" y="2575"/>
                  </a:lnTo>
                  <a:lnTo>
                    <a:pt x="2445" y="2587"/>
                  </a:lnTo>
                  <a:lnTo>
                    <a:pt x="2435" y="2587"/>
                  </a:lnTo>
                  <a:lnTo>
                    <a:pt x="2423" y="2570"/>
                  </a:lnTo>
                  <a:lnTo>
                    <a:pt x="2423" y="2587"/>
                  </a:lnTo>
                  <a:lnTo>
                    <a:pt x="2449" y="2592"/>
                  </a:lnTo>
                  <a:lnTo>
                    <a:pt x="2435" y="2615"/>
                  </a:lnTo>
                  <a:lnTo>
                    <a:pt x="2407" y="2608"/>
                  </a:lnTo>
                  <a:lnTo>
                    <a:pt x="2411" y="2625"/>
                  </a:lnTo>
                  <a:lnTo>
                    <a:pt x="2381" y="2625"/>
                  </a:lnTo>
                  <a:lnTo>
                    <a:pt x="2359" y="2608"/>
                  </a:lnTo>
                  <a:lnTo>
                    <a:pt x="2374" y="2625"/>
                  </a:lnTo>
                  <a:lnTo>
                    <a:pt x="2359" y="2632"/>
                  </a:lnTo>
                  <a:lnTo>
                    <a:pt x="2336" y="2608"/>
                  </a:lnTo>
                  <a:lnTo>
                    <a:pt x="2326" y="2625"/>
                  </a:lnTo>
                  <a:lnTo>
                    <a:pt x="2326" y="2632"/>
                  </a:lnTo>
                  <a:lnTo>
                    <a:pt x="2305" y="2625"/>
                  </a:lnTo>
                  <a:lnTo>
                    <a:pt x="2298" y="2632"/>
                  </a:lnTo>
                  <a:lnTo>
                    <a:pt x="2326" y="2641"/>
                  </a:lnTo>
                  <a:lnTo>
                    <a:pt x="2322" y="2648"/>
                  </a:lnTo>
                  <a:lnTo>
                    <a:pt x="2336" y="2665"/>
                  </a:lnTo>
                  <a:lnTo>
                    <a:pt x="2298" y="2686"/>
                  </a:lnTo>
                  <a:lnTo>
                    <a:pt x="2272" y="2670"/>
                  </a:lnTo>
                  <a:lnTo>
                    <a:pt x="2267" y="2686"/>
                  </a:lnTo>
                  <a:lnTo>
                    <a:pt x="2246" y="2681"/>
                  </a:lnTo>
                  <a:lnTo>
                    <a:pt x="2234" y="2698"/>
                  </a:lnTo>
                  <a:lnTo>
                    <a:pt x="2272" y="2726"/>
                  </a:lnTo>
                  <a:lnTo>
                    <a:pt x="2272" y="2752"/>
                  </a:lnTo>
                  <a:lnTo>
                    <a:pt x="2289" y="2764"/>
                  </a:lnTo>
                  <a:lnTo>
                    <a:pt x="2260" y="2764"/>
                  </a:lnTo>
                  <a:lnTo>
                    <a:pt x="2208" y="2776"/>
                  </a:lnTo>
                  <a:lnTo>
                    <a:pt x="2218" y="2792"/>
                  </a:lnTo>
                  <a:lnTo>
                    <a:pt x="2272" y="2797"/>
                  </a:lnTo>
                  <a:lnTo>
                    <a:pt x="2260" y="2814"/>
                  </a:lnTo>
                  <a:lnTo>
                    <a:pt x="2272" y="2814"/>
                  </a:lnTo>
                  <a:lnTo>
                    <a:pt x="2284" y="2837"/>
                  </a:lnTo>
                  <a:lnTo>
                    <a:pt x="2251" y="2837"/>
                  </a:lnTo>
                  <a:lnTo>
                    <a:pt x="2213" y="2821"/>
                  </a:lnTo>
                  <a:lnTo>
                    <a:pt x="2208" y="2830"/>
                  </a:lnTo>
                  <a:lnTo>
                    <a:pt x="2251" y="2847"/>
                  </a:lnTo>
                  <a:lnTo>
                    <a:pt x="2267" y="2863"/>
                  </a:lnTo>
                  <a:lnTo>
                    <a:pt x="2246" y="2863"/>
                  </a:lnTo>
                  <a:lnTo>
                    <a:pt x="2246" y="2870"/>
                  </a:lnTo>
                  <a:lnTo>
                    <a:pt x="2234" y="2863"/>
                  </a:lnTo>
                  <a:lnTo>
                    <a:pt x="2246" y="2875"/>
                  </a:lnTo>
                  <a:lnTo>
                    <a:pt x="2234" y="2875"/>
                  </a:lnTo>
                  <a:lnTo>
                    <a:pt x="2218" y="2863"/>
                  </a:lnTo>
                  <a:lnTo>
                    <a:pt x="2230" y="2875"/>
                  </a:lnTo>
                  <a:lnTo>
                    <a:pt x="2208" y="2863"/>
                  </a:lnTo>
                  <a:lnTo>
                    <a:pt x="2234" y="2887"/>
                  </a:lnTo>
                  <a:lnTo>
                    <a:pt x="2196" y="2863"/>
                  </a:lnTo>
                  <a:lnTo>
                    <a:pt x="2180" y="2870"/>
                  </a:lnTo>
                  <a:lnTo>
                    <a:pt x="2213" y="2908"/>
                  </a:lnTo>
                  <a:lnTo>
                    <a:pt x="2208" y="2908"/>
                  </a:lnTo>
                  <a:lnTo>
                    <a:pt x="2175" y="2892"/>
                  </a:lnTo>
                  <a:lnTo>
                    <a:pt x="2208" y="2920"/>
                  </a:lnTo>
                  <a:lnTo>
                    <a:pt x="2196" y="2920"/>
                  </a:lnTo>
                  <a:lnTo>
                    <a:pt x="2163" y="2903"/>
                  </a:lnTo>
                  <a:lnTo>
                    <a:pt x="2175" y="2920"/>
                  </a:lnTo>
                  <a:lnTo>
                    <a:pt x="2208" y="2925"/>
                  </a:lnTo>
                  <a:lnTo>
                    <a:pt x="2192" y="2941"/>
                  </a:lnTo>
                  <a:lnTo>
                    <a:pt x="2154" y="2941"/>
                  </a:lnTo>
                  <a:lnTo>
                    <a:pt x="2154" y="2925"/>
                  </a:lnTo>
                  <a:lnTo>
                    <a:pt x="2142" y="2932"/>
                  </a:lnTo>
                  <a:lnTo>
                    <a:pt x="2142" y="2941"/>
                  </a:lnTo>
                  <a:lnTo>
                    <a:pt x="2137" y="2948"/>
                  </a:lnTo>
                  <a:lnTo>
                    <a:pt x="2100" y="2948"/>
                  </a:lnTo>
                  <a:lnTo>
                    <a:pt x="2100" y="2958"/>
                  </a:lnTo>
                  <a:lnTo>
                    <a:pt x="2154" y="2974"/>
                  </a:lnTo>
                  <a:lnTo>
                    <a:pt x="2154" y="2981"/>
                  </a:lnTo>
                  <a:lnTo>
                    <a:pt x="2137" y="2981"/>
                  </a:lnTo>
                  <a:lnTo>
                    <a:pt x="2163" y="2986"/>
                  </a:lnTo>
                  <a:lnTo>
                    <a:pt x="2104" y="2974"/>
                  </a:lnTo>
                  <a:lnTo>
                    <a:pt x="2159" y="3003"/>
                  </a:lnTo>
                  <a:lnTo>
                    <a:pt x="2154" y="3019"/>
                  </a:lnTo>
                  <a:lnTo>
                    <a:pt x="2137" y="3036"/>
                  </a:lnTo>
                  <a:lnTo>
                    <a:pt x="2163" y="3036"/>
                  </a:lnTo>
                  <a:lnTo>
                    <a:pt x="2159" y="3043"/>
                  </a:lnTo>
                  <a:lnTo>
                    <a:pt x="2142" y="3043"/>
                  </a:lnTo>
                  <a:lnTo>
                    <a:pt x="2159" y="3052"/>
                  </a:lnTo>
                  <a:lnTo>
                    <a:pt x="2154" y="3059"/>
                  </a:lnTo>
                  <a:lnTo>
                    <a:pt x="2109" y="3059"/>
                  </a:lnTo>
                  <a:lnTo>
                    <a:pt x="2154" y="3076"/>
                  </a:lnTo>
                  <a:lnTo>
                    <a:pt x="2142" y="3085"/>
                  </a:lnTo>
                  <a:lnTo>
                    <a:pt x="2100" y="3076"/>
                  </a:lnTo>
                  <a:lnTo>
                    <a:pt x="2137" y="3085"/>
                  </a:lnTo>
                  <a:lnTo>
                    <a:pt x="2142" y="3097"/>
                  </a:lnTo>
                  <a:lnTo>
                    <a:pt x="2142" y="3109"/>
                  </a:lnTo>
                  <a:lnTo>
                    <a:pt x="2126" y="3114"/>
                  </a:lnTo>
                  <a:lnTo>
                    <a:pt x="2088" y="3109"/>
                  </a:lnTo>
                  <a:lnTo>
                    <a:pt x="2126" y="3114"/>
                  </a:lnTo>
                  <a:lnTo>
                    <a:pt x="2137" y="3125"/>
                  </a:lnTo>
                  <a:lnTo>
                    <a:pt x="2100" y="3125"/>
                  </a:lnTo>
                  <a:lnTo>
                    <a:pt x="2126" y="3130"/>
                  </a:lnTo>
                  <a:lnTo>
                    <a:pt x="2067" y="3130"/>
                  </a:lnTo>
                  <a:lnTo>
                    <a:pt x="2126" y="3142"/>
                  </a:lnTo>
                  <a:lnTo>
                    <a:pt x="2126" y="3147"/>
                  </a:lnTo>
                  <a:lnTo>
                    <a:pt x="2104" y="3154"/>
                  </a:lnTo>
                  <a:lnTo>
                    <a:pt x="2071" y="3147"/>
                  </a:lnTo>
                  <a:lnTo>
                    <a:pt x="2121" y="3163"/>
                  </a:lnTo>
                  <a:lnTo>
                    <a:pt x="2067" y="3163"/>
                  </a:lnTo>
                  <a:lnTo>
                    <a:pt x="2121" y="3170"/>
                  </a:lnTo>
                  <a:lnTo>
                    <a:pt x="2100" y="3180"/>
                  </a:lnTo>
                  <a:lnTo>
                    <a:pt x="2121" y="3180"/>
                  </a:lnTo>
                  <a:lnTo>
                    <a:pt x="2109" y="3187"/>
                  </a:lnTo>
                  <a:lnTo>
                    <a:pt x="2121" y="3187"/>
                  </a:lnTo>
                  <a:lnTo>
                    <a:pt x="2100" y="3196"/>
                  </a:lnTo>
                  <a:lnTo>
                    <a:pt x="2083" y="3196"/>
                  </a:lnTo>
                  <a:lnTo>
                    <a:pt x="2100" y="3203"/>
                  </a:lnTo>
                  <a:lnTo>
                    <a:pt x="2088" y="3203"/>
                  </a:lnTo>
                  <a:lnTo>
                    <a:pt x="2067" y="3196"/>
                  </a:lnTo>
                  <a:lnTo>
                    <a:pt x="2057" y="3170"/>
                  </a:lnTo>
                  <a:lnTo>
                    <a:pt x="2057" y="3196"/>
                  </a:lnTo>
                  <a:lnTo>
                    <a:pt x="2019" y="3187"/>
                  </a:lnTo>
                  <a:lnTo>
                    <a:pt x="2083" y="3203"/>
                  </a:lnTo>
                  <a:lnTo>
                    <a:pt x="2067" y="3220"/>
                  </a:lnTo>
                  <a:lnTo>
                    <a:pt x="2100" y="3208"/>
                  </a:lnTo>
                  <a:lnTo>
                    <a:pt x="2100" y="3225"/>
                  </a:lnTo>
                  <a:lnTo>
                    <a:pt x="2083" y="3225"/>
                  </a:lnTo>
                  <a:lnTo>
                    <a:pt x="2100" y="3225"/>
                  </a:lnTo>
                  <a:lnTo>
                    <a:pt x="2100" y="3241"/>
                  </a:lnTo>
                  <a:lnTo>
                    <a:pt x="2029" y="3236"/>
                  </a:lnTo>
                  <a:lnTo>
                    <a:pt x="2033" y="3220"/>
                  </a:lnTo>
                  <a:lnTo>
                    <a:pt x="2029" y="3208"/>
                  </a:lnTo>
                  <a:lnTo>
                    <a:pt x="2029" y="3220"/>
                  </a:lnTo>
                  <a:lnTo>
                    <a:pt x="2003" y="3236"/>
                  </a:lnTo>
                  <a:lnTo>
                    <a:pt x="1991" y="3253"/>
                  </a:lnTo>
                  <a:lnTo>
                    <a:pt x="1948" y="3241"/>
                  </a:lnTo>
                  <a:lnTo>
                    <a:pt x="1958" y="3236"/>
                  </a:lnTo>
                  <a:lnTo>
                    <a:pt x="1974" y="3236"/>
                  </a:lnTo>
                  <a:lnTo>
                    <a:pt x="2003" y="3196"/>
                  </a:lnTo>
                  <a:lnTo>
                    <a:pt x="1974" y="3225"/>
                  </a:lnTo>
                  <a:lnTo>
                    <a:pt x="1948" y="3236"/>
                  </a:lnTo>
                  <a:lnTo>
                    <a:pt x="1991" y="3170"/>
                  </a:lnTo>
                  <a:lnTo>
                    <a:pt x="1948" y="3203"/>
                  </a:lnTo>
                  <a:lnTo>
                    <a:pt x="1944" y="3196"/>
                  </a:lnTo>
                  <a:lnTo>
                    <a:pt x="1958" y="3180"/>
                  </a:lnTo>
                  <a:lnTo>
                    <a:pt x="1927" y="3203"/>
                  </a:lnTo>
                  <a:lnTo>
                    <a:pt x="1944" y="3180"/>
                  </a:lnTo>
                  <a:lnTo>
                    <a:pt x="1927" y="3203"/>
                  </a:lnTo>
                  <a:lnTo>
                    <a:pt x="1911" y="3187"/>
                  </a:lnTo>
                  <a:lnTo>
                    <a:pt x="1920" y="3187"/>
                  </a:lnTo>
                  <a:lnTo>
                    <a:pt x="1894" y="3187"/>
                  </a:lnTo>
                  <a:lnTo>
                    <a:pt x="1920" y="3180"/>
                  </a:lnTo>
                  <a:lnTo>
                    <a:pt x="1906" y="3180"/>
                  </a:lnTo>
                  <a:lnTo>
                    <a:pt x="1948" y="3154"/>
                  </a:lnTo>
                  <a:lnTo>
                    <a:pt x="1937" y="3142"/>
                  </a:lnTo>
                  <a:lnTo>
                    <a:pt x="1920" y="3170"/>
                  </a:lnTo>
                  <a:lnTo>
                    <a:pt x="1906" y="3170"/>
                  </a:lnTo>
                  <a:lnTo>
                    <a:pt x="1911" y="3163"/>
                  </a:lnTo>
                  <a:lnTo>
                    <a:pt x="1906" y="3163"/>
                  </a:lnTo>
                  <a:lnTo>
                    <a:pt x="1889" y="3170"/>
                  </a:lnTo>
                  <a:lnTo>
                    <a:pt x="1882" y="3170"/>
                  </a:lnTo>
                  <a:lnTo>
                    <a:pt x="1894" y="3154"/>
                  </a:lnTo>
                  <a:lnTo>
                    <a:pt x="1927" y="3147"/>
                  </a:lnTo>
                  <a:lnTo>
                    <a:pt x="1948" y="3125"/>
                  </a:lnTo>
                  <a:lnTo>
                    <a:pt x="1937" y="3130"/>
                  </a:lnTo>
                  <a:lnTo>
                    <a:pt x="1927" y="3114"/>
                  </a:lnTo>
                  <a:lnTo>
                    <a:pt x="1927" y="3130"/>
                  </a:lnTo>
                  <a:lnTo>
                    <a:pt x="1920" y="3142"/>
                  </a:lnTo>
                  <a:lnTo>
                    <a:pt x="1889" y="3154"/>
                  </a:lnTo>
                  <a:lnTo>
                    <a:pt x="1889" y="3147"/>
                  </a:lnTo>
                  <a:lnTo>
                    <a:pt x="1920" y="3130"/>
                  </a:lnTo>
                  <a:lnTo>
                    <a:pt x="1906" y="3114"/>
                  </a:lnTo>
                  <a:lnTo>
                    <a:pt x="1911" y="3109"/>
                  </a:lnTo>
                  <a:lnTo>
                    <a:pt x="1894" y="3114"/>
                  </a:lnTo>
                  <a:lnTo>
                    <a:pt x="1906" y="3125"/>
                  </a:lnTo>
                  <a:lnTo>
                    <a:pt x="1906" y="3130"/>
                  </a:lnTo>
                  <a:lnTo>
                    <a:pt x="1882" y="3147"/>
                  </a:lnTo>
                  <a:lnTo>
                    <a:pt x="1868" y="3130"/>
                  </a:lnTo>
                  <a:lnTo>
                    <a:pt x="1856" y="3154"/>
                  </a:lnTo>
                  <a:lnTo>
                    <a:pt x="1835" y="3147"/>
                  </a:lnTo>
                  <a:lnTo>
                    <a:pt x="1840" y="3154"/>
                  </a:lnTo>
                  <a:lnTo>
                    <a:pt x="1835" y="3163"/>
                  </a:lnTo>
                  <a:lnTo>
                    <a:pt x="1830" y="3147"/>
                  </a:lnTo>
                  <a:lnTo>
                    <a:pt x="1764" y="3154"/>
                  </a:lnTo>
                  <a:lnTo>
                    <a:pt x="1802" y="3154"/>
                  </a:lnTo>
                  <a:lnTo>
                    <a:pt x="1797" y="3163"/>
                  </a:lnTo>
                  <a:lnTo>
                    <a:pt x="1743" y="3163"/>
                  </a:lnTo>
                  <a:lnTo>
                    <a:pt x="1731" y="3163"/>
                  </a:lnTo>
                  <a:lnTo>
                    <a:pt x="1776" y="3142"/>
                  </a:lnTo>
                  <a:lnTo>
                    <a:pt x="1726" y="3147"/>
                  </a:lnTo>
                  <a:lnTo>
                    <a:pt x="1764" y="3142"/>
                  </a:lnTo>
                  <a:lnTo>
                    <a:pt x="1764" y="3130"/>
                  </a:lnTo>
                  <a:lnTo>
                    <a:pt x="1748" y="3130"/>
                  </a:lnTo>
                  <a:lnTo>
                    <a:pt x="1743" y="3125"/>
                  </a:lnTo>
                  <a:lnTo>
                    <a:pt x="1759" y="3109"/>
                  </a:lnTo>
                  <a:lnTo>
                    <a:pt x="1748" y="3109"/>
                  </a:lnTo>
                  <a:lnTo>
                    <a:pt x="1731" y="3114"/>
                  </a:lnTo>
                  <a:lnTo>
                    <a:pt x="1743" y="3130"/>
                  </a:lnTo>
                  <a:lnTo>
                    <a:pt x="1726" y="3130"/>
                  </a:lnTo>
                  <a:lnTo>
                    <a:pt x="1726" y="3125"/>
                  </a:lnTo>
                  <a:lnTo>
                    <a:pt x="1731" y="3125"/>
                  </a:lnTo>
                  <a:lnTo>
                    <a:pt x="1710" y="3125"/>
                  </a:lnTo>
                  <a:lnTo>
                    <a:pt x="1726" y="3109"/>
                  </a:lnTo>
                  <a:lnTo>
                    <a:pt x="1679" y="3097"/>
                  </a:lnTo>
                  <a:lnTo>
                    <a:pt x="1743" y="3085"/>
                  </a:lnTo>
                  <a:lnTo>
                    <a:pt x="1726" y="3076"/>
                  </a:lnTo>
                  <a:lnTo>
                    <a:pt x="1689" y="3092"/>
                  </a:lnTo>
                  <a:lnTo>
                    <a:pt x="1667" y="3085"/>
                  </a:lnTo>
                  <a:lnTo>
                    <a:pt x="1710" y="3076"/>
                  </a:lnTo>
                  <a:lnTo>
                    <a:pt x="1689" y="3076"/>
                  </a:lnTo>
                  <a:lnTo>
                    <a:pt x="1679" y="3076"/>
                  </a:lnTo>
                  <a:lnTo>
                    <a:pt x="1679" y="3059"/>
                  </a:lnTo>
                  <a:lnTo>
                    <a:pt x="1672" y="3069"/>
                  </a:lnTo>
                  <a:lnTo>
                    <a:pt x="1679" y="3052"/>
                  </a:lnTo>
                  <a:lnTo>
                    <a:pt x="1705" y="3036"/>
                  </a:lnTo>
                  <a:lnTo>
                    <a:pt x="1689" y="3036"/>
                  </a:lnTo>
                  <a:lnTo>
                    <a:pt x="1672" y="3052"/>
                  </a:lnTo>
                  <a:lnTo>
                    <a:pt x="1667" y="3069"/>
                  </a:lnTo>
                  <a:lnTo>
                    <a:pt x="1656" y="3059"/>
                  </a:lnTo>
                  <a:lnTo>
                    <a:pt x="1672" y="3043"/>
                  </a:lnTo>
                  <a:lnTo>
                    <a:pt x="1656" y="3052"/>
                  </a:lnTo>
                  <a:lnTo>
                    <a:pt x="1656" y="3036"/>
                  </a:lnTo>
                  <a:lnTo>
                    <a:pt x="1693" y="3031"/>
                  </a:lnTo>
                  <a:lnTo>
                    <a:pt x="1679" y="3019"/>
                  </a:lnTo>
                  <a:lnTo>
                    <a:pt x="1679" y="3014"/>
                  </a:lnTo>
                  <a:lnTo>
                    <a:pt x="1672" y="3031"/>
                  </a:lnTo>
                  <a:lnTo>
                    <a:pt x="1634" y="3036"/>
                  </a:lnTo>
                  <a:lnTo>
                    <a:pt x="1634" y="3019"/>
                  </a:lnTo>
                  <a:lnTo>
                    <a:pt x="1656" y="3019"/>
                  </a:lnTo>
                  <a:lnTo>
                    <a:pt x="1667" y="3014"/>
                  </a:lnTo>
                  <a:lnTo>
                    <a:pt x="1641" y="3014"/>
                  </a:lnTo>
                  <a:lnTo>
                    <a:pt x="1656" y="3003"/>
                  </a:lnTo>
                  <a:lnTo>
                    <a:pt x="1625" y="3003"/>
                  </a:lnTo>
                  <a:lnTo>
                    <a:pt x="1596" y="2981"/>
                  </a:lnTo>
                  <a:lnTo>
                    <a:pt x="1596" y="2958"/>
                  </a:lnTo>
                  <a:lnTo>
                    <a:pt x="1618" y="2941"/>
                  </a:lnTo>
                  <a:lnTo>
                    <a:pt x="1596" y="2958"/>
                  </a:lnTo>
                  <a:lnTo>
                    <a:pt x="1604" y="2925"/>
                  </a:lnTo>
                  <a:lnTo>
                    <a:pt x="1634" y="2920"/>
                  </a:lnTo>
                  <a:lnTo>
                    <a:pt x="1604" y="2925"/>
                  </a:lnTo>
                  <a:lnTo>
                    <a:pt x="1587" y="2948"/>
                  </a:lnTo>
                  <a:lnTo>
                    <a:pt x="1587" y="2925"/>
                  </a:lnTo>
                  <a:lnTo>
                    <a:pt x="1604" y="2920"/>
                  </a:lnTo>
                  <a:lnTo>
                    <a:pt x="1570" y="2925"/>
                  </a:lnTo>
                  <a:lnTo>
                    <a:pt x="1570" y="2908"/>
                  </a:lnTo>
                  <a:lnTo>
                    <a:pt x="1613" y="2892"/>
                  </a:lnTo>
                  <a:lnTo>
                    <a:pt x="1549" y="2908"/>
                  </a:lnTo>
                  <a:lnTo>
                    <a:pt x="1559" y="2892"/>
                  </a:lnTo>
                  <a:lnTo>
                    <a:pt x="1542" y="2903"/>
                  </a:lnTo>
                  <a:lnTo>
                    <a:pt x="1533" y="2887"/>
                  </a:lnTo>
                  <a:lnTo>
                    <a:pt x="1596" y="2875"/>
                  </a:lnTo>
                  <a:lnTo>
                    <a:pt x="1542" y="2875"/>
                  </a:lnTo>
                  <a:lnTo>
                    <a:pt x="1528" y="2870"/>
                  </a:lnTo>
                  <a:lnTo>
                    <a:pt x="1566" y="2863"/>
                  </a:lnTo>
                  <a:lnTo>
                    <a:pt x="1542" y="2863"/>
                  </a:lnTo>
                  <a:lnTo>
                    <a:pt x="1533" y="2854"/>
                  </a:lnTo>
                  <a:lnTo>
                    <a:pt x="1570" y="2854"/>
                  </a:lnTo>
                  <a:lnTo>
                    <a:pt x="1580" y="2847"/>
                  </a:lnTo>
                  <a:lnTo>
                    <a:pt x="1542" y="2847"/>
                  </a:lnTo>
                  <a:lnTo>
                    <a:pt x="1533" y="2854"/>
                  </a:lnTo>
                  <a:lnTo>
                    <a:pt x="1533" y="2863"/>
                  </a:lnTo>
                  <a:lnTo>
                    <a:pt x="1504" y="2837"/>
                  </a:lnTo>
                  <a:lnTo>
                    <a:pt x="1549" y="2814"/>
                  </a:lnTo>
                  <a:lnTo>
                    <a:pt x="1511" y="2830"/>
                  </a:lnTo>
                  <a:lnTo>
                    <a:pt x="1511" y="2821"/>
                  </a:lnTo>
                  <a:lnTo>
                    <a:pt x="1516" y="2821"/>
                  </a:lnTo>
                  <a:lnTo>
                    <a:pt x="1516" y="2814"/>
                  </a:lnTo>
                  <a:lnTo>
                    <a:pt x="1495" y="2809"/>
                  </a:lnTo>
                  <a:lnTo>
                    <a:pt x="1613" y="2781"/>
                  </a:lnTo>
                  <a:lnTo>
                    <a:pt x="1570" y="2781"/>
                  </a:lnTo>
                  <a:lnTo>
                    <a:pt x="1580" y="2776"/>
                  </a:lnTo>
                  <a:lnTo>
                    <a:pt x="1511" y="2797"/>
                  </a:lnTo>
                  <a:lnTo>
                    <a:pt x="1495" y="2792"/>
                  </a:lnTo>
                  <a:lnTo>
                    <a:pt x="1516" y="2792"/>
                  </a:lnTo>
                  <a:lnTo>
                    <a:pt x="1490" y="2781"/>
                  </a:lnTo>
                  <a:lnTo>
                    <a:pt x="1549" y="2781"/>
                  </a:lnTo>
                  <a:lnTo>
                    <a:pt x="1559" y="2776"/>
                  </a:lnTo>
                  <a:lnTo>
                    <a:pt x="1542" y="2776"/>
                  </a:lnTo>
                  <a:lnTo>
                    <a:pt x="1559" y="2759"/>
                  </a:lnTo>
                  <a:lnTo>
                    <a:pt x="1587" y="2764"/>
                  </a:lnTo>
                  <a:lnTo>
                    <a:pt x="1604" y="2759"/>
                  </a:lnTo>
                  <a:lnTo>
                    <a:pt x="1570" y="2759"/>
                  </a:lnTo>
                  <a:lnTo>
                    <a:pt x="1570" y="2752"/>
                  </a:lnTo>
                  <a:lnTo>
                    <a:pt x="1580" y="2743"/>
                  </a:lnTo>
                  <a:lnTo>
                    <a:pt x="1549" y="2736"/>
                  </a:lnTo>
                  <a:lnTo>
                    <a:pt x="1580" y="2726"/>
                  </a:lnTo>
                  <a:lnTo>
                    <a:pt x="1566" y="2726"/>
                  </a:lnTo>
                  <a:lnTo>
                    <a:pt x="1580" y="2726"/>
                  </a:lnTo>
                  <a:lnTo>
                    <a:pt x="1596" y="2726"/>
                  </a:lnTo>
                  <a:lnTo>
                    <a:pt x="1604" y="2752"/>
                  </a:lnTo>
                  <a:lnTo>
                    <a:pt x="1641" y="2764"/>
                  </a:lnTo>
                  <a:lnTo>
                    <a:pt x="1613" y="2743"/>
                  </a:lnTo>
                  <a:lnTo>
                    <a:pt x="1604" y="2736"/>
                  </a:lnTo>
                  <a:lnTo>
                    <a:pt x="1618" y="2726"/>
                  </a:lnTo>
                  <a:lnTo>
                    <a:pt x="1596" y="2726"/>
                  </a:lnTo>
                  <a:lnTo>
                    <a:pt x="1613" y="2703"/>
                  </a:lnTo>
                  <a:lnTo>
                    <a:pt x="1596" y="2719"/>
                  </a:lnTo>
                  <a:lnTo>
                    <a:pt x="1570" y="2719"/>
                  </a:lnTo>
                  <a:lnTo>
                    <a:pt x="1566" y="2698"/>
                  </a:lnTo>
                  <a:lnTo>
                    <a:pt x="1549" y="2665"/>
                  </a:lnTo>
                  <a:lnTo>
                    <a:pt x="1549" y="2698"/>
                  </a:lnTo>
                  <a:lnTo>
                    <a:pt x="1566" y="2698"/>
                  </a:lnTo>
                  <a:lnTo>
                    <a:pt x="1570" y="2719"/>
                  </a:lnTo>
                  <a:lnTo>
                    <a:pt x="1533" y="2736"/>
                  </a:lnTo>
                  <a:lnTo>
                    <a:pt x="1528" y="2736"/>
                  </a:lnTo>
                  <a:lnTo>
                    <a:pt x="1542" y="2719"/>
                  </a:lnTo>
                  <a:lnTo>
                    <a:pt x="1528" y="2719"/>
                  </a:lnTo>
                  <a:lnTo>
                    <a:pt x="1495" y="2776"/>
                  </a:lnTo>
                  <a:lnTo>
                    <a:pt x="1474" y="2781"/>
                  </a:lnTo>
                  <a:lnTo>
                    <a:pt x="1474" y="2759"/>
                  </a:lnTo>
                  <a:lnTo>
                    <a:pt x="1462" y="2759"/>
                  </a:lnTo>
                  <a:lnTo>
                    <a:pt x="1474" y="2736"/>
                  </a:lnTo>
                  <a:lnTo>
                    <a:pt x="1462" y="2726"/>
                  </a:lnTo>
                  <a:lnTo>
                    <a:pt x="1504" y="2710"/>
                  </a:lnTo>
                  <a:lnTo>
                    <a:pt x="1528" y="2686"/>
                  </a:lnTo>
                  <a:lnTo>
                    <a:pt x="1495" y="2703"/>
                  </a:lnTo>
                  <a:lnTo>
                    <a:pt x="1504" y="2698"/>
                  </a:lnTo>
                  <a:lnTo>
                    <a:pt x="1495" y="2686"/>
                  </a:lnTo>
                  <a:lnTo>
                    <a:pt x="1478" y="2710"/>
                  </a:lnTo>
                  <a:lnTo>
                    <a:pt x="1462" y="2710"/>
                  </a:lnTo>
                  <a:lnTo>
                    <a:pt x="1478" y="2703"/>
                  </a:lnTo>
                  <a:lnTo>
                    <a:pt x="1474" y="2703"/>
                  </a:lnTo>
                  <a:lnTo>
                    <a:pt x="1457" y="2710"/>
                  </a:lnTo>
                  <a:lnTo>
                    <a:pt x="1457" y="2703"/>
                  </a:lnTo>
                  <a:lnTo>
                    <a:pt x="1474" y="2698"/>
                  </a:lnTo>
                  <a:lnTo>
                    <a:pt x="1457" y="2681"/>
                  </a:lnTo>
                  <a:lnTo>
                    <a:pt x="1462" y="2665"/>
                  </a:lnTo>
                  <a:lnTo>
                    <a:pt x="1452" y="2665"/>
                  </a:lnTo>
                  <a:lnTo>
                    <a:pt x="1457" y="2653"/>
                  </a:lnTo>
                  <a:lnTo>
                    <a:pt x="1441" y="2670"/>
                  </a:lnTo>
                  <a:lnTo>
                    <a:pt x="1436" y="2653"/>
                  </a:lnTo>
                  <a:lnTo>
                    <a:pt x="1495" y="2625"/>
                  </a:lnTo>
                  <a:lnTo>
                    <a:pt x="1478" y="2615"/>
                  </a:lnTo>
                  <a:lnTo>
                    <a:pt x="1495" y="2608"/>
                  </a:lnTo>
                  <a:lnTo>
                    <a:pt x="1528" y="2599"/>
                  </a:lnTo>
                  <a:lnTo>
                    <a:pt x="1580" y="2608"/>
                  </a:lnTo>
                  <a:lnTo>
                    <a:pt x="1511" y="2599"/>
                  </a:lnTo>
                  <a:lnTo>
                    <a:pt x="1478" y="2615"/>
                  </a:lnTo>
                  <a:lnTo>
                    <a:pt x="1478" y="2625"/>
                  </a:lnTo>
                  <a:lnTo>
                    <a:pt x="1441" y="2648"/>
                  </a:lnTo>
                  <a:lnTo>
                    <a:pt x="1436" y="2632"/>
                  </a:lnTo>
                  <a:lnTo>
                    <a:pt x="1441" y="2615"/>
                  </a:lnTo>
                  <a:lnTo>
                    <a:pt x="1424" y="2632"/>
                  </a:lnTo>
                  <a:lnTo>
                    <a:pt x="1419" y="2625"/>
                  </a:lnTo>
                  <a:lnTo>
                    <a:pt x="1436" y="2615"/>
                  </a:lnTo>
                  <a:lnTo>
                    <a:pt x="1419" y="2615"/>
                  </a:lnTo>
                  <a:lnTo>
                    <a:pt x="1424" y="2592"/>
                  </a:lnTo>
                  <a:lnTo>
                    <a:pt x="1419" y="2608"/>
                  </a:lnTo>
                  <a:lnTo>
                    <a:pt x="1386" y="2608"/>
                  </a:lnTo>
                  <a:lnTo>
                    <a:pt x="1408" y="2592"/>
                  </a:lnTo>
                  <a:lnTo>
                    <a:pt x="1386" y="2599"/>
                  </a:lnTo>
                  <a:lnTo>
                    <a:pt x="1424" y="2575"/>
                  </a:lnTo>
                  <a:lnTo>
                    <a:pt x="1452" y="2587"/>
                  </a:lnTo>
                  <a:lnTo>
                    <a:pt x="1478" y="2570"/>
                  </a:lnTo>
                  <a:lnTo>
                    <a:pt x="1490" y="2575"/>
                  </a:lnTo>
                  <a:lnTo>
                    <a:pt x="1490" y="2570"/>
                  </a:lnTo>
                  <a:lnTo>
                    <a:pt x="1452" y="2587"/>
                  </a:lnTo>
                  <a:lnTo>
                    <a:pt x="1436" y="2575"/>
                  </a:lnTo>
                  <a:lnTo>
                    <a:pt x="1398" y="2592"/>
                  </a:lnTo>
                  <a:lnTo>
                    <a:pt x="1386" y="2587"/>
                  </a:lnTo>
                  <a:lnTo>
                    <a:pt x="1408" y="2570"/>
                  </a:lnTo>
                  <a:lnTo>
                    <a:pt x="1386" y="2575"/>
                  </a:lnTo>
                  <a:lnTo>
                    <a:pt x="1370" y="2575"/>
                  </a:lnTo>
                  <a:lnTo>
                    <a:pt x="1398" y="2570"/>
                  </a:lnTo>
                  <a:lnTo>
                    <a:pt x="1370" y="2570"/>
                  </a:lnTo>
                  <a:lnTo>
                    <a:pt x="1474" y="2514"/>
                  </a:lnTo>
                  <a:lnTo>
                    <a:pt x="1478" y="2497"/>
                  </a:lnTo>
                  <a:lnTo>
                    <a:pt x="1528" y="2476"/>
                  </a:lnTo>
                  <a:lnTo>
                    <a:pt x="1587" y="2476"/>
                  </a:lnTo>
                  <a:lnTo>
                    <a:pt x="1542" y="2464"/>
                  </a:lnTo>
                  <a:lnTo>
                    <a:pt x="1566" y="2448"/>
                  </a:lnTo>
                  <a:lnTo>
                    <a:pt x="1613" y="2459"/>
                  </a:lnTo>
                  <a:lnTo>
                    <a:pt x="1570" y="2448"/>
                  </a:lnTo>
                  <a:lnTo>
                    <a:pt x="1587" y="2443"/>
                  </a:lnTo>
                  <a:lnTo>
                    <a:pt x="1533" y="2464"/>
                  </a:lnTo>
                  <a:lnTo>
                    <a:pt x="1403" y="2554"/>
                  </a:lnTo>
                  <a:lnTo>
                    <a:pt x="1370" y="2559"/>
                  </a:lnTo>
                  <a:lnTo>
                    <a:pt x="1353" y="2554"/>
                  </a:lnTo>
                  <a:lnTo>
                    <a:pt x="1398" y="2537"/>
                  </a:lnTo>
                  <a:lnTo>
                    <a:pt x="1365" y="2542"/>
                  </a:lnTo>
                  <a:lnTo>
                    <a:pt x="1353" y="2537"/>
                  </a:lnTo>
                  <a:lnTo>
                    <a:pt x="1353" y="2514"/>
                  </a:lnTo>
                  <a:lnTo>
                    <a:pt x="1441" y="2504"/>
                  </a:lnTo>
                  <a:lnTo>
                    <a:pt x="1386" y="2504"/>
                  </a:lnTo>
                  <a:lnTo>
                    <a:pt x="1370" y="2497"/>
                  </a:lnTo>
                  <a:lnTo>
                    <a:pt x="1436" y="2488"/>
                  </a:lnTo>
                  <a:lnTo>
                    <a:pt x="1386" y="2481"/>
                  </a:lnTo>
                  <a:lnTo>
                    <a:pt x="1419" y="2481"/>
                  </a:lnTo>
                  <a:lnTo>
                    <a:pt x="1398" y="2481"/>
                  </a:lnTo>
                  <a:lnTo>
                    <a:pt x="1403" y="2476"/>
                  </a:lnTo>
                  <a:lnTo>
                    <a:pt x="1457" y="2476"/>
                  </a:lnTo>
                  <a:lnTo>
                    <a:pt x="1441" y="2464"/>
                  </a:lnTo>
                  <a:lnTo>
                    <a:pt x="1353" y="2464"/>
                  </a:lnTo>
                  <a:lnTo>
                    <a:pt x="1348" y="2459"/>
                  </a:lnTo>
                  <a:lnTo>
                    <a:pt x="1386" y="2448"/>
                  </a:lnTo>
                  <a:lnTo>
                    <a:pt x="1348" y="2443"/>
                  </a:lnTo>
                  <a:lnTo>
                    <a:pt x="1382" y="2443"/>
                  </a:lnTo>
                  <a:lnTo>
                    <a:pt x="1332" y="2443"/>
                  </a:lnTo>
                  <a:lnTo>
                    <a:pt x="1348" y="2431"/>
                  </a:lnTo>
                  <a:lnTo>
                    <a:pt x="1382" y="2426"/>
                  </a:lnTo>
                  <a:lnTo>
                    <a:pt x="1365" y="2426"/>
                  </a:lnTo>
                  <a:lnTo>
                    <a:pt x="1462" y="2410"/>
                  </a:lnTo>
                  <a:lnTo>
                    <a:pt x="1511" y="2410"/>
                  </a:lnTo>
                  <a:lnTo>
                    <a:pt x="1533" y="2431"/>
                  </a:lnTo>
                  <a:lnTo>
                    <a:pt x="1587" y="2431"/>
                  </a:lnTo>
                  <a:lnTo>
                    <a:pt x="1533" y="2431"/>
                  </a:lnTo>
                  <a:lnTo>
                    <a:pt x="1511" y="2410"/>
                  </a:lnTo>
                  <a:lnTo>
                    <a:pt x="1533" y="2403"/>
                  </a:lnTo>
                  <a:lnTo>
                    <a:pt x="1386" y="2410"/>
                  </a:lnTo>
                  <a:lnTo>
                    <a:pt x="1348" y="2426"/>
                  </a:lnTo>
                  <a:lnTo>
                    <a:pt x="1344" y="2419"/>
                  </a:lnTo>
                  <a:lnTo>
                    <a:pt x="1353" y="2393"/>
                  </a:lnTo>
                  <a:lnTo>
                    <a:pt x="1408" y="2370"/>
                  </a:lnTo>
                  <a:lnTo>
                    <a:pt x="1398" y="2370"/>
                  </a:lnTo>
                  <a:lnTo>
                    <a:pt x="1403" y="2370"/>
                  </a:lnTo>
                  <a:lnTo>
                    <a:pt x="1436" y="2365"/>
                  </a:lnTo>
                  <a:lnTo>
                    <a:pt x="1419" y="2365"/>
                  </a:lnTo>
                  <a:lnTo>
                    <a:pt x="1441" y="2365"/>
                  </a:lnTo>
                  <a:lnTo>
                    <a:pt x="1490" y="2377"/>
                  </a:lnTo>
                  <a:lnTo>
                    <a:pt x="1516" y="2370"/>
                  </a:lnTo>
                  <a:lnTo>
                    <a:pt x="1566" y="2393"/>
                  </a:lnTo>
                  <a:lnTo>
                    <a:pt x="1604" y="2393"/>
                  </a:lnTo>
                  <a:lnTo>
                    <a:pt x="1613" y="2386"/>
                  </a:lnTo>
                  <a:lnTo>
                    <a:pt x="1570" y="2393"/>
                  </a:lnTo>
                  <a:lnTo>
                    <a:pt x="1559" y="2377"/>
                  </a:lnTo>
                  <a:lnTo>
                    <a:pt x="1596" y="2365"/>
                  </a:lnTo>
                  <a:lnTo>
                    <a:pt x="1618" y="2370"/>
                  </a:lnTo>
                  <a:lnTo>
                    <a:pt x="1596" y="2365"/>
                  </a:lnTo>
                  <a:lnTo>
                    <a:pt x="1542" y="2377"/>
                  </a:lnTo>
                  <a:lnTo>
                    <a:pt x="1528" y="2365"/>
                  </a:lnTo>
                  <a:lnTo>
                    <a:pt x="1587" y="2348"/>
                  </a:lnTo>
                  <a:lnTo>
                    <a:pt x="1559" y="2337"/>
                  </a:lnTo>
                  <a:lnTo>
                    <a:pt x="1559" y="2348"/>
                  </a:lnTo>
                  <a:lnTo>
                    <a:pt x="1566" y="2348"/>
                  </a:lnTo>
                  <a:lnTo>
                    <a:pt x="1533" y="2365"/>
                  </a:lnTo>
                  <a:lnTo>
                    <a:pt x="1516" y="2348"/>
                  </a:lnTo>
                  <a:lnTo>
                    <a:pt x="1549" y="2348"/>
                  </a:lnTo>
                  <a:lnTo>
                    <a:pt x="1542" y="2332"/>
                  </a:lnTo>
                  <a:lnTo>
                    <a:pt x="1504" y="2337"/>
                  </a:lnTo>
                  <a:lnTo>
                    <a:pt x="1516" y="2353"/>
                  </a:lnTo>
                  <a:lnTo>
                    <a:pt x="1495" y="2370"/>
                  </a:lnTo>
                  <a:lnTo>
                    <a:pt x="1490" y="2365"/>
                  </a:lnTo>
                  <a:lnTo>
                    <a:pt x="1504" y="2353"/>
                  </a:lnTo>
                  <a:lnTo>
                    <a:pt x="1452" y="2353"/>
                  </a:lnTo>
                  <a:lnTo>
                    <a:pt x="1504" y="2332"/>
                  </a:lnTo>
                  <a:lnTo>
                    <a:pt x="1403" y="2365"/>
                  </a:lnTo>
                  <a:lnTo>
                    <a:pt x="1365" y="2386"/>
                  </a:lnTo>
                  <a:lnTo>
                    <a:pt x="1353" y="2386"/>
                  </a:lnTo>
                  <a:lnTo>
                    <a:pt x="1348" y="2377"/>
                  </a:lnTo>
                  <a:lnTo>
                    <a:pt x="1365" y="2370"/>
                  </a:lnTo>
                  <a:lnTo>
                    <a:pt x="1353" y="2353"/>
                  </a:lnTo>
                  <a:lnTo>
                    <a:pt x="1382" y="2353"/>
                  </a:lnTo>
                  <a:lnTo>
                    <a:pt x="1370" y="2348"/>
                  </a:lnTo>
                  <a:lnTo>
                    <a:pt x="1386" y="2353"/>
                  </a:lnTo>
                  <a:lnTo>
                    <a:pt x="1403" y="2348"/>
                  </a:lnTo>
                  <a:lnTo>
                    <a:pt x="1386" y="2348"/>
                  </a:lnTo>
                  <a:lnTo>
                    <a:pt x="1386" y="2337"/>
                  </a:lnTo>
                  <a:lnTo>
                    <a:pt x="1408" y="2332"/>
                  </a:lnTo>
                  <a:lnTo>
                    <a:pt x="1386" y="2332"/>
                  </a:lnTo>
                  <a:lnTo>
                    <a:pt x="1386" y="2320"/>
                  </a:lnTo>
                  <a:lnTo>
                    <a:pt x="1457" y="2337"/>
                  </a:lnTo>
                  <a:lnTo>
                    <a:pt x="1474" y="2332"/>
                  </a:lnTo>
                  <a:lnTo>
                    <a:pt x="1424" y="2332"/>
                  </a:lnTo>
                  <a:lnTo>
                    <a:pt x="1398" y="2315"/>
                  </a:lnTo>
                  <a:lnTo>
                    <a:pt x="1370" y="2315"/>
                  </a:lnTo>
                  <a:lnTo>
                    <a:pt x="1382" y="2308"/>
                  </a:lnTo>
                  <a:lnTo>
                    <a:pt x="1452" y="2320"/>
                  </a:lnTo>
                  <a:lnTo>
                    <a:pt x="1419" y="2308"/>
                  </a:lnTo>
                  <a:lnTo>
                    <a:pt x="1490" y="2320"/>
                  </a:lnTo>
                  <a:lnTo>
                    <a:pt x="1533" y="2320"/>
                  </a:lnTo>
                  <a:lnTo>
                    <a:pt x="1570" y="2337"/>
                  </a:lnTo>
                  <a:lnTo>
                    <a:pt x="1604" y="2337"/>
                  </a:lnTo>
                  <a:lnTo>
                    <a:pt x="1511" y="2308"/>
                  </a:lnTo>
                  <a:lnTo>
                    <a:pt x="1549" y="2308"/>
                  </a:lnTo>
                  <a:lnTo>
                    <a:pt x="1528" y="2299"/>
                  </a:lnTo>
                  <a:lnTo>
                    <a:pt x="1533" y="2292"/>
                  </a:lnTo>
                  <a:lnTo>
                    <a:pt x="1533" y="2282"/>
                  </a:lnTo>
                  <a:lnTo>
                    <a:pt x="1559" y="2266"/>
                  </a:lnTo>
                  <a:lnTo>
                    <a:pt x="1504" y="2275"/>
                  </a:lnTo>
                  <a:lnTo>
                    <a:pt x="1528" y="2292"/>
                  </a:lnTo>
                  <a:lnTo>
                    <a:pt x="1441" y="2308"/>
                  </a:lnTo>
                  <a:lnTo>
                    <a:pt x="1441" y="2308"/>
                  </a:lnTo>
                  <a:lnTo>
                    <a:pt x="1441" y="2308"/>
                  </a:lnTo>
                  <a:close/>
                  <a:moveTo>
                    <a:pt x="2343" y="45"/>
                  </a:moveTo>
                  <a:lnTo>
                    <a:pt x="2374" y="41"/>
                  </a:lnTo>
                  <a:lnTo>
                    <a:pt x="2390" y="57"/>
                  </a:lnTo>
                  <a:lnTo>
                    <a:pt x="2343" y="45"/>
                  </a:lnTo>
                  <a:lnTo>
                    <a:pt x="2343" y="45"/>
                  </a:lnTo>
                  <a:lnTo>
                    <a:pt x="2343" y="45"/>
                  </a:lnTo>
                  <a:close/>
                  <a:moveTo>
                    <a:pt x="2390" y="83"/>
                  </a:moveTo>
                  <a:lnTo>
                    <a:pt x="2267" y="62"/>
                  </a:lnTo>
                  <a:lnTo>
                    <a:pt x="2298" y="45"/>
                  </a:lnTo>
                  <a:lnTo>
                    <a:pt x="2411" y="83"/>
                  </a:lnTo>
                  <a:lnTo>
                    <a:pt x="2390" y="83"/>
                  </a:lnTo>
                  <a:lnTo>
                    <a:pt x="2390" y="83"/>
                  </a:lnTo>
                  <a:lnTo>
                    <a:pt x="2390" y="83"/>
                  </a:lnTo>
                  <a:close/>
                  <a:moveTo>
                    <a:pt x="2284" y="67"/>
                  </a:moveTo>
                  <a:lnTo>
                    <a:pt x="2315" y="67"/>
                  </a:lnTo>
                  <a:lnTo>
                    <a:pt x="2272" y="67"/>
                  </a:lnTo>
                  <a:lnTo>
                    <a:pt x="2284" y="67"/>
                  </a:lnTo>
                  <a:lnTo>
                    <a:pt x="2284" y="67"/>
                  </a:lnTo>
                  <a:lnTo>
                    <a:pt x="2284" y="67"/>
                  </a:lnTo>
                  <a:close/>
                  <a:moveTo>
                    <a:pt x="2411" y="83"/>
                  </a:moveTo>
                  <a:lnTo>
                    <a:pt x="2411" y="78"/>
                  </a:lnTo>
                  <a:lnTo>
                    <a:pt x="2449" y="83"/>
                  </a:lnTo>
                  <a:lnTo>
                    <a:pt x="2411" y="83"/>
                  </a:lnTo>
                  <a:lnTo>
                    <a:pt x="2411" y="83"/>
                  </a:lnTo>
                  <a:lnTo>
                    <a:pt x="2411" y="83"/>
                  </a:lnTo>
                  <a:close/>
                  <a:moveTo>
                    <a:pt x="2322" y="116"/>
                  </a:moveTo>
                  <a:lnTo>
                    <a:pt x="2213" y="78"/>
                  </a:lnTo>
                  <a:lnTo>
                    <a:pt x="2260" y="78"/>
                  </a:lnTo>
                  <a:lnTo>
                    <a:pt x="2322" y="116"/>
                  </a:lnTo>
                  <a:lnTo>
                    <a:pt x="2322" y="116"/>
                  </a:lnTo>
                  <a:lnTo>
                    <a:pt x="2322" y="116"/>
                  </a:lnTo>
                  <a:close/>
                  <a:moveTo>
                    <a:pt x="2343" y="111"/>
                  </a:moveTo>
                  <a:lnTo>
                    <a:pt x="2272" y="83"/>
                  </a:lnTo>
                  <a:lnTo>
                    <a:pt x="2369" y="95"/>
                  </a:lnTo>
                  <a:lnTo>
                    <a:pt x="2343" y="111"/>
                  </a:lnTo>
                  <a:lnTo>
                    <a:pt x="2343" y="111"/>
                  </a:lnTo>
                  <a:lnTo>
                    <a:pt x="2343" y="111"/>
                  </a:lnTo>
                  <a:close/>
                  <a:moveTo>
                    <a:pt x="1840" y="140"/>
                  </a:moveTo>
                  <a:lnTo>
                    <a:pt x="1802" y="123"/>
                  </a:lnTo>
                  <a:lnTo>
                    <a:pt x="1868" y="140"/>
                  </a:lnTo>
                  <a:lnTo>
                    <a:pt x="1840" y="140"/>
                  </a:lnTo>
                  <a:lnTo>
                    <a:pt x="1840" y="140"/>
                  </a:lnTo>
                  <a:lnTo>
                    <a:pt x="1840" y="140"/>
                  </a:lnTo>
                  <a:close/>
                  <a:moveTo>
                    <a:pt x="1731" y="152"/>
                  </a:moveTo>
                  <a:lnTo>
                    <a:pt x="1726" y="135"/>
                  </a:lnTo>
                  <a:lnTo>
                    <a:pt x="1797" y="152"/>
                  </a:lnTo>
                  <a:lnTo>
                    <a:pt x="1731" y="152"/>
                  </a:lnTo>
                  <a:lnTo>
                    <a:pt x="1731" y="152"/>
                  </a:lnTo>
                  <a:lnTo>
                    <a:pt x="1731" y="152"/>
                  </a:lnTo>
                  <a:close/>
                  <a:moveTo>
                    <a:pt x="2298" y="173"/>
                  </a:moveTo>
                  <a:lnTo>
                    <a:pt x="2284" y="168"/>
                  </a:lnTo>
                  <a:lnTo>
                    <a:pt x="2305" y="173"/>
                  </a:lnTo>
                  <a:lnTo>
                    <a:pt x="2298" y="173"/>
                  </a:lnTo>
                  <a:lnTo>
                    <a:pt x="2298" y="173"/>
                  </a:lnTo>
                  <a:lnTo>
                    <a:pt x="2298" y="173"/>
                  </a:lnTo>
                  <a:close/>
                  <a:moveTo>
                    <a:pt x="1965" y="279"/>
                  </a:moveTo>
                  <a:lnTo>
                    <a:pt x="1937" y="251"/>
                  </a:lnTo>
                  <a:lnTo>
                    <a:pt x="1830" y="222"/>
                  </a:lnTo>
                  <a:lnTo>
                    <a:pt x="1776" y="178"/>
                  </a:lnTo>
                  <a:lnTo>
                    <a:pt x="1882" y="173"/>
                  </a:lnTo>
                  <a:lnTo>
                    <a:pt x="2003" y="222"/>
                  </a:lnTo>
                  <a:lnTo>
                    <a:pt x="1958" y="251"/>
                  </a:lnTo>
                  <a:lnTo>
                    <a:pt x="1982" y="267"/>
                  </a:lnTo>
                  <a:lnTo>
                    <a:pt x="1965" y="279"/>
                  </a:lnTo>
                  <a:lnTo>
                    <a:pt x="1965" y="279"/>
                  </a:lnTo>
                  <a:lnTo>
                    <a:pt x="1965" y="279"/>
                  </a:lnTo>
                  <a:close/>
                  <a:moveTo>
                    <a:pt x="1731" y="211"/>
                  </a:moveTo>
                  <a:lnTo>
                    <a:pt x="1693" y="194"/>
                  </a:lnTo>
                  <a:lnTo>
                    <a:pt x="1748" y="206"/>
                  </a:lnTo>
                  <a:lnTo>
                    <a:pt x="1731" y="211"/>
                  </a:lnTo>
                  <a:lnTo>
                    <a:pt x="1731" y="211"/>
                  </a:lnTo>
                  <a:lnTo>
                    <a:pt x="1731" y="211"/>
                  </a:lnTo>
                  <a:close/>
                  <a:moveTo>
                    <a:pt x="1528" y="296"/>
                  </a:moveTo>
                  <a:lnTo>
                    <a:pt x="1403" y="267"/>
                  </a:lnTo>
                  <a:lnTo>
                    <a:pt x="1382" y="244"/>
                  </a:lnTo>
                  <a:lnTo>
                    <a:pt x="1398" y="227"/>
                  </a:lnTo>
                  <a:lnTo>
                    <a:pt x="1419" y="239"/>
                  </a:lnTo>
                  <a:lnTo>
                    <a:pt x="1528" y="296"/>
                  </a:lnTo>
                  <a:lnTo>
                    <a:pt x="1528" y="296"/>
                  </a:lnTo>
                  <a:lnTo>
                    <a:pt x="1528" y="296"/>
                  </a:lnTo>
                  <a:close/>
                  <a:moveTo>
                    <a:pt x="1462" y="251"/>
                  </a:moveTo>
                  <a:lnTo>
                    <a:pt x="1457" y="239"/>
                  </a:lnTo>
                  <a:lnTo>
                    <a:pt x="1490" y="251"/>
                  </a:lnTo>
                  <a:lnTo>
                    <a:pt x="1462" y="251"/>
                  </a:lnTo>
                  <a:lnTo>
                    <a:pt x="1462" y="251"/>
                  </a:lnTo>
                  <a:lnTo>
                    <a:pt x="1462" y="251"/>
                  </a:lnTo>
                  <a:close/>
                  <a:moveTo>
                    <a:pt x="3789" y="284"/>
                  </a:moveTo>
                  <a:lnTo>
                    <a:pt x="3763" y="251"/>
                  </a:lnTo>
                  <a:lnTo>
                    <a:pt x="3800" y="296"/>
                  </a:lnTo>
                  <a:lnTo>
                    <a:pt x="3789" y="284"/>
                  </a:lnTo>
                  <a:lnTo>
                    <a:pt x="3789" y="284"/>
                  </a:lnTo>
                  <a:lnTo>
                    <a:pt x="3789" y="284"/>
                  </a:lnTo>
                  <a:close/>
                  <a:moveTo>
                    <a:pt x="3704" y="305"/>
                  </a:moveTo>
                  <a:lnTo>
                    <a:pt x="3666" y="267"/>
                  </a:lnTo>
                  <a:lnTo>
                    <a:pt x="3692" y="267"/>
                  </a:lnTo>
                  <a:lnTo>
                    <a:pt x="3741" y="305"/>
                  </a:lnTo>
                  <a:lnTo>
                    <a:pt x="3704" y="305"/>
                  </a:lnTo>
                  <a:lnTo>
                    <a:pt x="3704" y="305"/>
                  </a:lnTo>
                  <a:lnTo>
                    <a:pt x="3704" y="305"/>
                  </a:lnTo>
                  <a:close/>
                  <a:moveTo>
                    <a:pt x="3817" y="350"/>
                  </a:moveTo>
                  <a:lnTo>
                    <a:pt x="3772" y="322"/>
                  </a:lnTo>
                  <a:lnTo>
                    <a:pt x="3810" y="322"/>
                  </a:lnTo>
                  <a:lnTo>
                    <a:pt x="3843" y="350"/>
                  </a:lnTo>
                  <a:lnTo>
                    <a:pt x="3817" y="350"/>
                  </a:lnTo>
                  <a:lnTo>
                    <a:pt x="3817" y="350"/>
                  </a:lnTo>
                  <a:lnTo>
                    <a:pt x="3817" y="350"/>
                  </a:lnTo>
                  <a:close/>
                  <a:moveTo>
                    <a:pt x="3654" y="355"/>
                  </a:moveTo>
                  <a:lnTo>
                    <a:pt x="3666" y="350"/>
                  </a:lnTo>
                  <a:lnTo>
                    <a:pt x="3649" y="338"/>
                  </a:lnTo>
                  <a:lnTo>
                    <a:pt x="3654" y="333"/>
                  </a:lnTo>
                  <a:lnTo>
                    <a:pt x="3708" y="338"/>
                  </a:lnTo>
                  <a:lnTo>
                    <a:pt x="3654" y="355"/>
                  </a:lnTo>
                  <a:lnTo>
                    <a:pt x="3654" y="355"/>
                  </a:lnTo>
                  <a:lnTo>
                    <a:pt x="3654" y="355"/>
                  </a:lnTo>
                  <a:close/>
                  <a:moveTo>
                    <a:pt x="3789" y="600"/>
                  </a:moveTo>
                  <a:lnTo>
                    <a:pt x="3720" y="612"/>
                  </a:lnTo>
                  <a:lnTo>
                    <a:pt x="3741" y="584"/>
                  </a:lnTo>
                  <a:lnTo>
                    <a:pt x="3789" y="600"/>
                  </a:lnTo>
                  <a:lnTo>
                    <a:pt x="3789" y="600"/>
                  </a:lnTo>
                  <a:lnTo>
                    <a:pt x="3789" y="600"/>
                  </a:lnTo>
                  <a:close/>
                  <a:moveTo>
                    <a:pt x="3763" y="749"/>
                  </a:moveTo>
                  <a:lnTo>
                    <a:pt x="3763" y="766"/>
                  </a:lnTo>
                  <a:lnTo>
                    <a:pt x="3758" y="761"/>
                  </a:lnTo>
                  <a:lnTo>
                    <a:pt x="3763" y="749"/>
                  </a:lnTo>
                  <a:lnTo>
                    <a:pt x="3763" y="749"/>
                  </a:lnTo>
                  <a:lnTo>
                    <a:pt x="3763" y="749"/>
                  </a:lnTo>
                  <a:close/>
                  <a:moveTo>
                    <a:pt x="3881" y="749"/>
                  </a:moveTo>
                  <a:lnTo>
                    <a:pt x="3885" y="761"/>
                  </a:lnTo>
                  <a:lnTo>
                    <a:pt x="3848" y="794"/>
                  </a:lnTo>
                  <a:lnTo>
                    <a:pt x="3855" y="778"/>
                  </a:lnTo>
                  <a:lnTo>
                    <a:pt x="3881" y="749"/>
                  </a:lnTo>
                  <a:lnTo>
                    <a:pt x="3881" y="749"/>
                  </a:lnTo>
                  <a:lnTo>
                    <a:pt x="3881" y="749"/>
                  </a:lnTo>
                  <a:close/>
                  <a:moveTo>
                    <a:pt x="3763" y="834"/>
                  </a:moveTo>
                  <a:lnTo>
                    <a:pt x="3734" y="822"/>
                  </a:lnTo>
                  <a:lnTo>
                    <a:pt x="3779" y="799"/>
                  </a:lnTo>
                  <a:lnTo>
                    <a:pt x="3763" y="815"/>
                  </a:lnTo>
                  <a:lnTo>
                    <a:pt x="3779" y="822"/>
                  </a:lnTo>
                  <a:lnTo>
                    <a:pt x="3758" y="822"/>
                  </a:lnTo>
                  <a:lnTo>
                    <a:pt x="3779" y="822"/>
                  </a:lnTo>
                  <a:lnTo>
                    <a:pt x="3763" y="834"/>
                  </a:lnTo>
                  <a:lnTo>
                    <a:pt x="3763" y="834"/>
                  </a:lnTo>
                  <a:lnTo>
                    <a:pt x="3763" y="834"/>
                  </a:lnTo>
                  <a:close/>
                  <a:moveTo>
                    <a:pt x="3843" y="834"/>
                  </a:moveTo>
                  <a:lnTo>
                    <a:pt x="3843" y="806"/>
                  </a:lnTo>
                  <a:lnTo>
                    <a:pt x="3855" y="815"/>
                  </a:lnTo>
                  <a:lnTo>
                    <a:pt x="3843" y="834"/>
                  </a:lnTo>
                  <a:lnTo>
                    <a:pt x="3843" y="834"/>
                  </a:lnTo>
                  <a:lnTo>
                    <a:pt x="3843" y="834"/>
                  </a:lnTo>
                  <a:close/>
                  <a:moveTo>
                    <a:pt x="3772" y="877"/>
                  </a:moveTo>
                  <a:lnTo>
                    <a:pt x="3789" y="889"/>
                  </a:lnTo>
                  <a:lnTo>
                    <a:pt x="3763" y="893"/>
                  </a:lnTo>
                  <a:lnTo>
                    <a:pt x="3763" y="889"/>
                  </a:lnTo>
                  <a:lnTo>
                    <a:pt x="3772" y="877"/>
                  </a:lnTo>
                  <a:lnTo>
                    <a:pt x="3772" y="877"/>
                  </a:lnTo>
                  <a:lnTo>
                    <a:pt x="3772" y="877"/>
                  </a:lnTo>
                  <a:close/>
                  <a:moveTo>
                    <a:pt x="3746" y="889"/>
                  </a:moveTo>
                  <a:lnTo>
                    <a:pt x="3758" y="893"/>
                  </a:lnTo>
                  <a:lnTo>
                    <a:pt x="3741" y="905"/>
                  </a:lnTo>
                  <a:lnTo>
                    <a:pt x="3741" y="889"/>
                  </a:lnTo>
                  <a:lnTo>
                    <a:pt x="3746" y="889"/>
                  </a:lnTo>
                  <a:lnTo>
                    <a:pt x="3746" y="889"/>
                  </a:lnTo>
                  <a:lnTo>
                    <a:pt x="3746" y="889"/>
                  </a:lnTo>
                  <a:close/>
                  <a:moveTo>
                    <a:pt x="3772" y="910"/>
                  </a:moveTo>
                  <a:lnTo>
                    <a:pt x="3763" y="905"/>
                  </a:lnTo>
                  <a:lnTo>
                    <a:pt x="3796" y="905"/>
                  </a:lnTo>
                  <a:lnTo>
                    <a:pt x="3772" y="910"/>
                  </a:lnTo>
                  <a:lnTo>
                    <a:pt x="3772" y="910"/>
                  </a:lnTo>
                  <a:lnTo>
                    <a:pt x="3772" y="910"/>
                  </a:lnTo>
                  <a:close/>
                  <a:moveTo>
                    <a:pt x="3649" y="917"/>
                  </a:moveTo>
                  <a:lnTo>
                    <a:pt x="3654" y="917"/>
                  </a:lnTo>
                  <a:lnTo>
                    <a:pt x="3649" y="917"/>
                  </a:lnTo>
                  <a:lnTo>
                    <a:pt x="3649" y="917"/>
                  </a:lnTo>
                  <a:lnTo>
                    <a:pt x="3649" y="917"/>
                  </a:lnTo>
                  <a:close/>
                  <a:moveTo>
                    <a:pt x="3796" y="917"/>
                  </a:moveTo>
                  <a:lnTo>
                    <a:pt x="3789" y="933"/>
                  </a:lnTo>
                  <a:lnTo>
                    <a:pt x="3779" y="926"/>
                  </a:lnTo>
                  <a:lnTo>
                    <a:pt x="3796" y="917"/>
                  </a:lnTo>
                  <a:lnTo>
                    <a:pt x="3796" y="917"/>
                  </a:lnTo>
                  <a:lnTo>
                    <a:pt x="3796" y="917"/>
                  </a:lnTo>
                  <a:close/>
                  <a:moveTo>
                    <a:pt x="3772" y="926"/>
                  </a:moveTo>
                  <a:lnTo>
                    <a:pt x="3763" y="926"/>
                  </a:lnTo>
                  <a:lnTo>
                    <a:pt x="3772" y="917"/>
                  </a:lnTo>
                  <a:lnTo>
                    <a:pt x="3772" y="926"/>
                  </a:lnTo>
                  <a:lnTo>
                    <a:pt x="3772" y="926"/>
                  </a:lnTo>
                  <a:lnTo>
                    <a:pt x="3772" y="926"/>
                  </a:lnTo>
                  <a:close/>
                  <a:moveTo>
                    <a:pt x="3637" y="945"/>
                  </a:moveTo>
                  <a:lnTo>
                    <a:pt x="3628" y="966"/>
                  </a:lnTo>
                  <a:lnTo>
                    <a:pt x="3616" y="962"/>
                  </a:lnTo>
                  <a:lnTo>
                    <a:pt x="3637" y="945"/>
                  </a:lnTo>
                  <a:lnTo>
                    <a:pt x="3637" y="945"/>
                  </a:lnTo>
                  <a:lnTo>
                    <a:pt x="3637" y="945"/>
                  </a:lnTo>
                  <a:close/>
                  <a:moveTo>
                    <a:pt x="3734" y="966"/>
                  </a:moveTo>
                  <a:lnTo>
                    <a:pt x="3772" y="971"/>
                  </a:lnTo>
                  <a:lnTo>
                    <a:pt x="3687" y="950"/>
                  </a:lnTo>
                  <a:lnTo>
                    <a:pt x="3725" y="950"/>
                  </a:lnTo>
                  <a:lnTo>
                    <a:pt x="3720" y="950"/>
                  </a:lnTo>
                  <a:lnTo>
                    <a:pt x="3734" y="966"/>
                  </a:lnTo>
                  <a:lnTo>
                    <a:pt x="3734" y="966"/>
                  </a:lnTo>
                  <a:lnTo>
                    <a:pt x="3734" y="966"/>
                  </a:lnTo>
                  <a:close/>
                  <a:moveTo>
                    <a:pt x="3746" y="962"/>
                  </a:moveTo>
                  <a:lnTo>
                    <a:pt x="3741" y="950"/>
                  </a:lnTo>
                  <a:lnTo>
                    <a:pt x="3746" y="962"/>
                  </a:lnTo>
                  <a:lnTo>
                    <a:pt x="3746" y="962"/>
                  </a:lnTo>
                  <a:lnTo>
                    <a:pt x="3746" y="962"/>
                  </a:lnTo>
                  <a:close/>
                  <a:moveTo>
                    <a:pt x="3881" y="962"/>
                  </a:moveTo>
                  <a:lnTo>
                    <a:pt x="3885" y="971"/>
                  </a:lnTo>
                  <a:lnTo>
                    <a:pt x="3881" y="988"/>
                  </a:lnTo>
                  <a:lnTo>
                    <a:pt x="3843" y="1000"/>
                  </a:lnTo>
                  <a:lnTo>
                    <a:pt x="3864" y="966"/>
                  </a:lnTo>
                  <a:lnTo>
                    <a:pt x="3881" y="962"/>
                  </a:lnTo>
                  <a:lnTo>
                    <a:pt x="3881" y="962"/>
                  </a:lnTo>
                  <a:lnTo>
                    <a:pt x="3881" y="962"/>
                  </a:lnTo>
                  <a:close/>
                  <a:moveTo>
                    <a:pt x="3708" y="1000"/>
                  </a:moveTo>
                  <a:lnTo>
                    <a:pt x="3720" y="1004"/>
                  </a:lnTo>
                  <a:lnTo>
                    <a:pt x="3687" y="1004"/>
                  </a:lnTo>
                  <a:lnTo>
                    <a:pt x="3708" y="1000"/>
                  </a:lnTo>
                  <a:lnTo>
                    <a:pt x="3708" y="1000"/>
                  </a:lnTo>
                  <a:lnTo>
                    <a:pt x="3708" y="1000"/>
                  </a:lnTo>
                  <a:close/>
                  <a:moveTo>
                    <a:pt x="432" y="1004"/>
                  </a:moveTo>
                  <a:lnTo>
                    <a:pt x="425" y="1004"/>
                  </a:lnTo>
                  <a:lnTo>
                    <a:pt x="446" y="1004"/>
                  </a:lnTo>
                  <a:lnTo>
                    <a:pt x="432" y="1004"/>
                  </a:lnTo>
                  <a:lnTo>
                    <a:pt x="432" y="1004"/>
                  </a:lnTo>
                  <a:lnTo>
                    <a:pt x="432" y="1004"/>
                  </a:lnTo>
                  <a:close/>
                  <a:moveTo>
                    <a:pt x="479" y="1028"/>
                  </a:moveTo>
                  <a:lnTo>
                    <a:pt x="437" y="1021"/>
                  </a:lnTo>
                  <a:lnTo>
                    <a:pt x="479" y="1021"/>
                  </a:lnTo>
                  <a:lnTo>
                    <a:pt x="479" y="1028"/>
                  </a:lnTo>
                  <a:lnTo>
                    <a:pt x="479" y="1028"/>
                  </a:lnTo>
                  <a:lnTo>
                    <a:pt x="479" y="1028"/>
                  </a:lnTo>
                  <a:close/>
                  <a:moveTo>
                    <a:pt x="122" y="1028"/>
                  </a:moveTo>
                  <a:lnTo>
                    <a:pt x="205" y="1037"/>
                  </a:lnTo>
                  <a:lnTo>
                    <a:pt x="139" y="1044"/>
                  </a:lnTo>
                  <a:lnTo>
                    <a:pt x="122" y="1028"/>
                  </a:lnTo>
                  <a:lnTo>
                    <a:pt x="122" y="1028"/>
                  </a:lnTo>
                  <a:lnTo>
                    <a:pt x="122" y="1028"/>
                  </a:lnTo>
                  <a:close/>
                  <a:moveTo>
                    <a:pt x="54" y="1028"/>
                  </a:moveTo>
                  <a:lnTo>
                    <a:pt x="113" y="1044"/>
                  </a:lnTo>
                  <a:lnTo>
                    <a:pt x="68" y="1054"/>
                  </a:lnTo>
                  <a:lnTo>
                    <a:pt x="30" y="1037"/>
                  </a:lnTo>
                  <a:lnTo>
                    <a:pt x="54" y="1028"/>
                  </a:lnTo>
                  <a:lnTo>
                    <a:pt x="54" y="1028"/>
                  </a:lnTo>
                  <a:lnTo>
                    <a:pt x="54" y="1028"/>
                  </a:lnTo>
                  <a:close/>
                  <a:moveTo>
                    <a:pt x="3741" y="1127"/>
                  </a:moveTo>
                  <a:lnTo>
                    <a:pt x="3746" y="1127"/>
                  </a:lnTo>
                  <a:lnTo>
                    <a:pt x="3734" y="1132"/>
                  </a:lnTo>
                  <a:lnTo>
                    <a:pt x="3741" y="1127"/>
                  </a:lnTo>
                  <a:lnTo>
                    <a:pt x="3741" y="1127"/>
                  </a:lnTo>
                  <a:lnTo>
                    <a:pt x="3741" y="1127"/>
                  </a:lnTo>
                  <a:close/>
                  <a:moveTo>
                    <a:pt x="3810" y="1226"/>
                  </a:moveTo>
                  <a:lnTo>
                    <a:pt x="3817" y="1243"/>
                  </a:lnTo>
                  <a:lnTo>
                    <a:pt x="3817" y="1266"/>
                  </a:lnTo>
                  <a:lnTo>
                    <a:pt x="3817" y="1250"/>
                  </a:lnTo>
                  <a:lnTo>
                    <a:pt x="3779" y="1172"/>
                  </a:lnTo>
                  <a:lnTo>
                    <a:pt x="3800" y="1165"/>
                  </a:lnTo>
                  <a:lnTo>
                    <a:pt x="3789" y="1155"/>
                  </a:lnTo>
                  <a:lnTo>
                    <a:pt x="3789" y="1139"/>
                  </a:lnTo>
                  <a:lnTo>
                    <a:pt x="3810" y="1155"/>
                  </a:lnTo>
                  <a:lnTo>
                    <a:pt x="3810" y="1172"/>
                  </a:lnTo>
                  <a:lnTo>
                    <a:pt x="3817" y="1222"/>
                  </a:lnTo>
                  <a:lnTo>
                    <a:pt x="3810" y="1226"/>
                  </a:lnTo>
                  <a:lnTo>
                    <a:pt x="3810" y="1226"/>
                  </a:lnTo>
                  <a:lnTo>
                    <a:pt x="3810" y="1226"/>
                  </a:lnTo>
                  <a:close/>
                  <a:moveTo>
                    <a:pt x="3741" y="1139"/>
                  </a:moveTo>
                  <a:lnTo>
                    <a:pt x="3746" y="1139"/>
                  </a:lnTo>
                  <a:lnTo>
                    <a:pt x="3725" y="1139"/>
                  </a:lnTo>
                  <a:lnTo>
                    <a:pt x="3741" y="1139"/>
                  </a:lnTo>
                  <a:lnTo>
                    <a:pt x="3741" y="1139"/>
                  </a:lnTo>
                  <a:lnTo>
                    <a:pt x="3741" y="1139"/>
                  </a:lnTo>
                  <a:close/>
                  <a:moveTo>
                    <a:pt x="3633" y="1165"/>
                  </a:moveTo>
                  <a:lnTo>
                    <a:pt x="3611" y="1155"/>
                  </a:lnTo>
                  <a:lnTo>
                    <a:pt x="3649" y="1155"/>
                  </a:lnTo>
                  <a:lnTo>
                    <a:pt x="3633" y="1165"/>
                  </a:lnTo>
                  <a:lnTo>
                    <a:pt x="3633" y="1165"/>
                  </a:lnTo>
                  <a:lnTo>
                    <a:pt x="3633" y="1165"/>
                  </a:lnTo>
                  <a:close/>
                  <a:moveTo>
                    <a:pt x="236" y="1155"/>
                  </a:moveTo>
                  <a:lnTo>
                    <a:pt x="252" y="1165"/>
                  </a:lnTo>
                  <a:lnTo>
                    <a:pt x="205" y="1165"/>
                  </a:lnTo>
                  <a:lnTo>
                    <a:pt x="236" y="1155"/>
                  </a:lnTo>
                  <a:lnTo>
                    <a:pt x="236" y="1155"/>
                  </a:lnTo>
                  <a:lnTo>
                    <a:pt x="236" y="1155"/>
                  </a:lnTo>
                  <a:close/>
                  <a:moveTo>
                    <a:pt x="3670" y="1172"/>
                  </a:moveTo>
                  <a:lnTo>
                    <a:pt x="3666" y="1189"/>
                  </a:lnTo>
                  <a:lnTo>
                    <a:pt x="3637" y="1184"/>
                  </a:lnTo>
                  <a:lnTo>
                    <a:pt x="3670" y="1172"/>
                  </a:lnTo>
                  <a:lnTo>
                    <a:pt x="3670" y="1172"/>
                  </a:lnTo>
                  <a:lnTo>
                    <a:pt x="3670" y="1172"/>
                  </a:lnTo>
                  <a:close/>
                  <a:moveTo>
                    <a:pt x="215" y="1184"/>
                  </a:moveTo>
                  <a:lnTo>
                    <a:pt x="219" y="1189"/>
                  </a:lnTo>
                  <a:lnTo>
                    <a:pt x="198" y="1184"/>
                  </a:lnTo>
                  <a:lnTo>
                    <a:pt x="215" y="1184"/>
                  </a:lnTo>
                  <a:lnTo>
                    <a:pt x="215" y="1184"/>
                  </a:lnTo>
                  <a:lnTo>
                    <a:pt x="215" y="1184"/>
                  </a:lnTo>
                  <a:close/>
                  <a:moveTo>
                    <a:pt x="3708" y="1193"/>
                  </a:moveTo>
                  <a:lnTo>
                    <a:pt x="3692" y="1210"/>
                  </a:lnTo>
                  <a:lnTo>
                    <a:pt x="3670" y="1193"/>
                  </a:lnTo>
                  <a:lnTo>
                    <a:pt x="3708" y="1193"/>
                  </a:lnTo>
                  <a:lnTo>
                    <a:pt x="3708" y="1193"/>
                  </a:lnTo>
                  <a:lnTo>
                    <a:pt x="3708" y="1193"/>
                  </a:lnTo>
                  <a:close/>
                  <a:moveTo>
                    <a:pt x="630" y="1226"/>
                  </a:moveTo>
                  <a:lnTo>
                    <a:pt x="630" y="1243"/>
                  </a:lnTo>
                  <a:lnTo>
                    <a:pt x="626" y="1238"/>
                  </a:lnTo>
                  <a:lnTo>
                    <a:pt x="630" y="1226"/>
                  </a:lnTo>
                  <a:lnTo>
                    <a:pt x="630" y="1226"/>
                  </a:lnTo>
                  <a:lnTo>
                    <a:pt x="630" y="1226"/>
                  </a:lnTo>
                  <a:close/>
                  <a:moveTo>
                    <a:pt x="559" y="1238"/>
                  </a:moveTo>
                  <a:lnTo>
                    <a:pt x="559" y="1243"/>
                  </a:lnTo>
                  <a:lnTo>
                    <a:pt x="545" y="1243"/>
                  </a:lnTo>
                  <a:lnTo>
                    <a:pt x="559" y="1238"/>
                  </a:lnTo>
                  <a:lnTo>
                    <a:pt x="559" y="1238"/>
                  </a:lnTo>
                  <a:lnTo>
                    <a:pt x="559" y="1238"/>
                  </a:lnTo>
                  <a:close/>
                  <a:moveTo>
                    <a:pt x="3864" y="1337"/>
                  </a:moveTo>
                  <a:lnTo>
                    <a:pt x="3871" y="1354"/>
                  </a:lnTo>
                  <a:lnTo>
                    <a:pt x="3843" y="1361"/>
                  </a:lnTo>
                  <a:lnTo>
                    <a:pt x="3881" y="1387"/>
                  </a:lnTo>
                  <a:lnTo>
                    <a:pt x="3909" y="1377"/>
                  </a:lnTo>
                  <a:lnTo>
                    <a:pt x="3902" y="1394"/>
                  </a:lnTo>
                  <a:lnTo>
                    <a:pt x="3885" y="1406"/>
                  </a:lnTo>
                  <a:lnTo>
                    <a:pt x="3885" y="1394"/>
                  </a:lnTo>
                  <a:lnTo>
                    <a:pt x="3871" y="1394"/>
                  </a:lnTo>
                  <a:lnTo>
                    <a:pt x="3796" y="1394"/>
                  </a:lnTo>
                  <a:lnTo>
                    <a:pt x="3800" y="1349"/>
                  </a:lnTo>
                  <a:lnTo>
                    <a:pt x="3817" y="1337"/>
                  </a:lnTo>
                  <a:lnTo>
                    <a:pt x="3843" y="1354"/>
                  </a:lnTo>
                  <a:lnTo>
                    <a:pt x="3848" y="1333"/>
                  </a:lnTo>
                  <a:lnTo>
                    <a:pt x="3864" y="1337"/>
                  </a:lnTo>
                  <a:lnTo>
                    <a:pt x="3864" y="1337"/>
                  </a:lnTo>
                  <a:lnTo>
                    <a:pt x="3864" y="1337"/>
                  </a:lnTo>
                  <a:close/>
                  <a:moveTo>
                    <a:pt x="3704" y="1387"/>
                  </a:moveTo>
                  <a:lnTo>
                    <a:pt x="3725" y="1394"/>
                  </a:lnTo>
                  <a:lnTo>
                    <a:pt x="3708" y="1411"/>
                  </a:lnTo>
                  <a:lnTo>
                    <a:pt x="3741" y="1415"/>
                  </a:lnTo>
                  <a:lnTo>
                    <a:pt x="3708" y="1444"/>
                  </a:lnTo>
                  <a:lnTo>
                    <a:pt x="3670" y="1427"/>
                  </a:lnTo>
                  <a:lnTo>
                    <a:pt x="3682" y="1411"/>
                  </a:lnTo>
                  <a:lnTo>
                    <a:pt x="3682" y="1394"/>
                  </a:lnTo>
                  <a:lnTo>
                    <a:pt x="3704" y="1387"/>
                  </a:lnTo>
                  <a:lnTo>
                    <a:pt x="3704" y="1387"/>
                  </a:lnTo>
                  <a:lnTo>
                    <a:pt x="3704" y="1387"/>
                  </a:lnTo>
                  <a:close/>
                  <a:moveTo>
                    <a:pt x="1084" y="1432"/>
                  </a:moveTo>
                  <a:lnTo>
                    <a:pt x="1096" y="1432"/>
                  </a:lnTo>
                  <a:lnTo>
                    <a:pt x="1074" y="1432"/>
                  </a:lnTo>
                  <a:lnTo>
                    <a:pt x="1084" y="1432"/>
                  </a:lnTo>
                  <a:lnTo>
                    <a:pt x="1084" y="1432"/>
                  </a:lnTo>
                  <a:lnTo>
                    <a:pt x="1084" y="1432"/>
                  </a:lnTo>
                  <a:close/>
                  <a:moveTo>
                    <a:pt x="3833" y="1444"/>
                  </a:moveTo>
                  <a:lnTo>
                    <a:pt x="3833" y="1448"/>
                  </a:lnTo>
                  <a:lnTo>
                    <a:pt x="3826" y="1448"/>
                  </a:lnTo>
                  <a:lnTo>
                    <a:pt x="3817" y="1432"/>
                  </a:lnTo>
                  <a:lnTo>
                    <a:pt x="3833" y="1444"/>
                  </a:lnTo>
                  <a:lnTo>
                    <a:pt x="3833" y="1444"/>
                  </a:lnTo>
                  <a:lnTo>
                    <a:pt x="3833" y="1444"/>
                  </a:lnTo>
                  <a:close/>
                  <a:moveTo>
                    <a:pt x="3810" y="1448"/>
                  </a:moveTo>
                  <a:lnTo>
                    <a:pt x="3800" y="1460"/>
                  </a:lnTo>
                  <a:lnTo>
                    <a:pt x="3772" y="1460"/>
                  </a:lnTo>
                  <a:lnTo>
                    <a:pt x="3800" y="1444"/>
                  </a:lnTo>
                  <a:lnTo>
                    <a:pt x="3810" y="1448"/>
                  </a:lnTo>
                  <a:lnTo>
                    <a:pt x="3810" y="1448"/>
                  </a:lnTo>
                  <a:lnTo>
                    <a:pt x="3810" y="1448"/>
                  </a:lnTo>
                  <a:close/>
                  <a:moveTo>
                    <a:pt x="1117" y="1448"/>
                  </a:moveTo>
                  <a:lnTo>
                    <a:pt x="1100" y="1460"/>
                  </a:lnTo>
                  <a:lnTo>
                    <a:pt x="1117" y="1448"/>
                  </a:lnTo>
                  <a:lnTo>
                    <a:pt x="1117" y="1448"/>
                  </a:lnTo>
                  <a:lnTo>
                    <a:pt x="1117" y="1448"/>
                  </a:lnTo>
                  <a:close/>
                  <a:moveTo>
                    <a:pt x="1126" y="1448"/>
                  </a:moveTo>
                  <a:lnTo>
                    <a:pt x="1133" y="1460"/>
                  </a:lnTo>
                  <a:lnTo>
                    <a:pt x="1117" y="1460"/>
                  </a:lnTo>
                  <a:lnTo>
                    <a:pt x="1126" y="1448"/>
                  </a:lnTo>
                  <a:lnTo>
                    <a:pt x="1126" y="1448"/>
                  </a:lnTo>
                  <a:lnTo>
                    <a:pt x="1126" y="1448"/>
                  </a:lnTo>
                  <a:close/>
                  <a:moveTo>
                    <a:pt x="1100" y="1465"/>
                  </a:moveTo>
                  <a:lnTo>
                    <a:pt x="1164" y="1465"/>
                  </a:lnTo>
                  <a:lnTo>
                    <a:pt x="1084" y="1465"/>
                  </a:lnTo>
                  <a:lnTo>
                    <a:pt x="1100" y="1465"/>
                  </a:lnTo>
                  <a:lnTo>
                    <a:pt x="1100" y="1465"/>
                  </a:lnTo>
                  <a:lnTo>
                    <a:pt x="1100" y="1465"/>
                  </a:lnTo>
                  <a:close/>
                  <a:moveTo>
                    <a:pt x="3649" y="1472"/>
                  </a:moveTo>
                  <a:lnTo>
                    <a:pt x="3682" y="1481"/>
                  </a:lnTo>
                  <a:lnTo>
                    <a:pt x="3687" y="1498"/>
                  </a:lnTo>
                  <a:lnTo>
                    <a:pt x="3708" y="1514"/>
                  </a:lnTo>
                  <a:lnTo>
                    <a:pt x="3633" y="1526"/>
                  </a:lnTo>
                  <a:lnTo>
                    <a:pt x="3578" y="1505"/>
                  </a:lnTo>
                  <a:lnTo>
                    <a:pt x="3611" y="1481"/>
                  </a:lnTo>
                  <a:lnTo>
                    <a:pt x="3649" y="1472"/>
                  </a:lnTo>
                  <a:lnTo>
                    <a:pt x="3649" y="1472"/>
                  </a:lnTo>
                  <a:lnTo>
                    <a:pt x="3649" y="1472"/>
                  </a:lnTo>
                  <a:close/>
                  <a:moveTo>
                    <a:pt x="3708" y="1543"/>
                  </a:moveTo>
                  <a:lnTo>
                    <a:pt x="3720" y="1555"/>
                  </a:lnTo>
                  <a:lnTo>
                    <a:pt x="3704" y="1555"/>
                  </a:lnTo>
                  <a:lnTo>
                    <a:pt x="3708" y="1543"/>
                  </a:lnTo>
                  <a:lnTo>
                    <a:pt x="3708" y="1543"/>
                  </a:lnTo>
                  <a:lnTo>
                    <a:pt x="3708" y="1543"/>
                  </a:lnTo>
                  <a:close/>
                  <a:moveTo>
                    <a:pt x="1171" y="1571"/>
                  </a:moveTo>
                  <a:lnTo>
                    <a:pt x="1138" y="1555"/>
                  </a:lnTo>
                  <a:lnTo>
                    <a:pt x="1193" y="1559"/>
                  </a:lnTo>
                  <a:lnTo>
                    <a:pt x="1171" y="1571"/>
                  </a:lnTo>
                  <a:lnTo>
                    <a:pt x="1171" y="1571"/>
                  </a:lnTo>
                  <a:lnTo>
                    <a:pt x="1171" y="1571"/>
                  </a:lnTo>
                  <a:close/>
                  <a:moveTo>
                    <a:pt x="1155" y="1583"/>
                  </a:moveTo>
                  <a:lnTo>
                    <a:pt x="1171" y="1583"/>
                  </a:lnTo>
                  <a:lnTo>
                    <a:pt x="1126" y="1583"/>
                  </a:lnTo>
                  <a:lnTo>
                    <a:pt x="1155" y="1583"/>
                  </a:lnTo>
                  <a:lnTo>
                    <a:pt x="1155" y="1583"/>
                  </a:lnTo>
                  <a:lnTo>
                    <a:pt x="1155" y="1583"/>
                  </a:lnTo>
                  <a:close/>
                  <a:moveTo>
                    <a:pt x="1164" y="1600"/>
                  </a:moveTo>
                  <a:lnTo>
                    <a:pt x="1155" y="1600"/>
                  </a:lnTo>
                  <a:lnTo>
                    <a:pt x="1171" y="1583"/>
                  </a:lnTo>
                  <a:lnTo>
                    <a:pt x="1181" y="1592"/>
                  </a:lnTo>
                  <a:lnTo>
                    <a:pt x="1164" y="1600"/>
                  </a:lnTo>
                  <a:lnTo>
                    <a:pt x="1164" y="1600"/>
                  </a:lnTo>
                  <a:lnTo>
                    <a:pt x="1164" y="1600"/>
                  </a:lnTo>
                  <a:close/>
                  <a:moveTo>
                    <a:pt x="1193" y="1600"/>
                  </a:moveTo>
                  <a:lnTo>
                    <a:pt x="1235" y="1616"/>
                  </a:lnTo>
                  <a:lnTo>
                    <a:pt x="1209" y="1626"/>
                  </a:lnTo>
                  <a:lnTo>
                    <a:pt x="1219" y="1609"/>
                  </a:lnTo>
                  <a:lnTo>
                    <a:pt x="1188" y="1600"/>
                  </a:lnTo>
                  <a:lnTo>
                    <a:pt x="1193" y="1600"/>
                  </a:lnTo>
                  <a:lnTo>
                    <a:pt x="1193" y="1600"/>
                  </a:lnTo>
                  <a:lnTo>
                    <a:pt x="1193" y="1600"/>
                  </a:lnTo>
                  <a:close/>
                  <a:moveTo>
                    <a:pt x="1193" y="1609"/>
                  </a:moveTo>
                  <a:lnTo>
                    <a:pt x="1209" y="1616"/>
                  </a:lnTo>
                  <a:lnTo>
                    <a:pt x="1188" y="1616"/>
                  </a:lnTo>
                  <a:lnTo>
                    <a:pt x="1193" y="1609"/>
                  </a:lnTo>
                  <a:lnTo>
                    <a:pt x="1193" y="1609"/>
                  </a:lnTo>
                  <a:lnTo>
                    <a:pt x="1193" y="1609"/>
                  </a:lnTo>
                  <a:close/>
                  <a:moveTo>
                    <a:pt x="3406" y="1616"/>
                  </a:moveTo>
                  <a:lnTo>
                    <a:pt x="3493" y="1649"/>
                  </a:lnTo>
                  <a:lnTo>
                    <a:pt x="3368" y="1633"/>
                  </a:lnTo>
                  <a:lnTo>
                    <a:pt x="3507" y="1654"/>
                  </a:lnTo>
                  <a:lnTo>
                    <a:pt x="3406" y="1670"/>
                  </a:lnTo>
                  <a:lnTo>
                    <a:pt x="3314" y="1649"/>
                  </a:lnTo>
                  <a:lnTo>
                    <a:pt x="3352" y="1626"/>
                  </a:lnTo>
                  <a:lnTo>
                    <a:pt x="3406" y="1616"/>
                  </a:lnTo>
                  <a:lnTo>
                    <a:pt x="3406" y="1616"/>
                  </a:lnTo>
                  <a:lnTo>
                    <a:pt x="3406" y="1616"/>
                  </a:lnTo>
                  <a:close/>
                  <a:moveTo>
                    <a:pt x="1193" y="1626"/>
                  </a:moveTo>
                  <a:lnTo>
                    <a:pt x="1202" y="1626"/>
                  </a:lnTo>
                  <a:lnTo>
                    <a:pt x="1188" y="1633"/>
                  </a:lnTo>
                  <a:lnTo>
                    <a:pt x="1193" y="1626"/>
                  </a:lnTo>
                  <a:lnTo>
                    <a:pt x="1193" y="1626"/>
                  </a:lnTo>
                  <a:lnTo>
                    <a:pt x="1193" y="1626"/>
                  </a:lnTo>
                  <a:close/>
                  <a:moveTo>
                    <a:pt x="1209" y="1626"/>
                  </a:moveTo>
                  <a:lnTo>
                    <a:pt x="1219" y="1633"/>
                  </a:lnTo>
                  <a:lnTo>
                    <a:pt x="1202" y="1633"/>
                  </a:lnTo>
                  <a:lnTo>
                    <a:pt x="1209" y="1626"/>
                  </a:lnTo>
                  <a:lnTo>
                    <a:pt x="1209" y="1626"/>
                  </a:lnTo>
                  <a:lnTo>
                    <a:pt x="1209" y="1626"/>
                  </a:lnTo>
                  <a:close/>
                  <a:moveTo>
                    <a:pt x="1202" y="1637"/>
                  </a:moveTo>
                  <a:lnTo>
                    <a:pt x="1188" y="1666"/>
                  </a:lnTo>
                  <a:lnTo>
                    <a:pt x="1193" y="1649"/>
                  </a:lnTo>
                  <a:lnTo>
                    <a:pt x="1202" y="1637"/>
                  </a:lnTo>
                  <a:lnTo>
                    <a:pt x="1202" y="1637"/>
                  </a:lnTo>
                  <a:lnTo>
                    <a:pt x="1202" y="1637"/>
                  </a:lnTo>
                  <a:close/>
                  <a:moveTo>
                    <a:pt x="1181" y="1649"/>
                  </a:moveTo>
                  <a:lnTo>
                    <a:pt x="1181" y="1654"/>
                  </a:lnTo>
                  <a:lnTo>
                    <a:pt x="1171" y="1654"/>
                  </a:lnTo>
                  <a:lnTo>
                    <a:pt x="1181" y="1649"/>
                  </a:lnTo>
                  <a:lnTo>
                    <a:pt x="1181" y="1649"/>
                  </a:lnTo>
                  <a:lnTo>
                    <a:pt x="1181" y="1649"/>
                  </a:lnTo>
                  <a:close/>
                  <a:moveTo>
                    <a:pt x="3583" y="1720"/>
                  </a:moveTo>
                  <a:lnTo>
                    <a:pt x="3541" y="1720"/>
                  </a:lnTo>
                  <a:lnTo>
                    <a:pt x="3503" y="1694"/>
                  </a:lnTo>
                  <a:lnTo>
                    <a:pt x="3401" y="1687"/>
                  </a:lnTo>
                  <a:lnTo>
                    <a:pt x="3394" y="1682"/>
                  </a:lnTo>
                  <a:lnTo>
                    <a:pt x="3493" y="1670"/>
                  </a:lnTo>
                  <a:lnTo>
                    <a:pt x="3545" y="1682"/>
                  </a:lnTo>
                  <a:lnTo>
                    <a:pt x="3583" y="1687"/>
                  </a:lnTo>
                  <a:lnTo>
                    <a:pt x="3562" y="1703"/>
                  </a:lnTo>
                  <a:lnTo>
                    <a:pt x="3578" y="1711"/>
                  </a:lnTo>
                  <a:lnTo>
                    <a:pt x="3583" y="1720"/>
                  </a:lnTo>
                  <a:lnTo>
                    <a:pt x="3583" y="1720"/>
                  </a:lnTo>
                  <a:lnTo>
                    <a:pt x="3583" y="1720"/>
                  </a:lnTo>
                  <a:close/>
                  <a:moveTo>
                    <a:pt x="1209" y="1670"/>
                  </a:moveTo>
                  <a:lnTo>
                    <a:pt x="1219" y="1670"/>
                  </a:lnTo>
                  <a:lnTo>
                    <a:pt x="1202" y="1670"/>
                  </a:lnTo>
                  <a:lnTo>
                    <a:pt x="1209" y="1670"/>
                  </a:lnTo>
                  <a:lnTo>
                    <a:pt x="1209" y="1670"/>
                  </a:lnTo>
                  <a:lnTo>
                    <a:pt x="1209" y="1670"/>
                  </a:lnTo>
                  <a:close/>
                  <a:moveTo>
                    <a:pt x="1240" y="1687"/>
                  </a:moveTo>
                  <a:lnTo>
                    <a:pt x="1219" y="1682"/>
                  </a:lnTo>
                  <a:lnTo>
                    <a:pt x="1226" y="1670"/>
                  </a:lnTo>
                  <a:lnTo>
                    <a:pt x="1256" y="1682"/>
                  </a:lnTo>
                  <a:lnTo>
                    <a:pt x="1240" y="1687"/>
                  </a:lnTo>
                  <a:lnTo>
                    <a:pt x="1240" y="1687"/>
                  </a:lnTo>
                  <a:lnTo>
                    <a:pt x="1240" y="1687"/>
                  </a:lnTo>
                  <a:close/>
                  <a:moveTo>
                    <a:pt x="3385" y="1687"/>
                  </a:moveTo>
                  <a:lnTo>
                    <a:pt x="3380" y="1711"/>
                  </a:lnTo>
                  <a:lnTo>
                    <a:pt x="3352" y="1703"/>
                  </a:lnTo>
                  <a:lnTo>
                    <a:pt x="3385" y="1687"/>
                  </a:lnTo>
                  <a:lnTo>
                    <a:pt x="3385" y="1687"/>
                  </a:lnTo>
                  <a:lnTo>
                    <a:pt x="3385" y="1687"/>
                  </a:lnTo>
                  <a:close/>
                  <a:moveTo>
                    <a:pt x="1226" y="1694"/>
                  </a:moveTo>
                  <a:lnTo>
                    <a:pt x="1240" y="1694"/>
                  </a:lnTo>
                  <a:lnTo>
                    <a:pt x="1226" y="1703"/>
                  </a:lnTo>
                  <a:lnTo>
                    <a:pt x="1226" y="1694"/>
                  </a:lnTo>
                  <a:lnTo>
                    <a:pt x="1226" y="1694"/>
                  </a:lnTo>
                  <a:lnTo>
                    <a:pt x="1226" y="1694"/>
                  </a:lnTo>
                  <a:close/>
                  <a:moveTo>
                    <a:pt x="3557" y="1798"/>
                  </a:moveTo>
                  <a:lnTo>
                    <a:pt x="3439" y="1748"/>
                  </a:lnTo>
                  <a:lnTo>
                    <a:pt x="3406" y="1737"/>
                  </a:lnTo>
                  <a:lnTo>
                    <a:pt x="3401" y="1703"/>
                  </a:lnTo>
                  <a:lnTo>
                    <a:pt x="3503" y="1694"/>
                  </a:lnTo>
                  <a:lnTo>
                    <a:pt x="3531" y="1727"/>
                  </a:lnTo>
                  <a:lnTo>
                    <a:pt x="3583" y="1748"/>
                  </a:lnTo>
                  <a:lnTo>
                    <a:pt x="3578" y="1760"/>
                  </a:lnTo>
                  <a:lnTo>
                    <a:pt x="3524" y="1748"/>
                  </a:lnTo>
                  <a:lnTo>
                    <a:pt x="3574" y="1777"/>
                  </a:lnTo>
                  <a:lnTo>
                    <a:pt x="3574" y="1793"/>
                  </a:lnTo>
                  <a:lnTo>
                    <a:pt x="3557" y="1798"/>
                  </a:lnTo>
                  <a:lnTo>
                    <a:pt x="3557" y="1798"/>
                  </a:lnTo>
                  <a:lnTo>
                    <a:pt x="3557" y="1798"/>
                  </a:lnTo>
                  <a:close/>
                  <a:moveTo>
                    <a:pt x="1247" y="1694"/>
                  </a:moveTo>
                  <a:lnTo>
                    <a:pt x="1263" y="1703"/>
                  </a:lnTo>
                  <a:lnTo>
                    <a:pt x="1226" y="1737"/>
                  </a:lnTo>
                  <a:lnTo>
                    <a:pt x="1235" y="1727"/>
                  </a:lnTo>
                  <a:lnTo>
                    <a:pt x="1202" y="1727"/>
                  </a:lnTo>
                  <a:lnTo>
                    <a:pt x="1219" y="1711"/>
                  </a:lnTo>
                  <a:lnTo>
                    <a:pt x="1247" y="1694"/>
                  </a:lnTo>
                  <a:lnTo>
                    <a:pt x="1247" y="1694"/>
                  </a:lnTo>
                  <a:lnTo>
                    <a:pt x="1247" y="1694"/>
                  </a:lnTo>
                  <a:close/>
                  <a:moveTo>
                    <a:pt x="1202" y="1703"/>
                  </a:moveTo>
                  <a:lnTo>
                    <a:pt x="1209" y="1703"/>
                  </a:lnTo>
                  <a:lnTo>
                    <a:pt x="1193" y="1703"/>
                  </a:lnTo>
                  <a:lnTo>
                    <a:pt x="1202" y="1703"/>
                  </a:lnTo>
                  <a:lnTo>
                    <a:pt x="1202" y="1703"/>
                  </a:lnTo>
                  <a:lnTo>
                    <a:pt x="1202" y="1703"/>
                  </a:lnTo>
                  <a:close/>
                  <a:moveTo>
                    <a:pt x="1219" y="1711"/>
                  </a:moveTo>
                  <a:lnTo>
                    <a:pt x="1193" y="1727"/>
                  </a:lnTo>
                  <a:lnTo>
                    <a:pt x="1181" y="1720"/>
                  </a:lnTo>
                  <a:lnTo>
                    <a:pt x="1219" y="1711"/>
                  </a:lnTo>
                  <a:lnTo>
                    <a:pt x="1219" y="1711"/>
                  </a:lnTo>
                  <a:lnTo>
                    <a:pt x="1219" y="1711"/>
                  </a:lnTo>
                  <a:close/>
                  <a:moveTo>
                    <a:pt x="1263" y="1711"/>
                  </a:moveTo>
                  <a:lnTo>
                    <a:pt x="1278" y="1720"/>
                  </a:lnTo>
                  <a:lnTo>
                    <a:pt x="1256" y="1720"/>
                  </a:lnTo>
                  <a:lnTo>
                    <a:pt x="1263" y="1711"/>
                  </a:lnTo>
                  <a:lnTo>
                    <a:pt x="1263" y="1711"/>
                  </a:lnTo>
                  <a:lnTo>
                    <a:pt x="1263" y="1711"/>
                  </a:lnTo>
                  <a:close/>
                  <a:moveTo>
                    <a:pt x="1263" y="1720"/>
                  </a:moveTo>
                  <a:lnTo>
                    <a:pt x="1263" y="1727"/>
                  </a:lnTo>
                  <a:lnTo>
                    <a:pt x="1247" y="1737"/>
                  </a:lnTo>
                  <a:lnTo>
                    <a:pt x="1247" y="1720"/>
                  </a:lnTo>
                  <a:lnTo>
                    <a:pt x="1263" y="1720"/>
                  </a:lnTo>
                  <a:lnTo>
                    <a:pt x="1263" y="1720"/>
                  </a:lnTo>
                  <a:lnTo>
                    <a:pt x="1263" y="1720"/>
                  </a:lnTo>
                  <a:close/>
                  <a:moveTo>
                    <a:pt x="1202" y="1737"/>
                  </a:moveTo>
                  <a:lnTo>
                    <a:pt x="1193" y="1737"/>
                  </a:lnTo>
                  <a:lnTo>
                    <a:pt x="1219" y="1737"/>
                  </a:lnTo>
                  <a:lnTo>
                    <a:pt x="1202" y="1737"/>
                  </a:lnTo>
                  <a:lnTo>
                    <a:pt x="1202" y="1737"/>
                  </a:lnTo>
                  <a:lnTo>
                    <a:pt x="1202" y="1737"/>
                  </a:lnTo>
                  <a:close/>
                  <a:moveTo>
                    <a:pt x="1263" y="1760"/>
                  </a:moveTo>
                  <a:lnTo>
                    <a:pt x="1263" y="1777"/>
                  </a:lnTo>
                  <a:lnTo>
                    <a:pt x="1240" y="1793"/>
                  </a:lnTo>
                  <a:lnTo>
                    <a:pt x="1219" y="1793"/>
                  </a:lnTo>
                  <a:lnTo>
                    <a:pt x="1263" y="1760"/>
                  </a:lnTo>
                  <a:lnTo>
                    <a:pt x="1263" y="1760"/>
                  </a:lnTo>
                  <a:lnTo>
                    <a:pt x="1263" y="1760"/>
                  </a:lnTo>
                  <a:close/>
                  <a:moveTo>
                    <a:pt x="1226" y="1822"/>
                  </a:moveTo>
                  <a:lnTo>
                    <a:pt x="1235" y="1831"/>
                  </a:lnTo>
                  <a:lnTo>
                    <a:pt x="1226" y="1838"/>
                  </a:lnTo>
                  <a:lnTo>
                    <a:pt x="1209" y="1831"/>
                  </a:lnTo>
                  <a:lnTo>
                    <a:pt x="1226" y="1822"/>
                  </a:lnTo>
                  <a:lnTo>
                    <a:pt x="1226" y="1822"/>
                  </a:lnTo>
                  <a:lnTo>
                    <a:pt x="1226" y="1822"/>
                  </a:lnTo>
                  <a:close/>
                  <a:moveTo>
                    <a:pt x="1386" y="1876"/>
                  </a:moveTo>
                  <a:lnTo>
                    <a:pt x="1370" y="1871"/>
                  </a:lnTo>
                  <a:lnTo>
                    <a:pt x="1370" y="1864"/>
                  </a:lnTo>
                  <a:lnTo>
                    <a:pt x="1419" y="1864"/>
                  </a:lnTo>
                  <a:lnTo>
                    <a:pt x="1386" y="1876"/>
                  </a:lnTo>
                  <a:lnTo>
                    <a:pt x="1386" y="1876"/>
                  </a:lnTo>
                  <a:lnTo>
                    <a:pt x="1386" y="1876"/>
                  </a:lnTo>
                  <a:close/>
                  <a:moveTo>
                    <a:pt x="1398" y="1904"/>
                  </a:moveTo>
                  <a:lnTo>
                    <a:pt x="1441" y="1904"/>
                  </a:lnTo>
                  <a:lnTo>
                    <a:pt x="1452" y="1909"/>
                  </a:lnTo>
                  <a:lnTo>
                    <a:pt x="1408" y="1926"/>
                  </a:lnTo>
                  <a:lnTo>
                    <a:pt x="1398" y="1921"/>
                  </a:lnTo>
                  <a:lnTo>
                    <a:pt x="1398" y="1904"/>
                  </a:lnTo>
                  <a:lnTo>
                    <a:pt x="1398" y="1904"/>
                  </a:lnTo>
                  <a:lnTo>
                    <a:pt x="1398" y="1904"/>
                  </a:lnTo>
                  <a:close/>
                  <a:moveTo>
                    <a:pt x="1365" y="1909"/>
                  </a:moveTo>
                  <a:lnTo>
                    <a:pt x="1382" y="1926"/>
                  </a:lnTo>
                  <a:lnTo>
                    <a:pt x="1370" y="1942"/>
                  </a:lnTo>
                  <a:lnTo>
                    <a:pt x="1353" y="1942"/>
                  </a:lnTo>
                  <a:lnTo>
                    <a:pt x="1332" y="1933"/>
                  </a:lnTo>
                  <a:lnTo>
                    <a:pt x="1365" y="1909"/>
                  </a:lnTo>
                  <a:lnTo>
                    <a:pt x="1365" y="1909"/>
                  </a:lnTo>
                  <a:lnTo>
                    <a:pt x="1365" y="1909"/>
                  </a:lnTo>
                  <a:close/>
                  <a:moveTo>
                    <a:pt x="3347" y="1921"/>
                  </a:moveTo>
                  <a:lnTo>
                    <a:pt x="3347" y="1926"/>
                  </a:lnTo>
                  <a:lnTo>
                    <a:pt x="3330" y="1926"/>
                  </a:lnTo>
                  <a:lnTo>
                    <a:pt x="3347" y="1921"/>
                  </a:lnTo>
                  <a:lnTo>
                    <a:pt x="3347" y="1921"/>
                  </a:lnTo>
                  <a:lnTo>
                    <a:pt x="3347" y="1921"/>
                  </a:lnTo>
                  <a:close/>
                  <a:moveTo>
                    <a:pt x="3342" y="1933"/>
                  </a:moveTo>
                  <a:lnTo>
                    <a:pt x="3347" y="1942"/>
                  </a:lnTo>
                  <a:lnTo>
                    <a:pt x="3326" y="1933"/>
                  </a:lnTo>
                  <a:lnTo>
                    <a:pt x="3342" y="1933"/>
                  </a:lnTo>
                  <a:lnTo>
                    <a:pt x="3342" y="1933"/>
                  </a:lnTo>
                  <a:lnTo>
                    <a:pt x="3342" y="1933"/>
                  </a:lnTo>
                  <a:close/>
                  <a:moveTo>
                    <a:pt x="3288" y="2003"/>
                  </a:moveTo>
                  <a:lnTo>
                    <a:pt x="3146" y="2020"/>
                  </a:lnTo>
                  <a:lnTo>
                    <a:pt x="3153" y="1999"/>
                  </a:lnTo>
                  <a:lnTo>
                    <a:pt x="3179" y="1987"/>
                  </a:lnTo>
                  <a:lnTo>
                    <a:pt x="3217" y="1966"/>
                  </a:lnTo>
                  <a:lnTo>
                    <a:pt x="3276" y="1959"/>
                  </a:lnTo>
                  <a:lnTo>
                    <a:pt x="3314" y="1933"/>
                  </a:lnTo>
                  <a:lnTo>
                    <a:pt x="3314" y="1949"/>
                  </a:lnTo>
                  <a:lnTo>
                    <a:pt x="3342" y="1959"/>
                  </a:lnTo>
                  <a:lnTo>
                    <a:pt x="3347" y="1987"/>
                  </a:lnTo>
                  <a:lnTo>
                    <a:pt x="3288" y="2003"/>
                  </a:lnTo>
                  <a:lnTo>
                    <a:pt x="3288" y="2003"/>
                  </a:lnTo>
                  <a:lnTo>
                    <a:pt x="3288" y="2003"/>
                  </a:lnTo>
                  <a:close/>
                  <a:moveTo>
                    <a:pt x="1478" y="1949"/>
                  </a:moveTo>
                  <a:lnTo>
                    <a:pt x="1504" y="1966"/>
                  </a:lnTo>
                  <a:lnTo>
                    <a:pt x="1462" y="1959"/>
                  </a:lnTo>
                  <a:lnTo>
                    <a:pt x="1478" y="1949"/>
                  </a:lnTo>
                  <a:lnTo>
                    <a:pt x="1478" y="1949"/>
                  </a:lnTo>
                  <a:lnTo>
                    <a:pt x="1478" y="1949"/>
                  </a:lnTo>
                  <a:close/>
                  <a:moveTo>
                    <a:pt x="3205" y="1966"/>
                  </a:moveTo>
                  <a:lnTo>
                    <a:pt x="3179" y="1982"/>
                  </a:lnTo>
                  <a:lnTo>
                    <a:pt x="3179" y="1966"/>
                  </a:lnTo>
                  <a:lnTo>
                    <a:pt x="3205" y="1966"/>
                  </a:lnTo>
                  <a:lnTo>
                    <a:pt x="3205" y="1966"/>
                  </a:lnTo>
                  <a:lnTo>
                    <a:pt x="3205" y="1966"/>
                  </a:lnTo>
                  <a:close/>
                  <a:moveTo>
                    <a:pt x="1263" y="2015"/>
                  </a:moveTo>
                  <a:lnTo>
                    <a:pt x="1289" y="2032"/>
                  </a:lnTo>
                  <a:lnTo>
                    <a:pt x="1273" y="2032"/>
                  </a:lnTo>
                  <a:lnTo>
                    <a:pt x="1263" y="2020"/>
                  </a:lnTo>
                  <a:lnTo>
                    <a:pt x="1263" y="2015"/>
                  </a:lnTo>
                  <a:lnTo>
                    <a:pt x="1263" y="2015"/>
                  </a:lnTo>
                  <a:lnTo>
                    <a:pt x="1263" y="2015"/>
                  </a:lnTo>
                  <a:close/>
                  <a:moveTo>
                    <a:pt x="1315" y="2155"/>
                  </a:moveTo>
                  <a:lnTo>
                    <a:pt x="1382" y="2148"/>
                  </a:lnTo>
                  <a:lnTo>
                    <a:pt x="1365" y="2148"/>
                  </a:lnTo>
                  <a:lnTo>
                    <a:pt x="1382" y="2131"/>
                  </a:lnTo>
                  <a:lnTo>
                    <a:pt x="1348" y="2148"/>
                  </a:lnTo>
                  <a:lnTo>
                    <a:pt x="1344" y="2148"/>
                  </a:lnTo>
                  <a:lnTo>
                    <a:pt x="1353" y="2143"/>
                  </a:lnTo>
                  <a:lnTo>
                    <a:pt x="1332" y="2143"/>
                  </a:lnTo>
                  <a:lnTo>
                    <a:pt x="1344" y="2131"/>
                  </a:lnTo>
                  <a:lnTo>
                    <a:pt x="1344" y="2126"/>
                  </a:lnTo>
                  <a:lnTo>
                    <a:pt x="1327" y="2131"/>
                  </a:lnTo>
                  <a:lnTo>
                    <a:pt x="1278" y="2126"/>
                  </a:lnTo>
                  <a:lnTo>
                    <a:pt x="1263" y="2114"/>
                  </a:lnTo>
                  <a:lnTo>
                    <a:pt x="1289" y="2110"/>
                  </a:lnTo>
                  <a:lnTo>
                    <a:pt x="1311" y="2114"/>
                  </a:lnTo>
                  <a:lnTo>
                    <a:pt x="1273" y="2098"/>
                  </a:lnTo>
                  <a:lnTo>
                    <a:pt x="1273" y="2086"/>
                  </a:lnTo>
                  <a:lnTo>
                    <a:pt x="1315" y="2086"/>
                  </a:lnTo>
                  <a:lnTo>
                    <a:pt x="1278" y="2070"/>
                  </a:lnTo>
                  <a:lnTo>
                    <a:pt x="1278" y="2053"/>
                  </a:lnTo>
                  <a:lnTo>
                    <a:pt x="1311" y="2037"/>
                  </a:lnTo>
                  <a:lnTo>
                    <a:pt x="1370" y="2044"/>
                  </a:lnTo>
                  <a:lnTo>
                    <a:pt x="1424" y="2086"/>
                  </a:lnTo>
                  <a:lnTo>
                    <a:pt x="1478" y="2098"/>
                  </a:lnTo>
                  <a:lnTo>
                    <a:pt x="1478" y="2110"/>
                  </a:lnTo>
                  <a:lnTo>
                    <a:pt x="1474" y="2114"/>
                  </a:lnTo>
                  <a:lnTo>
                    <a:pt x="1490" y="2126"/>
                  </a:lnTo>
                  <a:lnTo>
                    <a:pt x="1457" y="2148"/>
                  </a:lnTo>
                  <a:lnTo>
                    <a:pt x="1365" y="2171"/>
                  </a:lnTo>
                  <a:lnTo>
                    <a:pt x="1315" y="2155"/>
                  </a:lnTo>
                  <a:lnTo>
                    <a:pt x="1315" y="2155"/>
                  </a:lnTo>
                  <a:lnTo>
                    <a:pt x="1315" y="2155"/>
                  </a:lnTo>
                  <a:close/>
                  <a:moveTo>
                    <a:pt x="1542" y="2086"/>
                  </a:moveTo>
                  <a:lnTo>
                    <a:pt x="1570" y="2098"/>
                  </a:lnTo>
                  <a:lnTo>
                    <a:pt x="1549" y="2114"/>
                  </a:lnTo>
                  <a:lnTo>
                    <a:pt x="1549" y="2131"/>
                  </a:lnTo>
                  <a:lnTo>
                    <a:pt x="1528" y="2143"/>
                  </a:lnTo>
                  <a:lnTo>
                    <a:pt x="1516" y="2114"/>
                  </a:lnTo>
                  <a:lnTo>
                    <a:pt x="1542" y="2093"/>
                  </a:lnTo>
                  <a:lnTo>
                    <a:pt x="1516" y="2093"/>
                  </a:lnTo>
                  <a:lnTo>
                    <a:pt x="1542" y="2086"/>
                  </a:lnTo>
                  <a:lnTo>
                    <a:pt x="1542" y="2086"/>
                  </a:lnTo>
                  <a:lnTo>
                    <a:pt x="1542" y="2086"/>
                  </a:lnTo>
                  <a:close/>
                  <a:moveTo>
                    <a:pt x="3493" y="2110"/>
                  </a:moveTo>
                  <a:lnTo>
                    <a:pt x="3493" y="2114"/>
                  </a:lnTo>
                  <a:lnTo>
                    <a:pt x="3486" y="2126"/>
                  </a:lnTo>
                  <a:lnTo>
                    <a:pt x="3470" y="2114"/>
                  </a:lnTo>
                  <a:lnTo>
                    <a:pt x="3493" y="2110"/>
                  </a:lnTo>
                  <a:lnTo>
                    <a:pt x="3493" y="2110"/>
                  </a:lnTo>
                  <a:lnTo>
                    <a:pt x="3493" y="2110"/>
                  </a:lnTo>
                  <a:close/>
                  <a:moveTo>
                    <a:pt x="1462" y="2242"/>
                  </a:moveTo>
                  <a:lnTo>
                    <a:pt x="1398" y="2259"/>
                  </a:lnTo>
                  <a:lnTo>
                    <a:pt x="1436" y="2242"/>
                  </a:lnTo>
                  <a:lnTo>
                    <a:pt x="1462" y="2242"/>
                  </a:lnTo>
                  <a:lnTo>
                    <a:pt x="1462" y="2242"/>
                  </a:lnTo>
                  <a:lnTo>
                    <a:pt x="1462" y="2242"/>
                  </a:lnTo>
                  <a:close/>
                  <a:moveTo>
                    <a:pt x="1533" y="2242"/>
                  </a:moveTo>
                  <a:lnTo>
                    <a:pt x="1542" y="2254"/>
                  </a:lnTo>
                  <a:lnTo>
                    <a:pt x="1528" y="2254"/>
                  </a:lnTo>
                  <a:lnTo>
                    <a:pt x="1533" y="2242"/>
                  </a:lnTo>
                  <a:lnTo>
                    <a:pt x="1533" y="2242"/>
                  </a:lnTo>
                  <a:lnTo>
                    <a:pt x="1533" y="2242"/>
                  </a:lnTo>
                  <a:close/>
                  <a:moveTo>
                    <a:pt x="1436" y="2259"/>
                  </a:moveTo>
                  <a:lnTo>
                    <a:pt x="1441" y="2259"/>
                  </a:lnTo>
                  <a:lnTo>
                    <a:pt x="1424" y="2259"/>
                  </a:lnTo>
                  <a:lnTo>
                    <a:pt x="1436" y="2259"/>
                  </a:lnTo>
                  <a:lnTo>
                    <a:pt x="1436" y="2259"/>
                  </a:lnTo>
                  <a:lnTo>
                    <a:pt x="1436" y="2259"/>
                  </a:lnTo>
                  <a:close/>
                  <a:moveTo>
                    <a:pt x="1419" y="2259"/>
                  </a:moveTo>
                  <a:lnTo>
                    <a:pt x="1419" y="2266"/>
                  </a:lnTo>
                  <a:lnTo>
                    <a:pt x="1408" y="2259"/>
                  </a:lnTo>
                  <a:lnTo>
                    <a:pt x="1419" y="2259"/>
                  </a:lnTo>
                  <a:lnTo>
                    <a:pt x="1419" y="2259"/>
                  </a:lnTo>
                  <a:lnTo>
                    <a:pt x="1419" y="2259"/>
                  </a:lnTo>
                  <a:close/>
                  <a:moveTo>
                    <a:pt x="1403" y="2266"/>
                  </a:moveTo>
                  <a:lnTo>
                    <a:pt x="1408" y="2275"/>
                  </a:lnTo>
                  <a:lnTo>
                    <a:pt x="1386" y="2282"/>
                  </a:lnTo>
                  <a:lnTo>
                    <a:pt x="1403" y="2266"/>
                  </a:lnTo>
                  <a:lnTo>
                    <a:pt x="1403" y="2266"/>
                  </a:lnTo>
                  <a:lnTo>
                    <a:pt x="1403" y="2266"/>
                  </a:lnTo>
                  <a:close/>
                  <a:moveTo>
                    <a:pt x="1457" y="2308"/>
                  </a:moveTo>
                  <a:lnTo>
                    <a:pt x="1511" y="2299"/>
                  </a:lnTo>
                  <a:lnTo>
                    <a:pt x="1474" y="2315"/>
                  </a:lnTo>
                  <a:lnTo>
                    <a:pt x="1457" y="2308"/>
                  </a:lnTo>
                  <a:lnTo>
                    <a:pt x="1457" y="2308"/>
                  </a:lnTo>
                  <a:lnTo>
                    <a:pt x="1457" y="2308"/>
                  </a:lnTo>
                  <a:close/>
                  <a:moveTo>
                    <a:pt x="3040" y="2299"/>
                  </a:moveTo>
                  <a:lnTo>
                    <a:pt x="3028" y="2315"/>
                  </a:lnTo>
                  <a:lnTo>
                    <a:pt x="3016" y="2308"/>
                  </a:lnTo>
                  <a:lnTo>
                    <a:pt x="3040" y="2299"/>
                  </a:lnTo>
                  <a:lnTo>
                    <a:pt x="3040" y="2299"/>
                  </a:lnTo>
                  <a:lnTo>
                    <a:pt x="3040" y="2299"/>
                  </a:lnTo>
                  <a:close/>
                  <a:moveTo>
                    <a:pt x="2893" y="2308"/>
                  </a:moveTo>
                  <a:lnTo>
                    <a:pt x="2898" y="2308"/>
                  </a:lnTo>
                  <a:lnTo>
                    <a:pt x="2877" y="2308"/>
                  </a:lnTo>
                  <a:lnTo>
                    <a:pt x="2893" y="2308"/>
                  </a:lnTo>
                  <a:lnTo>
                    <a:pt x="2893" y="2308"/>
                  </a:lnTo>
                  <a:lnTo>
                    <a:pt x="2893" y="2308"/>
                  </a:lnTo>
                  <a:close/>
                  <a:moveTo>
                    <a:pt x="1478" y="2315"/>
                  </a:moveTo>
                  <a:lnTo>
                    <a:pt x="1533" y="2315"/>
                  </a:lnTo>
                  <a:lnTo>
                    <a:pt x="1474" y="2320"/>
                  </a:lnTo>
                  <a:lnTo>
                    <a:pt x="1478" y="2315"/>
                  </a:lnTo>
                  <a:lnTo>
                    <a:pt x="1478" y="2315"/>
                  </a:lnTo>
                  <a:lnTo>
                    <a:pt x="1478" y="2315"/>
                  </a:lnTo>
                  <a:close/>
                  <a:moveTo>
                    <a:pt x="1370" y="2320"/>
                  </a:moveTo>
                  <a:lnTo>
                    <a:pt x="1386" y="2320"/>
                  </a:lnTo>
                  <a:lnTo>
                    <a:pt x="1382" y="2332"/>
                  </a:lnTo>
                  <a:lnTo>
                    <a:pt x="1370" y="2320"/>
                  </a:lnTo>
                  <a:lnTo>
                    <a:pt x="1370" y="2320"/>
                  </a:lnTo>
                  <a:lnTo>
                    <a:pt x="1370" y="2320"/>
                  </a:lnTo>
                  <a:close/>
                  <a:moveTo>
                    <a:pt x="1353" y="2370"/>
                  </a:moveTo>
                  <a:lnTo>
                    <a:pt x="1348" y="2353"/>
                  </a:lnTo>
                  <a:lnTo>
                    <a:pt x="1365" y="2365"/>
                  </a:lnTo>
                  <a:lnTo>
                    <a:pt x="1353" y="2370"/>
                  </a:lnTo>
                  <a:lnTo>
                    <a:pt x="1353" y="2370"/>
                  </a:lnTo>
                  <a:lnTo>
                    <a:pt x="1353" y="2370"/>
                  </a:lnTo>
                  <a:close/>
                  <a:moveTo>
                    <a:pt x="2789" y="2410"/>
                  </a:moveTo>
                  <a:lnTo>
                    <a:pt x="2789" y="2419"/>
                  </a:lnTo>
                  <a:lnTo>
                    <a:pt x="2785" y="2410"/>
                  </a:lnTo>
                  <a:lnTo>
                    <a:pt x="2789" y="2410"/>
                  </a:lnTo>
                  <a:lnTo>
                    <a:pt x="2789" y="2410"/>
                  </a:lnTo>
                  <a:lnTo>
                    <a:pt x="2789" y="2410"/>
                  </a:lnTo>
                  <a:close/>
                  <a:moveTo>
                    <a:pt x="1408" y="2464"/>
                  </a:moveTo>
                  <a:lnTo>
                    <a:pt x="1370" y="2476"/>
                  </a:lnTo>
                  <a:lnTo>
                    <a:pt x="1382" y="2464"/>
                  </a:lnTo>
                  <a:lnTo>
                    <a:pt x="1408" y="2464"/>
                  </a:lnTo>
                  <a:lnTo>
                    <a:pt x="1408" y="2464"/>
                  </a:lnTo>
                  <a:lnTo>
                    <a:pt x="1408" y="2464"/>
                  </a:lnTo>
                  <a:close/>
                  <a:moveTo>
                    <a:pt x="2747" y="2464"/>
                  </a:moveTo>
                  <a:lnTo>
                    <a:pt x="2747" y="2476"/>
                  </a:lnTo>
                  <a:lnTo>
                    <a:pt x="2737" y="2481"/>
                  </a:lnTo>
                  <a:lnTo>
                    <a:pt x="2747" y="2464"/>
                  </a:lnTo>
                  <a:lnTo>
                    <a:pt x="2747" y="2464"/>
                  </a:lnTo>
                  <a:lnTo>
                    <a:pt x="2747" y="2464"/>
                  </a:lnTo>
                  <a:close/>
                  <a:moveTo>
                    <a:pt x="2629" y="2554"/>
                  </a:moveTo>
                  <a:lnTo>
                    <a:pt x="2629" y="2542"/>
                  </a:lnTo>
                  <a:lnTo>
                    <a:pt x="2638" y="2542"/>
                  </a:lnTo>
                  <a:lnTo>
                    <a:pt x="2629" y="2554"/>
                  </a:lnTo>
                  <a:lnTo>
                    <a:pt x="2629" y="2554"/>
                  </a:lnTo>
                  <a:lnTo>
                    <a:pt x="2629" y="2554"/>
                  </a:lnTo>
                  <a:close/>
                  <a:moveTo>
                    <a:pt x="1353" y="2570"/>
                  </a:moveTo>
                  <a:lnTo>
                    <a:pt x="1353" y="2559"/>
                  </a:lnTo>
                  <a:lnTo>
                    <a:pt x="1370" y="2559"/>
                  </a:lnTo>
                  <a:lnTo>
                    <a:pt x="1353" y="2570"/>
                  </a:lnTo>
                  <a:lnTo>
                    <a:pt x="1353" y="2570"/>
                  </a:lnTo>
                  <a:lnTo>
                    <a:pt x="1353" y="2570"/>
                  </a:lnTo>
                  <a:close/>
                  <a:moveTo>
                    <a:pt x="2541" y="2599"/>
                  </a:moveTo>
                  <a:lnTo>
                    <a:pt x="2541" y="2587"/>
                  </a:lnTo>
                  <a:lnTo>
                    <a:pt x="2558" y="2575"/>
                  </a:lnTo>
                  <a:lnTo>
                    <a:pt x="2541" y="2599"/>
                  </a:lnTo>
                  <a:lnTo>
                    <a:pt x="2541" y="2599"/>
                  </a:lnTo>
                  <a:lnTo>
                    <a:pt x="2541" y="2599"/>
                  </a:lnTo>
                  <a:close/>
                  <a:moveTo>
                    <a:pt x="2570" y="2592"/>
                  </a:moveTo>
                  <a:lnTo>
                    <a:pt x="2574" y="2587"/>
                  </a:lnTo>
                  <a:lnTo>
                    <a:pt x="2586" y="2587"/>
                  </a:lnTo>
                  <a:lnTo>
                    <a:pt x="2570" y="2592"/>
                  </a:lnTo>
                  <a:lnTo>
                    <a:pt x="2570" y="2592"/>
                  </a:lnTo>
                  <a:lnTo>
                    <a:pt x="2570" y="2592"/>
                  </a:lnTo>
                  <a:close/>
                  <a:moveTo>
                    <a:pt x="2478" y="2625"/>
                  </a:moveTo>
                  <a:lnTo>
                    <a:pt x="2461" y="2625"/>
                  </a:lnTo>
                  <a:lnTo>
                    <a:pt x="2461" y="2599"/>
                  </a:lnTo>
                  <a:lnTo>
                    <a:pt x="2482" y="2587"/>
                  </a:lnTo>
                  <a:lnTo>
                    <a:pt x="2504" y="2599"/>
                  </a:lnTo>
                  <a:lnTo>
                    <a:pt x="2487" y="2592"/>
                  </a:lnTo>
                  <a:lnTo>
                    <a:pt x="2504" y="2608"/>
                  </a:lnTo>
                  <a:lnTo>
                    <a:pt x="2482" y="2625"/>
                  </a:lnTo>
                  <a:lnTo>
                    <a:pt x="2478" y="2615"/>
                  </a:lnTo>
                  <a:lnTo>
                    <a:pt x="2482" y="2625"/>
                  </a:lnTo>
                  <a:lnTo>
                    <a:pt x="2478" y="2625"/>
                  </a:lnTo>
                  <a:lnTo>
                    <a:pt x="2478" y="2625"/>
                  </a:lnTo>
                  <a:lnTo>
                    <a:pt x="2478" y="2625"/>
                  </a:lnTo>
                  <a:close/>
                  <a:moveTo>
                    <a:pt x="2537" y="2608"/>
                  </a:moveTo>
                  <a:lnTo>
                    <a:pt x="2532" y="2592"/>
                  </a:lnTo>
                  <a:lnTo>
                    <a:pt x="2541" y="2592"/>
                  </a:lnTo>
                  <a:lnTo>
                    <a:pt x="2537" y="2608"/>
                  </a:lnTo>
                  <a:lnTo>
                    <a:pt x="2537" y="2608"/>
                  </a:lnTo>
                  <a:lnTo>
                    <a:pt x="2537" y="2608"/>
                  </a:lnTo>
                  <a:close/>
                  <a:moveTo>
                    <a:pt x="2520" y="2625"/>
                  </a:moveTo>
                  <a:lnTo>
                    <a:pt x="2515" y="2608"/>
                  </a:lnTo>
                  <a:lnTo>
                    <a:pt x="2520" y="2608"/>
                  </a:lnTo>
                  <a:lnTo>
                    <a:pt x="2532" y="2615"/>
                  </a:lnTo>
                  <a:lnTo>
                    <a:pt x="2520" y="2625"/>
                  </a:lnTo>
                  <a:lnTo>
                    <a:pt x="2520" y="2625"/>
                  </a:lnTo>
                  <a:lnTo>
                    <a:pt x="2520" y="2625"/>
                  </a:lnTo>
                  <a:close/>
                  <a:moveTo>
                    <a:pt x="1386" y="2625"/>
                  </a:moveTo>
                  <a:lnTo>
                    <a:pt x="1419" y="2615"/>
                  </a:lnTo>
                  <a:lnTo>
                    <a:pt x="1403" y="2625"/>
                  </a:lnTo>
                  <a:lnTo>
                    <a:pt x="1386" y="2625"/>
                  </a:lnTo>
                  <a:lnTo>
                    <a:pt x="1386" y="2625"/>
                  </a:lnTo>
                  <a:lnTo>
                    <a:pt x="1386" y="2625"/>
                  </a:lnTo>
                  <a:close/>
                  <a:moveTo>
                    <a:pt x="2390" y="2632"/>
                  </a:moveTo>
                  <a:lnTo>
                    <a:pt x="2397" y="2625"/>
                  </a:lnTo>
                  <a:lnTo>
                    <a:pt x="2407" y="2625"/>
                  </a:lnTo>
                  <a:lnTo>
                    <a:pt x="2390" y="2632"/>
                  </a:lnTo>
                  <a:lnTo>
                    <a:pt x="2390" y="2632"/>
                  </a:lnTo>
                  <a:lnTo>
                    <a:pt x="2390" y="2632"/>
                  </a:lnTo>
                  <a:close/>
                  <a:moveTo>
                    <a:pt x="1408" y="2641"/>
                  </a:moveTo>
                  <a:lnTo>
                    <a:pt x="1398" y="2632"/>
                  </a:lnTo>
                  <a:lnTo>
                    <a:pt x="1408" y="2632"/>
                  </a:lnTo>
                  <a:lnTo>
                    <a:pt x="1408" y="2641"/>
                  </a:lnTo>
                  <a:lnTo>
                    <a:pt x="1408" y="2641"/>
                  </a:lnTo>
                  <a:lnTo>
                    <a:pt x="1408" y="2641"/>
                  </a:lnTo>
                  <a:close/>
                  <a:moveTo>
                    <a:pt x="2369" y="2641"/>
                  </a:moveTo>
                  <a:lnTo>
                    <a:pt x="2359" y="2632"/>
                  </a:lnTo>
                  <a:lnTo>
                    <a:pt x="2369" y="2632"/>
                  </a:lnTo>
                  <a:lnTo>
                    <a:pt x="2369" y="2641"/>
                  </a:lnTo>
                  <a:lnTo>
                    <a:pt x="2369" y="2641"/>
                  </a:lnTo>
                  <a:lnTo>
                    <a:pt x="2369" y="2641"/>
                  </a:lnTo>
                  <a:close/>
                  <a:moveTo>
                    <a:pt x="2343" y="2653"/>
                  </a:moveTo>
                  <a:lnTo>
                    <a:pt x="2326" y="2648"/>
                  </a:lnTo>
                  <a:lnTo>
                    <a:pt x="2352" y="2653"/>
                  </a:lnTo>
                  <a:lnTo>
                    <a:pt x="2343" y="2653"/>
                  </a:lnTo>
                  <a:lnTo>
                    <a:pt x="2343" y="2653"/>
                  </a:lnTo>
                  <a:lnTo>
                    <a:pt x="2343" y="2653"/>
                  </a:lnTo>
                  <a:close/>
                  <a:moveTo>
                    <a:pt x="2305" y="2759"/>
                  </a:moveTo>
                  <a:lnTo>
                    <a:pt x="2284" y="2752"/>
                  </a:lnTo>
                  <a:lnTo>
                    <a:pt x="2272" y="2726"/>
                  </a:lnTo>
                  <a:lnTo>
                    <a:pt x="2251" y="2703"/>
                  </a:lnTo>
                  <a:lnTo>
                    <a:pt x="2272" y="2710"/>
                  </a:lnTo>
                  <a:lnTo>
                    <a:pt x="2289" y="2743"/>
                  </a:lnTo>
                  <a:lnTo>
                    <a:pt x="2305" y="2752"/>
                  </a:lnTo>
                  <a:lnTo>
                    <a:pt x="2305" y="2759"/>
                  </a:lnTo>
                  <a:lnTo>
                    <a:pt x="2305" y="2759"/>
                  </a:lnTo>
                  <a:lnTo>
                    <a:pt x="2305" y="2759"/>
                  </a:lnTo>
                  <a:close/>
                  <a:moveTo>
                    <a:pt x="1533" y="2743"/>
                  </a:moveTo>
                  <a:lnTo>
                    <a:pt x="1528" y="2759"/>
                  </a:lnTo>
                  <a:lnTo>
                    <a:pt x="1516" y="2759"/>
                  </a:lnTo>
                  <a:lnTo>
                    <a:pt x="1528" y="2743"/>
                  </a:lnTo>
                  <a:lnTo>
                    <a:pt x="1533" y="2743"/>
                  </a:lnTo>
                  <a:lnTo>
                    <a:pt x="1533" y="2743"/>
                  </a:lnTo>
                  <a:lnTo>
                    <a:pt x="1533" y="2743"/>
                  </a:lnTo>
                  <a:close/>
                  <a:moveTo>
                    <a:pt x="1559" y="2752"/>
                  </a:moveTo>
                  <a:lnTo>
                    <a:pt x="1533" y="2776"/>
                  </a:lnTo>
                  <a:lnTo>
                    <a:pt x="1516" y="2781"/>
                  </a:lnTo>
                  <a:lnTo>
                    <a:pt x="1542" y="2743"/>
                  </a:lnTo>
                  <a:lnTo>
                    <a:pt x="1559" y="2752"/>
                  </a:lnTo>
                  <a:lnTo>
                    <a:pt x="1559" y="2752"/>
                  </a:lnTo>
                  <a:lnTo>
                    <a:pt x="1559" y="2752"/>
                  </a:lnTo>
                  <a:close/>
                  <a:moveTo>
                    <a:pt x="1516" y="2764"/>
                  </a:moveTo>
                  <a:lnTo>
                    <a:pt x="1504" y="2776"/>
                  </a:lnTo>
                  <a:lnTo>
                    <a:pt x="1511" y="2764"/>
                  </a:lnTo>
                  <a:lnTo>
                    <a:pt x="1516" y="2764"/>
                  </a:lnTo>
                  <a:lnTo>
                    <a:pt x="1516" y="2764"/>
                  </a:lnTo>
                  <a:lnTo>
                    <a:pt x="1516" y="2764"/>
                  </a:lnTo>
                  <a:close/>
                  <a:moveTo>
                    <a:pt x="2234" y="2776"/>
                  </a:moveTo>
                  <a:lnTo>
                    <a:pt x="2218" y="2776"/>
                  </a:lnTo>
                  <a:lnTo>
                    <a:pt x="2234" y="2776"/>
                  </a:lnTo>
                  <a:lnTo>
                    <a:pt x="2234" y="2776"/>
                  </a:lnTo>
                  <a:lnTo>
                    <a:pt x="2234" y="2776"/>
                  </a:lnTo>
                  <a:close/>
                  <a:moveTo>
                    <a:pt x="2246" y="2781"/>
                  </a:moveTo>
                  <a:lnTo>
                    <a:pt x="2251" y="2776"/>
                  </a:lnTo>
                  <a:lnTo>
                    <a:pt x="2267" y="2776"/>
                  </a:lnTo>
                  <a:lnTo>
                    <a:pt x="2267" y="2781"/>
                  </a:lnTo>
                  <a:lnTo>
                    <a:pt x="2246" y="2781"/>
                  </a:lnTo>
                  <a:lnTo>
                    <a:pt x="2246" y="2781"/>
                  </a:lnTo>
                  <a:lnTo>
                    <a:pt x="2246" y="2781"/>
                  </a:lnTo>
                  <a:close/>
                  <a:moveTo>
                    <a:pt x="2234" y="2903"/>
                  </a:moveTo>
                  <a:lnTo>
                    <a:pt x="2213" y="2892"/>
                  </a:lnTo>
                  <a:lnTo>
                    <a:pt x="2180" y="2870"/>
                  </a:lnTo>
                  <a:lnTo>
                    <a:pt x="2196" y="2863"/>
                  </a:lnTo>
                  <a:lnTo>
                    <a:pt x="2230" y="2887"/>
                  </a:lnTo>
                  <a:lnTo>
                    <a:pt x="2234" y="2903"/>
                  </a:lnTo>
                  <a:lnTo>
                    <a:pt x="2234" y="2903"/>
                  </a:lnTo>
                  <a:lnTo>
                    <a:pt x="2234" y="2903"/>
                  </a:lnTo>
                  <a:close/>
                  <a:moveTo>
                    <a:pt x="2230" y="2908"/>
                  </a:moveTo>
                  <a:lnTo>
                    <a:pt x="2213" y="2903"/>
                  </a:lnTo>
                  <a:lnTo>
                    <a:pt x="2230" y="2903"/>
                  </a:lnTo>
                  <a:lnTo>
                    <a:pt x="2230" y="2908"/>
                  </a:lnTo>
                  <a:lnTo>
                    <a:pt x="2230" y="2908"/>
                  </a:lnTo>
                  <a:lnTo>
                    <a:pt x="2230" y="2908"/>
                  </a:lnTo>
                  <a:close/>
                  <a:moveTo>
                    <a:pt x="1580" y="2903"/>
                  </a:moveTo>
                  <a:lnTo>
                    <a:pt x="1566" y="2908"/>
                  </a:lnTo>
                  <a:lnTo>
                    <a:pt x="1580" y="2903"/>
                  </a:lnTo>
                  <a:lnTo>
                    <a:pt x="1580" y="2903"/>
                  </a:lnTo>
                  <a:lnTo>
                    <a:pt x="1580" y="2903"/>
                  </a:lnTo>
                  <a:close/>
                  <a:moveTo>
                    <a:pt x="1566" y="2903"/>
                  </a:moveTo>
                  <a:lnTo>
                    <a:pt x="1566" y="2908"/>
                  </a:lnTo>
                  <a:lnTo>
                    <a:pt x="1549" y="2908"/>
                  </a:lnTo>
                  <a:lnTo>
                    <a:pt x="1566" y="2903"/>
                  </a:lnTo>
                  <a:lnTo>
                    <a:pt x="1566" y="2903"/>
                  </a:lnTo>
                  <a:lnTo>
                    <a:pt x="1566" y="2903"/>
                  </a:lnTo>
                  <a:close/>
                  <a:moveTo>
                    <a:pt x="2208" y="2932"/>
                  </a:moveTo>
                  <a:lnTo>
                    <a:pt x="2208" y="2920"/>
                  </a:lnTo>
                  <a:lnTo>
                    <a:pt x="2213" y="2920"/>
                  </a:lnTo>
                  <a:lnTo>
                    <a:pt x="2208" y="2932"/>
                  </a:lnTo>
                  <a:lnTo>
                    <a:pt x="2208" y="2932"/>
                  </a:lnTo>
                  <a:lnTo>
                    <a:pt x="2208" y="2932"/>
                  </a:lnTo>
                  <a:close/>
                  <a:moveTo>
                    <a:pt x="2154" y="2958"/>
                  </a:moveTo>
                  <a:lnTo>
                    <a:pt x="2142" y="2948"/>
                  </a:lnTo>
                  <a:lnTo>
                    <a:pt x="2154" y="2941"/>
                  </a:lnTo>
                  <a:lnTo>
                    <a:pt x="2180" y="2948"/>
                  </a:lnTo>
                  <a:lnTo>
                    <a:pt x="2154" y="2958"/>
                  </a:lnTo>
                  <a:lnTo>
                    <a:pt x="2154" y="2958"/>
                  </a:lnTo>
                  <a:lnTo>
                    <a:pt x="2154" y="2958"/>
                  </a:lnTo>
                  <a:close/>
                  <a:moveTo>
                    <a:pt x="2163" y="2981"/>
                  </a:moveTo>
                  <a:lnTo>
                    <a:pt x="2154" y="2965"/>
                  </a:lnTo>
                  <a:lnTo>
                    <a:pt x="2163" y="2974"/>
                  </a:lnTo>
                  <a:lnTo>
                    <a:pt x="2163" y="2981"/>
                  </a:lnTo>
                  <a:lnTo>
                    <a:pt x="2163" y="2981"/>
                  </a:lnTo>
                  <a:lnTo>
                    <a:pt x="2163" y="2981"/>
                  </a:lnTo>
                  <a:close/>
                  <a:moveTo>
                    <a:pt x="2159" y="3059"/>
                  </a:moveTo>
                  <a:lnTo>
                    <a:pt x="2163" y="3043"/>
                  </a:lnTo>
                  <a:lnTo>
                    <a:pt x="2163" y="3059"/>
                  </a:lnTo>
                  <a:lnTo>
                    <a:pt x="2159" y="3059"/>
                  </a:lnTo>
                  <a:lnTo>
                    <a:pt x="2159" y="3059"/>
                  </a:lnTo>
                  <a:lnTo>
                    <a:pt x="2159" y="3059"/>
                  </a:lnTo>
                  <a:close/>
                  <a:moveTo>
                    <a:pt x="1743" y="3130"/>
                  </a:moveTo>
                  <a:lnTo>
                    <a:pt x="1748" y="3142"/>
                  </a:lnTo>
                  <a:lnTo>
                    <a:pt x="1726" y="3130"/>
                  </a:lnTo>
                  <a:lnTo>
                    <a:pt x="1743" y="3130"/>
                  </a:lnTo>
                  <a:lnTo>
                    <a:pt x="1743" y="3130"/>
                  </a:lnTo>
                  <a:lnTo>
                    <a:pt x="1743" y="3130"/>
                  </a:lnTo>
                  <a:close/>
                  <a:moveTo>
                    <a:pt x="1882" y="3154"/>
                  </a:moveTo>
                  <a:lnTo>
                    <a:pt x="1835" y="3170"/>
                  </a:lnTo>
                  <a:lnTo>
                    <a:pt x="1882" y="3147"/>
                  </a:lnTo>
                  <a:lnTo>
                    <a:pt x="1882" y="3154"/>
                  </a:lnTo>
                  <a:lnTo>
                    <a:pt x="1882" y="3154"/>
                  </a:lnTo>
                  <a:lnTo>
                    <a:pt x="1882" y="3154"/>
                  </a:lnTo>
                  <a:close/>
                  <a:moveTo>
                    <a:pt x="1776" y="3163"/>
                  </a:moveTo>
                  <a:lnTo>
                    <a:pt x="1764" y="3170"/>
                  </a:lnTo>
                  <a:lnTo>
                    <a:pt x="1781" y="3170"/>
                  </a:lnTo>
                  <a:lnTo>
                    <a:pt x="1764" y="3180"/>
                  </a:lnTo>
                  <a:lnTo>
                    <a:pt x="1731" y="3163"/>
                  </a:lnTo>
                  <a:lnTo>
                    <a:pt x="1776" y="3163"/>
                  </a:lnTo>
                  <a:lnTo>
                    <a:pt x="1776" y="3163"/>
                  </a:lnTo>
                  <a:lnTo>
                    <a:pt x="1776" y="3163"/>
                  </a:lnTo>
                  <a:close/>
                  <a:moveTo>
                    <a:pt x="1873" y="3170"/>
                  </a:moveTo>
                  <a:lnTo>
                    <a:pt x="1873" y="3180"/>
                  </a:lnTo>
                  <a:lnTo>
                    <a:pt x="1856" y="3180"/>
                  </a:lnTo>
                  <a:lnTo>
                    <a:pt x="1873" y="3170"/>
                  </a:lnTo>
                  <a:lnTo>
                    <a:pt x="1873" y="3170"/>
                  </a:lnTo>
                  <a:lnTo>
                    <a:pt x="1873" y="3170"/>
                  </a:lnTo>
                  <a:close/>
                  <a:moveTo>
                    <a:pt x="1958" y="3208"/>
                  </a:moveTo>
                  <a:lnTo>
                    <a:pt x="1948" y="3225"/>
                  </a:lnTo>
                  <a:lnTo>
                    <a:pt x="1937" y="3236"/>
                  </a:lnTo>
                  <a:lnTo>
                    <a:pt x="1944" y="3208"/>
                  </a:lnTo>
                  <a:lnTo>
                    <a:pt x="1958" y="3208"/>
                  </a:lnTo>
                  <a:lnTo>
                    <a:pt x="1958" y="3208"/>
                  </a:lnTo>
                  <a:lnTo>
                    <a:pt x="1958" y="3208"/>
                  </a:lnTo>
                  <a:close/>
                  <a:moveTo>
                    <a:pt x="2067" y="3258"/>
                  </a:moveTo>
                  <a:lnTo>
                    <a:pt x="2045" y="3253"/>
                  </a:lnTo>
                  <a:lnTo>
                    <a:pt x="2029" y="3236"/>
                  </a:lnTo>
                  <a:lnTo>
                    <a:pt x="2100" y="3241"/>
                  </a:lnTo>
                  <a:lnTo>
                    <a:pt x="2088" y="3253"/>
                  </a:lnTo>
                  <a:lnTo>
                    <a:pt x="2067" y="3241"/>
                  </a:lnTo>
                  <a:lnTo>
                    <a:pt x="2071" y="3253"/>
                  </a:lnTo>
                  <a:lnTo>
                    <a:pt x="2067" y="3258"/>
                  </a:lnTo>
                  <a:lnTo>
                    <a:pt x="2067" y="3258"/>
                  </a:lnTo>
                  <a:lnTo>
                    <a:pt x="2067" y="3258"/>
                  </a:lnTo>
                  <a:close/>
                  <a:moveTo>
                    <a:pt x="2019" y="3241"/>
                  </a:moveTo>
                  <a:lnTo>
                    <a:pt x="2019" y="3253"/>
                  </a:lnTo>
                  <a:lnTo>
                    <a:pt x="2012" y="3258"/>
                  </a:lnTo>
                  <a:lnTo>
                    <a:pt x="1996" y="3253"/>
                  </a:lnTo>
                  <a:lnTo>
                    <a:pt x="2003" y="3236"/>
                  </a:lnTo>
                  <a:lnTo>
                    <a:pt x="2019" y="3241"/>
                  </a:lnTo>
                  <a:lnTo>
                    <a:pt x="2019" y="3241"/>
                  </a:lnTo>
                  <a:lnTo>
                    <a:pt x="2019" y="3241"/>
                  </a:lnTo>
                  <a:close/>
                  <a:moveTo>
                    <a:pt x="2071" y="3258"/>
                  </a:moveTo>
                  <a:lnTo>
                    <a:pt x="2071" y="3253"/>
                  </a:lnTo>
                  <a:lnTo>
                    <a:pt x="2083" y="3253"/>
                  </a:lnTo>
                  <a:lnTo>
                    <a:pt x="2071" y="3258"/>
                  </a:lnTo>
                  <a:lnTo>
                    <a:pt x="2071" y="3258"/>
                  </a:lnTo>
                  <a:lnTo>
                    <a:pt x="2071" y="3258"/>
                  </a:lnTo>
                  <a:close/>
                  <a:moveTo>
                    <a:pt x="2029" y="3265"/>
                  </a:moveTo>
                  <a:lnTo>
                    <a:pt x="2012" y="3258"/>
                  </a:lnTo>
                  <a:lnTo>
                    <a:pt x="2019" y="3253"/>
                  </a:lnTo>
                  <a:lnTo>
                    <a:pt x="2033" y="3253"/>
                  </a:lnTo>
                  <a:lnTo>
                    <a:pt x="2029" y="3265"/>
                  </a:lnTo>
                  <a:lnTo>
                    <a:pt x="2029" y="3265"/>
                  </a:lnTo>
                  <a:lnTo>
                    <a:pt x="2029" y="3265"/>
                  </a:lnTo>
                  <a:close/>
                  <a:moveTo>
                    <a:pt x="2083" y="3258"/>
                  </a:moveTo>
                  <a:lnTo>
                    <a:pt x="2083" y="3253"/>
                  </a:lnTo>
                  <a:lnTo>
                    <a:pt x="2088" y="3258"/>
                  </a:lnTo>
                  <a:lnTo>
                    <a:pt x="2083" y="3258"/>
                  </a:lnTo>
                  <a:lnTo>
                    <a:pt x="2083" y="3258"/>
                  </a:lnTo>
                  <a:lnTo>
                    <a:pt x="2083" y="3258"/>
                  </a:lnTo>
                  <a:close/>
                  <a:moveTo>
                    <a:pt x="2045" y="3274"/>
                  </a:moveTo>
                  <a:lnTo>
                    <a:pt x="2029" y="3265"/>
                  </a:lnTo>
                  <a:lnTo>
                    <a:pt x="2033" y="3258"/>
                  </a:lnTo>
                  <a:lnTo>
                    <a:pt x="2057" y="3265"/>
                  </a:lnTo>
                  <a:lnTo>
                    <a:pt x="2045" y="3274"/>
                  </a:lnTo>
                  <a:lnTo>
                    <a:pt x="2045" y="3274"/>
                  </a:lnTo>
                  <a:lnTo>
                    <a:pt x="2045" y="3274"/>
                  </a:lnTo>
                  <a:close/>
                </a:path>
              </a:pathLst>
            </a:custGeom>
            <a:solidFill>
              <a:schemeClr val="bg2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11" name="Freeform 453">
              <a:extLst>
                <a:ext uri="{FF2B5EF4-FFF2-40B4-BE49-F238E27FC236}">
                  <a16:creationId xmlns:a16="http://schemas.microsoft.com/office/drawing/2014/main" id="{A7D25096-A6B3-4FFB-A3CC-090FE48AEA0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223778" y="2063358"/>
              <a:ext cx="99298" cy="113891"/>
            </a:xfrm>
            <a:custGeom>
              <a:avLst/>
              <a:gdLst>
                <a:gd name="T0" fmla="*/ 442 w 647"/>
                <a:gd name="T1" fmla="*/ 454 h 742"/>
                <a:gd name="T2" fmla="*/ 480 w 647"/>
                <a:gd name="T3" fmla="*/ 543 h 742"/>
                <a:gd name="T4" fmla="*/ 534 w 647"/>
                <a:gd name="T5" fmla="*/ 621 h 742"/>
                <a:gd name="T6" fmla="*/ 496 w 647"/>
                <a:gd name="T7" fmla="*/ 704 h 742"/>
                <a:gd name="T8" fmla="*/ 484 w 647"/>
                <a:gd name="T9" fmla="*/ 704 h 742"/>
                <a:gd name="T10" fmla="*/ 354 w 647"/>
                <a:gd name="T11" fmla="*/ 720 h 742"/>
                <a:gd name="T12" fmla="*/ 312 w 647"/>
                <a:gd name="T13" fmla="*/ 732 h 742"/>
                <a:gd name="T14" fmla="*/ 241 w 647"/>
                <a:gd name="T15" fmla="*/ 704 h 742"/>
                <a:gd name="T16" fmla="*/ 177 w 647"/>
                <a:gd name="T17" fmla="*/ 704 h 742"/>
                <a:gd name="T18" fmla="*/ 118 w 647"/>
                <a:gd name="T19" fmla="*/ 704 h 742"/>
                <a:gd name="T20" fmla="*/ 140 w 647"/>
                <a:gd name="T21" fmla="*/ 621 h 742"/>
                <a:gd name="T22" fmla="*/ 102 w 647"/>
                <a:gd name="T23" fmla="*/ 565 h 742"/>
                <a:gd name="T24" fmla="*/ 43 w 647"/>
                <a:gd name="T25" fmla="*/ 539 h 742"/>
                <a:gd name="T26" fmla="*/ 26 w 647"/>
                <a:gd name="T27" fmla="*/ 472 h 742"/>
                <a:gd name="T28" fmla="*/ 14 w 647"/>
                <a:gd name="T29" fmla="*/ 416 h 742"/>
                <a:gd name="T30" fmla="*/ 14 w 647"/>
                <a:gd name="T31" fmla="*/ 371 h 742"/>
                <a:gd name="T32" fmla="*/ 69 w 647"/>
                <a:gd name="T33" fmla="*/ 300 h 742"/>
                <a:gd name="T34" fmla="*/ 64 w 647"/>
                <a:gd name="T35" fmla="*/ 243 h 742"/>
                <a:gd name="T36" fmla="*/ 102 w 647"/>
                <a:gd name="T37" fmla="*/ 177 h 742"/>
                <a:gd name="T38" fmla="*/ 85 w 647"/>
                <a:gd name="T39" fmla="*/ 168 h 742"/>
                <a:gd name="T40" fmla="*/ 161 w 647"/>
                <a:gd name="T41" fmla="*/ 149 h 742"/>
                <a:gd name="T42" fmla="*/ 177 w 647"/>
                <a:gd name="T43" fmla="*/ 149 h 742"/>
                <a:gd name="T44" fmla="*/ 189 w 647"/>
                <a:gd name="T45" fmla="*/ 149 h 742"/>
                <a:gd name="T46" fmla="*/ 203 w 647"/>
                <a:gd name="T47" fmla="*/ 116 h 742"/>
                <a:gd name="T48" fmla="*/ 265 w 647"/>
                <a:gd name="T49" fmla="*/ 139 h 742"/>
                <a:gd name="T50" fmla="*/ 227 w 647"/>
                <a:gd name="T51" fmla="*/ 94 h 742"/>
                <a:gd name="T52" fmla="*/ 194 w 647"/>
                <a:gd name="T53" fmla="*/ 66 h 742"/>
                <a:gd name="T54" fmla="*/ 173 w 647"/>
                <a:gd name="T55" fmla="*/ 28 h 742"/>
                <a:gd name="T56" fmla="*/ 189 w 647"/>
                <a:gd name="T57" fmla="*/ 12 h 742"/>
                <a:gd name="T58" fmla="*/ 295 w 647"/>
                <a:gd name="T59" fmla="*/ 45 h 742"/>
                <a:gd name="T60" fmla="*/ 371 w 647"/>
                <a:gd name="T61" fmla="*/ 66 h 742"/>
                <a:gd name="T62" fmla="*/ 350 w 647"/>
                <a:gd name="T63" fmla="*/ 116 h 742"/>
                <a:gd name="T64" fmla="*/ 442 w 647"/>
                <a:gd name="T65" fmla="*/ 83 h 742"/>
                <a:gd name="T66" fmla="*/ 458 w 647"/>
                <a:gd name="T67" fmla="*/ 78 h 742"/>
                <a:gd name="T68" fmla="*/ 555 w 647"/>
                <a:gd name="T69" fmla="*/ 83 h 742"/>
                <a:gd name="T70" fmla="*/ 605 w 647"/>
                <a:gd name="T71" fmla="*/ 168 h 742"/>
                <a:gd name="T72" fmla="*/ 619 w 647"/>
                <a:gd name="T73" fmla="*/ 243 h 742"/>
                <a:gd name="T74" fmla="*/ 619 w 647"/>
                <a:gd name="T75" fmla="*/ 317 h 742"/>
                <a:gd name="T76" fmla="*/ 647 w 647"/>
                <a:gd name="T77" fmla="*/ 371 h 742"/>
                <a:gd name="T78" fmla="*/ 593 w 647"/>
                <a:gd name="T79" fmla="*/ 387 h 742"/>
                <a:gd name="T80" fmla="*/ 539 w 647"/>
                <a:gd name="T81" fmla="*/ 416 h 742"/>
                <a:gd name="T82" fmla="*/ 194 w 647"/>
                <a:gd name="T83" fmla="*/ 40 h 742"/>
                <a:gd name="T84" fmla="*/ 194 w 647"/>
                <a:gd name="T85" fmla="*/ 40 h 742"/>
                <a:gd name="T86" fmla="*/ 177 w 647"/>
                <a:gd name="T87" fmla="*/ 28 h 742"/>
                <a:gd name="T88" fmla="*/ 529 w 647"/>
                <a:gd name="T89" fmla="*/ 78 h 742"/>
                <a:gd name="T90" fmla="*/ 517 w 647"/>
                <a:gd name="T91" fmla="*/ 45 h 742"/>
                <a:gd name="T92" fmla="*/ 517 w 647"/>
                <a:gd name="T93" fmla="*/ 40 h 742"/>
                <a:gd name="T94" fmla="*/ 539 w 647"/>
                <a:gd name="T95" fmla="*/ 61 h 742"/>
                <a:gd name="T96" fmla="*/ 529 w 647"/>
                <a:gd name="T97" fmla="*/ 78 h 742"/>
                <a:gd name="T98" fmla="*/ 194 w 647"/>
                <a:gd name="T99" fmla="*/ 57 h 742"/>
                <a:gd name="T100" fmla="*/ 203 w 647"/>
                <a:gd name="T101" fmla="*/ 57 h 742"/>
                <a:gd name="T102" fmla="*/ 371 w 647"/>
                <a:gd name="T103" fmla="*/ 57 h 742"/>
                <a:gd name="T104" fmla="*/ 588 w 647"/>
                <a:gd name="T105" fmla="*/ 111 h 742"/>
                <a:gd name="T106" fmla="*/ 572 w 647"/>
                <a:gd name="T107" fmla="*/ 94 h 742"/>
                <a:gd name="T108" fmla="*/ 588 w 647"/>
                <a:gd name="T109" fmla="*/ 111 h 742"/>
                <a:gd name="T110" fmla="*/ 392 w 647"/>
                <a:gd name="T111" fmla="*/ 99 h 742"/>
                <a:gd name="T112" fmla="*/ 64 w 647"/>
                <a:gd name="T113" fmla="*/ 149 h 742"/>
                <a:gd name="T114" fmla="*/ 64 w 647"/>
                <a:gd name="T115" fmla="*/ 149 h 7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647" h="742">
                  <a:moveTo>
                    <a:pt x="501" y="449"/>
                  </a:moveTo>
                  <a:lnTo>
                    <a:pt x="475" y="449"/>
                  </a:lnTo>
                  <a:lnTo>
                    <a:pt x="458" y="465"/>
                  </a:lnTo>
                  <a:lnTo>
                    <a:pt x="442" y="454"/>
                  </a:lnTo>
                  <a:lnTo>
                    <a:pt x="447" y="482"/>
                  </a:lnTo>
                  <a:lnTo>
                    <a:pt x="475" y="498"/>
                  </a:lnTo>
                  <a:lnTo>
                    <a:pt x="463" y="522"/>
                  </a:lnTo>
                  <a:lnTo>
                    <a:pt x="480" y="543"/>
                  </a:lnTo>
                  <a:lnTo>
                    <a:pt x="501" y="555"/>
                  </a:lnTo>
                  <a:lnTo>
                    <a:pt x="567" y="598"/>
                  </a:lnTo>
                  <a:lnTo>
                    <a:pt x="555" y="621"/>
                  </a:lnTo>
                  <a:lnTo>
                    <a:pt x="534" y="621"/>
                  </a:lnTo>
                  <a:lnTo>
                    <a:pt x="534" y="638"/>
                  </a:lnTo>
                  <a:lnTo>
                    <a:pt x="484" y="666"/>
                  </a:lnTo>
                  <a:lnTo>
                    <a:pt x="501" y="687"/>
                  </a:lnTo>
                  <a:lnTo>
                    <a:pt x="496" y="704"/>
                  </a:lnTo>
                  <a:lnTo>
                    <a:pt x="513" y="704"/>
                  </a:lnTo>
                  <a:lnTo>
                    <a:pt x="501" y="720"/>
                  </a:lnTo>
                  <a:lnTo>
                    <a:pt x="484" y="720"/>
                  </a:lnTo>
                  <a:lnTo>
                    <a:pt x="484" y="704"/>
                  </a:lnTo>
                  <a:lnTo>
                    <a:pt x="409" y="709"/>
                  </a:lnTo>
                  <a:lnTo>
                    <a:pt x="371" y="725"/>
                  </a:lnTo>
                  <a:lnTo>
                    <a:pt x="366" y="725"/>
                  </a:lnTo>
                  <a:lnTo>
                    <a:pt x="354" y="720"/>
                  </a:lnTo>
                  <a:lnTo>
                    <a:pt x="324" y="709"/>
                  </a:lnTo>
                  <a:lnTo>
                    <a:pt x="324" y="725"/>
                  </a:lnTo>
                  <a:lnTo>
                    <a:pt x="302" y="742"/>
                  </a:lnTo>
                  <a:lnTo>
                    <a:pt x="312" y="732"/>
                  </a:lnTo>
                  <a:lnTo>
                    <a:pt x="286" y="720"/>
                  </a:lnTo>
                  <a:lnTo>
                    <a:pt x="279" y="709"/>
                  </a:lnTo>
                  <a:lnTo>
                    <a:pt x="265" y="720"/>
                  </a:lnTo>
                  <a:lnTo>
                    <a:pt x="241" y="704"/>
                  </a:lnTo>
                  <a:lnTo>
                    <a:pt x="203" y="704"/>
                  </a:lnTo>
                  <a:lnTo>
                    <a:pt x="203" y="692"/>
                  </a:lnTo>
                  <a:lnTo>
                    <a:pt x="194" y="692"/>
                  </a:lnTo>
                  <a:lnTo>
                    <a:pt x="177" y="704"/>
                  </a:lnTo>
                  <a:lnTo>
                    <a:pt x="194" y="704"/>
                  </a:lnTo>
                  <a:lnTo>
                    <a:pt x="194" y="709"/>
                  </a:lnTo>
                  <a:lnTo>
                    <a:pt x="123" y="709"/>
                  </a:lnTo>
                  <a:lnTo>
                    <a:pt x="118" y="704"/>
                  </a:lnTo>
                  <a:lnTo>
                    <a:pt x="123" y="676"/>
                  </a:lnTo>
                  <a:lnTo>
                    <a:pt x="123" y="666"/>
                  </a:lnTo>
                  <a:lnTo>
                    <a:pt x="135" y="638"/>
                  </a:lnTo>
                  <a:lnTo>
                    <a:pt x="140" y="621"/>
                  </a:lnTo>
                  <a:lnTo>
                    <a:pt x="173" y="581"/>
                  </a:lnTo>
                  <a:lnTo>
                    <a:pt x="135" y="576"/>
                  </a:lnTo>
                  <a:lnTo>
                    <a:pt x="106" y="565"/>
                  </a:lnTo>
                  <a:lnTo>
                    <a:pt x="102" y="565"/>
                  </a:lnTo>
                  <a:lnTo>
                    <a:pt x="80" y="560"/>
                  </a:lnTo>
                  <a:lnTo>
                    <a:pt x="64" y="565"/>
                  </a:lnTo>
                  <a:lnTo>
                    <a:pt x="47" y="543"/>
                  </a:lnTo>
                  <a:lnTo>
                    <a:pt x="43" y="539"/>
                  </a:lnTo>
                  <a:lnTo>
                    <a:pt x="43" y="539"/>
                  </a:lnTo>
                  <a:lnTo>
                    <a:pt x="47" y="505"/>
                  </a:lnTo>
                  <a:lnTo>
                    <a:pt x="31" y="498"/>
                  </a:lnTo>
                  <a:lnTo>
                    <a:pt x="26" y="472"/>
                  </a:lnTo>
                  <a:lnTo>
                    <a:pt x="26" y="465"/>
                  </a:lnTo>
                  <a:lnTo>
                    <a:pt x="43" y="454"/>
                  </a:lnTo>
                  <a:lnTo>
                    <a:pt x="31" y="428"/>
                  </a:lnTo>
                  <a:lnTo>
                    <a:pt x="14" y="416"/>
                  </a:lnTo>
                  <a:lnTo>
                    <a:pt x="14" y="399"/>
                  </a:lnTo>
                  <a:lnTo>
                    <a:pt x="0" y="387"/>
                  </a:lnTo>
                  <a:lnTo>
                    <a:pt x="14" y="378"/>
                  </a:lnTo>
                  <a:lnTo>
                    <a:pt x="14" y="371"/>
                  </a:lnTo>
                  <a:lnTo>
                    <a:pt x="31" y="361"/>
                  </a:lnTo>
                  <a:lnTo>
                    <a:pt x="31" y="345"/>
                  </a:lnTo>
                  <a:lnTo>
                    <a:pt x="10" y="317"/>
                  </a:lnTo>
                  <a:lnTo>
                    <a:pt x="69" y="300"/>
                  </a:lnTo>
                  <a:lnTo>
                    <a:pt x="64" y="288"/>
                  </a:lnTo>
                  <a:lnTo>
                    <a:pt x="85" y="276"/>
                  </a:lnTo>
                  <a:lnTo>
                    <a:pt x="85" y="260"/>
                  </a:lnTo>
                  <a:lnTo>
                    <a:pt x="64" y="243"/>
                  </a:lnTo>
                  <a:lnTo>
                    <a:pt x="69" y="234"/>
                  </a:lnTo>
                  <a:lnTo>
                    <a:pt x="85" y="234"/>
                  </a:lnTo>
                  <a:lnTo>
                    <a:pt x="102" y="205"/>
                  </a:lnTo>
                  <a:lnTo>
                    <a:pt x="102" y="177"/>
                  </a:lnTo>
                  <a:lnTo>
                    <a:pt x="102" y="172"/>
                  </a:lnTo>
                  <a:lnTo>
                    <a:pt x="106" y="172"/>
                  </a:lnTo>
                  <a:lnTo>
                    <a:pt x="85" y="168"/>
                  </a:lnTo>
                  <a:lnTo>
                    <a:pt x="85" y="168"/>
                  </a:lnTo>
                  <a:lnTo>
                    <a:pt x="97" y="139"/>
                  </a:lnTo>
                  <a:lnTo>
                    <a:pt x="102" y="132"/>
                  </a:lnTo>
                  <a:lnTo>
                    <a:pt x="156" y="132"/>
                  </a:lnTo>
                  <a:lnTo>
                    <a:pt x="161" y="149"/>
                  </a:lnTo>
                  <a:lnTo>
                    <a:pt x="156" y="149"/>
                  </a:lnTo>
                  <a:lnTo>
                    <a:pt x="161" y="156"/>
                  </a:lnTo>
                  <a:lnTo>
                    <a:pt x="173" y="156"/>
                  </a:lnTo>
                  <a:lnTo>
                    <a:pt x="177" y="149"/>
                  </a:lnTo>
                  <a:lnTo>
                    <a:pt x="173" y="149"/>
                  </a:lnTo>
                  <a:lnTo>
                    <a:pt x="173" y="139"/>
                  </a:lnTo>
                  <a:lnTo>
                    <a:pt x="177" y="139"/>
                  </a:lnTo>
                  <a:lnTo>
                    <a:pt x="189" y="149"/>
                  </a:lnTo>
                  <a:lnTo>
                    <a:pt x="189" y="168"/>
                  </a:lnTo>
                  <a:lnTo>
                    <a:pt x="194" y="149"/>
                  </a:lnTo>
                  <a:lnTo>
                    <a:pt x="189" y="132"/>
                  </a:lnTo>
                  <a:lnTo>
                    <a:pt x="203" y="116"/>
                  </a:lnTo>
                  <a:lnTo>
                    <a:pt x="241" y="116"/>
                  </a:lnTo>
                  <a:lnTo>
                    <a:pt x="265" y="139"/>
                  </a:lnTo>
                  <a:lnTo>
                    <a:pt x="279" y="149"/>
                  </a:lnTo>
                  <a:lnTo>
                    <a:pt x="265" y="139"/>
                  </a:lnTo>
                  <a:lnTo>
                    <a:pt x="248" y="116"/>
                  </a:lnTo>
                  <a:lnTo>
                    <a:pt x="215" y="111"/>
                  </a:lnTo>
                  <a:lnTo>
                    <a:pt x="210" y="99"/>
                  </a:lnTo>
                  <a:lnTo>
                    <a:pt x="227" y="94"/>
                  </a:lnTo>
                  <a:lnTo>
                    <a:pt x="210" y="83"/>
                  </a:lnTo>
                  <a:lnTo>
                    <a:pt x="215" y="78"/>
                  </a:lnTo>
                  <a:lnTo>
                    <a:pt x="203" y="78"/>
                  </a:lnTo>
                  <a:lnTo>
                    <a:pt x="194" y="66"/>
                  </a:lnTo>
                  <a:lnTo>
                    <a:pt x="227" y="57"/>
                  </a:lnTo>
                  <a:lnTo>
                    <a:pt x="194" y="12"/>
                  </a:lnTo>
                  <a:lnTo>
                    <a:pt x="173" y="12"/>
                  </a:lnTo>
                  <a:lnTo>
                    <a:pt x="173" y="28"/>
                  </a:lnTo>
                  <a:lnTo>
                    <a:pt x="177" y="0"/>
                  </a:lnTo>
                  <a:lnTo>
                    <a:pt x="189" y="0"/>
                  </a:lnTo>
                  <a:lnTo>
                    <a:pt x="177" y="5"/>
                  </a:lnTo>
                  <a:lnTo>
                    <a:pt x="189" y="12"/>
                  </a:lnTo>
                  <a:lnTo>
                    <a:pt x="203" y="12"/>
                  </a:lnTo>
                  <a:lnTo>
                    <a:pt x="258" y="24"/>
                  </a:lnTo>
                  <a:lnTo>
                    <a:pt x="295" y="28"/>
                  </a:lnTo>
                  <a:lnTo>
                    <a:pt x="295" y="45"/>
                  </a:lnTo>
                  <a:lnTo>
                    <a:pt x="286" y="61"/>
                  </a:lnTo>
                  <a:lnTo>
                    <a:pt x="302" y="57"/>
                  </a:lnTo>
                  <a:lnTo>
                    <a:pt x="340" y="66"/>
                  </a:lnTo>
                  <a:lnTo>
                    <a:pt x="371" y="66"/>
                  </a:lnTo>
                  <a:lnTo>
                    <a:pt x="371" y="83"/>
                  </a:lnTo>
                  <a:lnTo>
                    <a:pt x="350" y="99"/>
                  </a:lnTo>
                  <a:lnTo>
                    <a:pt x="354" y="99"/>
                  </a:lnTo>
                  <a:lnTo>
                    <a:pt x="350" y="116"/>
                  </a:lnTo>
                  <a:lnTo>
                    <a:pt x="371" y="99"/>
                  </a:lnTo>
                  <a:lnTo>
                    <a:pt x="392" y="111"/>
                  </a:lnTo>
                  <a:lnTo>
                    <a:pt x="409" y="83"/>
                  </a:lnTo>
                  <a:lnTo>
                    <a:pt x="442" y="83"/>
                  </a:lnTo>
                  <a:lnTo>
                    <a:pt x="475" y="57"/>
                  </a:lnTo>
                  <a:lnTo>
                    <a:pt x="501" y="61"/>
                  </a:lnTo>
                  <a:lnTo>
                    <a:pt x="463" y="61"/>
                  </a:lnTo>
                  <a:lnTo>
                    <a:pt x="458" y="78"/>
                  </a:lnTo>
                  <a:lnTo>
                    <a:pt x="475" y="66"/>
                  </a:lnTo>
                  <a:lnTo>
                    <a:pt x="501" y="61"/>
                  </a:lnTo>
                  <a:lnTo>
                    <a:pt x="534" y="94"/>
                  </a:lnTo>
                  <a:lnTo>
                    <a:pt x="555" y="83"/>
                  </a:lnTo>
                  <a:lnTo>
                    <a:pt x="567" y="111"/>
                  </a:lnTo>
                  <a:lnTo>
                    <a:pt x="567" y="116"/>
                  </a:lnTo>
                  <a:lnTo>
                    <a:pt x="593" y="132"/>
                  </a:lnTo>
                  <a:lnTo>
                    <a:pt x="605" y="168"/>
                  </a:lnTo>
                  <a:lnTo>
                    <a:pt x="605" y="189"/>
                  </a:lnTo>
                  <a:lnTo>
                    <a:pt x="588" y="205"/>
                  </a:lnTo>
                  <a:lnTo>
                    <a:pt x="588" y="210"/>
                  </a:lnTo>
                  <a:lnTo>
                    <a:pt x="619" y="243"/>
                  </a:lnTo>
                  <a:lnTo>
                    <a:pt x="610" y="260"/>
                  </a:lnTo>
                  <a:lnTo>
                    <a:pt x="626" y="276"/>
                  </a:lnTo>
                  <a:lnTo>
                    <a:pt x="626" y="288"/>
                  </a:lnTo>
                  <a:lnTo>
                    <a:pt x="619" y="317"/>
                  </a:lnTo>
                  <a:lnTo>
                    <a:pt x="626" y="333"/>
                  </a:lnTo>
                  <a:lnTo>
                    <a:pt x="626" y="345"/>
                  </a:lnTo>
                  <a:lnTo>
                    <a:pt x="643" y="345"/>
                  </a:lnTo>
                  <a:lnTo>
                    <a:pt x="647" y="371"/>
                  </a:lnTo>
                  <a:lnTo>
                    <a:pt x="636" y="411"/>
                  </a:lnTo>
                  <a:lnTo>
                    <a:pt x="619" y="411"/>
                  </a:lnTo>
                  <a:lnTo>
                    <a:pt x="610" y="394"/>
                  </a:lnTo>
                  <a:lnTo>
                    <a:pt x="593" y="387"/>
                  </a:lnTo>
                  <a:lnTo>
                    <a:pt x="593" y="394"/>
                  </a:lnTo>
                  <a:lnTo>
                    <a:pt x="605" y="399"/>
                  </a:lnTo>
                  <a:lnTo>
                    <a:pt x="593" y="399"/>
                  </a:lnTo>
                  <a:lnTo>
                    <a:pt x="539" y="416"/>
                  </a:lnTo>
                  <a:lnTo>
                    <a:pt x="501" y="449"/>
                  </a:lnTo>
                  <a:lnTo>
                    <a:pt x="501" y="449"/>
                  </a:lnTo>
                  <a:lnTo>
                    <a:pt x="501" y="449"/>
                  </a:lnTo>
                  <a:close/>
                  <a:moveTo>
                    <a:pt x="194" y="40"/>
                  </a:moveTo>
                  <a:lnTo>
                    <a:pt x="177" y="28"/>
                  </a:lnTo>
                  <a:lnTo>
                    <a:pt x="194" y="28"/>
                  </a:lnTo>
                  <a:lnTo>
                    <a:pt x="194" y="40"/>
                  </a:lnTo>
                  <a:lnTo>
                    <a:pt x="194" y="40"/>
                  </a:lnTo>
                  <a:lnTo>
                    <a:pt x="194" y="40"/>
                  </a:lnTo>
                  <a:close/>
                  <a:moveTo>
                    <a:pt x="177" y="45"/>
                  </a:moveTo>
                  <a:lnTo>
                    <a:pt x="173" y="40"/>
                  </a:lnTo>
                  <a:lnTo>
                    <a:pt x="177" y="28"/>
                  </a:lnTo>
                  <a:lnTo>
                    <a:pt x="177" y="45"/>
                  </a:lnTo>
                  <a:lnTo>
                    <a:pt x="177" y="45"/>
                  </a:lnTo>
                  <a:lnTo>
                    <a:pt x="177" y="45"/>
                  </a:lnTo>
                  <a:close/>
                  <a:moveTo>
                    <a:pt x="529" y="78"/>
                  </a:moveTo>
                  <a:lnTo>
                    <a:pt x="534" y="78"/>
                  </a:lnTo>
                  <a:lnTo>
                    <a:pt x="513" y="66"/>
                  </a:lnTo>
                  <a:lnTo>
                    <a:pt x="529" y="61"/>
                  </a:lnTo>
                  <a:lnTo>
                    <a:pt x="517" y="45"/>
                  </a:lnTo>
                  <a:lnTo>
                    <a:pt x="539" y="57"/>
                  </a:lnTo>
                  <a:lnTo>
                    <a:pt x="534" y="45"/>
                  </a:lnTo>
                  <a:lnTo>
                    <a:pt x="517" y="45"/>
                  </a:lnTo>
                  <a:lnTo>
                    <a:pt x="517" y="40"/>
                  </a:lnTo>
                  <a:lnTo>
                    <a:pt x="534" y="40"/>
                  </a:lnTo>
                  <a:lnTo>
                    <a:pt x="534" y="45"/>
                  </a:lnTo>
                  <a:lnTo>
                    <a:pt x="551" y="45"/>
                  </a:lnTo>
                  <a:lnTo>
                    <a:pt x="539" y="61"/>
                  </a:lnTo>
                  <a:lnTo>
                    <a:pt x="555" y="78"/>
                  </a:lnTo>
                  <a:lnTo>
                    <a:pt x="551" y="66"/>
                  </a:lnTo>
                  <a:lnTo>
                    <a:pt x="539" y="66"/>
                  </a:lnTo>
                  <a:lnTo>
                    <a:pt x="529" y="78"/>
                  </a:lnTo>
                  <a:lnTo>
                    <a:pt x="529" y="78"/>
                  </a:lnTo>
                  <a:lnTo>
                    <a:pt x="529" y="78"/>
                  </a:lnTo>
                  <a:close/>
                  <a:moveTo>
                    <a:pt x="203" y="57"/>
                  </a:moveTo>
                  <a:lnTo>
                    <a:pt x="194" y="57"/>
                  </a:lnTo>
                  <a:lnTo>
                    <a:pt x="203" y="45"/>
                  </a:lnTo>
                  <a:lnTo>
                    <a:pt x="203" y="57"/>
                  </a:lnTo>
                  <a:lnTo>
                    <a:pt x="203" y="57"/>
                  </a:lnTo>
                  <a:lnTo>
                    <a:pt x="203" y="57"/>
                  </a:lnTo>
                  <a:close/>
                  <a:moveTo>
                    <a:pt x="378" y="61"/>
                  </a:moveTo>
                  <a:lnTo>
                    <a:pt x="388" y="61"/>
                  </a:lnTo>
                  <a:lnTo>
                    <a:pt x="366" y="61"/>
                  </a:lnTo>
                  <a:lnTo>
                    <a:pt x="371" y="57"/>
                  </a:lnTo>
                  <a:lnTo>
                    <a:pt x="378" y="61"/>
                  </a:lnTo>
                  <a:lnTo>
                    <a:pt x="378" y="61"/>
                  </a:lnTo>
                  <a:lnTo>
                    <a:pt x="378" y="61"/>
                  </a:lnTo>
                  <a:close/>
                  <a:moveTo>
                    <a:pt x="588" y="111"/>
                  </a:moveTo>
                  <a:lnTo>
                    <a:pt x="588" y="116"/>
                  </a:lnTo>
                  <a:lnTo>
                    <a:pt x="567" y="116"/>
                  </a:lnTo>
                  <a:lnTo>
                    <a:pt x="581" y="99"/>
                  </a:lnTo>
                  <a:lnTo>
                    <a:pt x="572" y="94"/>
                  </a:lnTo>
                  <a:lnTo>
                    <a:pt x="567" y="99"/>
                  </a:lnTo>
                  <a:lnTo>
                    <a:pt x="555" y="83"/>
                  </a:lnTo>
                  <a:lnTo>
                    <a:pt x="588" y="111"/>
                  </a:lnTo>
                  <a:lnTo>
                    <a:pt x="588" y="111"/>
                  </a:lnTo>
                  <a:lnTo>
                    <a:pt x="588" y="111"/>
                  </a:lnTo>
                  <a:close/>
                  <a:moveTo>
                    <a:pt x="392" y="111"/>
                  </a:moveTo>
                  <a:lnTo>
                    <a:pt x="388" y="99"/>
                  </a:lnTo>
                  <a:lnTo>
                    <a:pt x="392" y="99"/>
                  </a:lnTo>
                  <a:lnTo>
                    <a:pt x="392" y="111"/>
                  </a:lnTo>
                  <a:lnTo>
                    <a:pt x="392" y="111"/>
                  </a:lnTo>
                  <a:lnTo>
                    <a:pt x="392" y="111"/>
                  </a:lnTo>
                  <a:close/>
                  <a:moveTo>
                    <a:pt x="64" y="149"/>
                  </a:moveTo>
                  <a:lnTo>
                    <a:pt x="64" y="139"/>
                  </a:lnTo>
                  <a:lnTo>
                    <a:pt x="69" y="139"/>
                  </a:lnTo>
                  <a:lnTo>
                    <a:pt x="64" y="149"/>
                  </a:lnTo>
                  <a:lnTo>
                    <a:pt x="64" y="149"/>
                  </a:lnTo>
                  <a:lnTo>
                    <a:pt x="64" y="149"/>
                  </a:lnTo>
                  <a:close/>
                </a:path>
              </a:pathLst>
            </a:custGeom>
            <a:solidFill>
              <a:schemeClr val="bg2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12" name="Freeform 454">
              <a:extLst>
                <a:ext uri="{FF2B5EF4-FFF2-40B4-BE49-F238E27FC236}">
                  <a16:creationId xmlns:a16="http://schemas.microsoft.com/office/drawing/2014/main" id="{B6FC5508-690F-49C1-AFD3-B06ED8D6245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482034" y="2539797"/>
              <a:ext cx="20259" cy="25326"/>
            </a:xfrm>
            <a:custGeom>
              <a:avLst/>
              <a:gdLst>
                <a:gd name="T0" fmla="*/ 5 w 132"/>
                <a:gd name="T1" fmla="*/ 5 h 165"/>
                <a:gd name="T2" fmla="*/ 0 w 132"/>
                <a:gd name="T3" fmla="*/ 5 h 165"/>
                <a:gd name="T4" fmla="*/ 5 w 132"/>
                <a:gd name="T5" fmla="*/ 0 h 165"/>
                <a:gd name="T6" fmla="*/ 5 w 132"/>
                <a:gd name="T7" fmla="*/ 5 h 165"/>
                <a:gd name="T8" fmla="*/ 5 w 132"/>
                <a:gd name="T9" fmla="*/ 5 h 165"/>
                <a:gd name="T10" fmla="*/ 5 w 132"/>
                <a:gd name="T11" fmla="*/ 5 h 165"/>
                <a:gd name="T12" fmla="*/ 21 w 132"/>
                <a:gd name="T13" fmla="*/ 16 h 165"/>
                <a:gd name="T14" fmla="*/ 12 w 132"/>
                <a:gd name="T15" fmla="*/ 16 h 165"/>
                <a:gd name="T16" fmla="*/ 21 w 132"/>
                <a:gd name="T17" fmla="*/ 16 h 165"/>
                <a:gd name="T18" fmla="*/ 21 w 132"/>
                <a:gd name="T19" fmla="*/ 16 h 165"/>
                <a:gd name="T20" fmla="*/ 21 w 132"/>
                <a:gd name="T21" fmla="*/ 16 h 165"/>
                <a:gd name="T22" fmla="*/ 21 w 132"/>
                <a:gd name="T23" fmla="*/ 16 h 165"/>
                <a:gd name="T24" fmla="*/ 111 w 132"/>
                <a:gd name="T25" fmla="*/ 132 h 165"/>
                <a:gd name="T26" fmla="*/ 111 w 132"/>
                <a:gd name="T27" fmla="*/ 116 h 165"/>
                <a:gd name="T28" fmla="*/ 118 w 132"/>
                <a:gd name="T29" fmla="*/ 132 h 165"/>
                <a:gd name="T30" fmla="*/ 132 w 132"/>
                <a:gd name="T31" fmla="*/ 132 h 165"/>
                <a:gd name="T32" fmla="*/ 106 w 132"/>
                <a:gd name="T33" fmla="*/ 144 h 165"/>
                <a:gd name="T34" fmla="*/ 106 w 132"/>
                <a:gd name="T35" fmla="*/ 156 h 165"/>
                <a:gd name="T36" fmla="*/ 97 w 132"/>
                <a:gd name="T37" fmla="*/ 156 h 165"/>
                <a:gd name="T38" fmla="*/ 90 w 132"/>
                <a:gd name="T39" fmla="*/ 132 h 165"/>
                <a:gd name="T40" fmla="*/ 111 w 132"/>
                <a:gd name="T41" fmla="*/ 132 h 165"/>
                <a:gd name="T42" fmla="*/ 111 w 132"/>
                <a:gd name="T43" fmla="*/ 132 h 165"/>
                <a:gd name="T44" fmla="*/ 111 w 132"/>
                <a:gd name="T45" fmla="*/ 132 h 165"/>
                <a:gd name="T46" fmla="*/ 128 w 132"/>
                <a:gd name="T47" fmla="*/ 165 h 165"/>
                <a:gd name="T48" fmla="*/ 118 w 132"/>
                <a:gd name="T49" fmla="*/ 165 h 165"/>
                <a:gd name="T50" fmla="*/ 128 w 132"/>
                <a:gd name="T51" fmla="*/ 156 h 165"/>
                <a:gd name="T52" fmla="*/ 132 w 132"/>
                <a:gd name="T53" fmla="*/ 165 h 165"/>
                <a:gd name="T54" fmla="*/ 128 w 132"/>
                <a:gd name="T55" fmla="*/ 165 h 165"/>
                <a:gd name="T56" fmla="*/ 128 w 132"/>
                <a:gd name="T57" fmla="*/ 165 h 165"/>
                <a:gd name="T58" fmla="*/ 128 w 132"/>
                <a:gd name="T59" fmla="*/ 165 h 1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32" h="165">
                  <a:moveTo>
                    <a:pt x="5" y="5"/>
                  </a:moveTo>
                  <a:lnTo>
                    <a:pt x="0" y="5"/>
                  </a:lnTo>
                  <a:lnTo>
                    <a:pt x="5" y="0"/>
                  </a:lnTo>
                  <a:lnTo>
                    <a:pt x="5" y="5"/>
                  </a:lnTo>
                  <a:lnTo>
                    <a:pt x="5" y="5"/>
                  </a:lnTo>
                  <a:lnTo>
                    <a:pt x="5" y="5"/>
                  </a:lnTo>
                  <a:close/>
                  <a:moveTo>
                    <a:pt x="21" y="16"/>
                  </a:moveTo>
                  <a:lnTo>
                    <a:pt x="12" y="16"/>
                  </a:lnTo>
                  <a:lnTo>
                    <a:pt x="21" y="16"/>
                  </a:lnTo>
                  <a:lnTo>
                    <a:pt x="21" y="16"/>
                  </a:lnTo>
                  <a:lnTo>
                    <a:pt x="21" y="16"/>
                  </a:lnTo>
                  <a:lnTo>
                    <a:pt x="21" y="16"/>
                  </a:lnTo>
                  <a:close/>
                  <a:moveTo>
                    <a:pt x="111" y="132"/>
                  </a:moveTo>
                  <a:lnTo>
                    <a:pt x="111" y="116"/>
                  </a:lnTo>
                  <a:lnTo>
                    <a:pt x="118" y="132"/>
                  </a:lnTo>
                  <a:lnTo>
                    <a:pt x="132" y="132"/>
                  </a:lnTo>
                  <a:lnTo>
                    <a:pt x="106" y="144"/>
                  </a:lnTo>
                  <a:lnTo>
                    <a:pt x="106" y="156"/>
                  </a:lnTo>
                  <a:lnTo>
                    <a:pt x="97" y="156"/>
                  </a:lnTo>
                  <a:lnTo>
                    <a:pt x="90" y="132"/>
                  </a:lnTo>
                  <a:lnTo>
                    <a:pt x="111" y="132"/>
                  </a:lnTo>
                  <a:lnTo>
                    <a:pt x="111" y="132"/>
                  </a:lnTo>
                  <a:lnTo>
                    <a:pt x="111" y="132"/>
                  </a:lnTo>
                  <a:close/>
                  <a:moveTo>
                    <a:pt x="128" y="165"/>
                  </a:moveTo>
                  <a:lnTo>
                    <a:pt x="118" y="165"/>
                  </a:lnTo>
                  <a:lnTo>
                    <a:pt x="128" y="156"/>
                  </a:lnTo>
                  <a:lnTo>
                    <a:pt x="132" y="165"/>
                  </a:lnTo>
                  <a:lnTo>
                    <a:pt x="128" y="165"/>
                  </a:lnTo>
                  <a:lnTo>
                    <a:pt x="128" y="165"/>
                  </a:lnTo>
                  <a:lnTo>
                    <a:pt x="128" y="165"/>
                  </a:lnTo>
                  <a:close/>
                </a:path>
              </a:pathLst>
            </a:custGeom>
            <a:solidFill>
              <a:schemeClr val="bg2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13" name="Freeform 455">
              <a:extLst>
                <a:ext uri="{FF2B5EF4-FFF2-40B4-BE49-F238E27FC236}">
                  <a16:creationId xmlns:a16="http://schemas.microsoft.com/office/drawing/2014/main" id="{F972DE07-73C6-4B51-B636-125BC42964C3}"/>
                </a:ext>
              </a:extLst>
            </p:cNvPr>
            <p:cNvSpPr>
              <a:spLocks/>
            </p:cNvSpPr>
            <p:nvPr/>
          </p:nvSpPr>
          <p:spPr bwMode="gray">
            <a:xfrm>
              <a:off x="7718470" y="2590910"/>
              <a:ext cx="3377" cy="5372"/>
            </a:xfrm>
            <a:custGeom>
              <a:avLst/>
              <a:gdLst>
                <a:gd name="T0" fmla="*/ 7 w 22"/>
                <a:gd name="T1" fmla="*/ 35 h 35"/>
                <a:gd name="T2" fmla="*/ 0 w 22"/>
                <a:gd name="T3" fmla="*/ 19 h 35"/>
                <a:gd name="T4" fmla="*/ 17 w 22"/>
                <a:gd name="T5" fmla="*/ 0 h 35"/>
                <a:gd name="T6" fmla="*/ 22 w 22"/>
                <a:gd name="T7" fmla="*/ 0 h 35"/>
                <a:gd name="T8" fmla="*/ 7 w 22"/>
                <a:gd name="T9" fmla="*/ 35 h 35"/>
                <a:gd name="T10" fmla="*/ 7 w 22"/>
                <a:gd name="T11" fmla="*/ 35 h 35"/>
                <a:gd name="T12" fmla="*/ 7 w 22"/>
                <a:gd name="T13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" h="35">
                  <a:moveTo>
                    <a:pt x="7" y="35"/>
                  </a:moveTo>
                  <a:lnTo>
                    <a:pt x="0" y="19"/>
                  </a:lnTo>
                  <a:lnTo>
                    <a:pt x="17" y="0"/>
                  </a:lnTo>
                  <a:lnTo>
                    <a:pt x="22" y="0"/>
                  </a:lnTo>
                  <a:lnTo>
                    <a:pt x="7" y="35"/>
                  </a:lnTo>
                  <a:lnTo>
                    <a:pt x="7" y="35"/>
                  </a:lnTo>
                  <a:lnTo>
                    <a:pt x="7" y="35"/>
                  </a:lnTo>
                  <a:close/>
                </a:path>
              </a:pathLst>
            </a:custGeom>
            <a:solidFill>
              <a:schemeClr val="bg2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14" name="Freeform 456">
              <a:extLst>
                <a:ext uri="{FF2B5EF4-FFF2-40B4-BE49-F238E27FC236}">
                  <a16:creationId xmlns:a16="http://schemas.microsoft.com/office/drawing/2014/main" id="{1AD8212C-2CFD-4CBB-95CD-9E2C9475AD7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373876" y="2252921"/>
              <a:ext cx="90704" cy="87030"/>
            </a:xfrm>
            <a:custGeom>
              <a:avLst/>
              <a:gdLst>
                <a:gd name="T0" fmla="*/ 76 w 591"/>
                <a:gd name="T1" fmla="*/ 111 h 567"/>
                <a:gd name="T2" fmla="*/ 227 w 591"/>
                <a:gd name="T3" fmla="*/ 29 h 567"/>
                <a:gd name="T4" fmla="*/ 484 w 591"/>
                <a:gd name="T5" fmla="*/ 7 h 567"/>
                <a:gd name="T6" fmla="*/ 350 w 591"/>
                <a:gd name="T7" fmla="*/ 69 h 567"/>
                <a:gd name="T8" fmla="*/ 324 w 591"/>
                <a:gd name="T9" fmla="*/ 135 h 567"/>
                <a:gd name="T10" fmla="*/ 274 w 591"/>
                <a:gd name="T11" fmla="*/ 123 h 567"/>
                <a:gd name="T12" fmla="*/ 227 w 591"/>
                <a:gd name="T13" fmla="*/ 102 h 567"/>
                <a:gd name="T14" fmla="*/ 220 w 591"/>
                <a:gd name="T15" fmla="*/ 213 h 567"/>
                <a:gd name="T16" fmla="*/ 307 w 591"/>
                <a:gd name="T17" fmla="*/ 300 h 567"/>
                <a:gd name="T18" fmla="*/ 253 w 591"/>
                <a:gd name="T19" fmla="*/ 357 h 567"/>
                <a:gd name="T20" fmla="*/ 215 w 591"/>
                <a:gd name="T21" fmla="*/ 345 h 567"/>
                <a:gd name="T22" fmla="*/ 189 w 591"/>
                <a:gd name="T23" fmla="*/ 452 h 567"/>
                <a:gd name="T24" fmla="*/ 135 w 591"/>
                <a:gd name="T25" fmla="*/ 374 h 567"/>
                <a:gd name="T26" fmla="*/ 227 w 591"/>
                <a:gd name="T27" fmla="*/ 317 h 567"/>
                <a:gd name="T28" fmla="*/ 128 w 591"/>
                <a:gd name="T29" fmla="*/ 284 h 567"/>
                <a:gd name="T30" fmla="*/ 76 w 591"/>
                <a:gd name="T31" fmla="*/ 222 h 567"/>
                <a:gd name="T32" fmla="*/ 21 w 591"/>
                <a:gd name="T33" fmla="*/ 173 h 567"/>
                <a:gd name="T34" fmla="*/ 345 w 591"/>
                <a:gd name="T35" fmla="*/ 95 h 567"/>
                <a:gd name="T36" fmla="*/ 413 w 591"/>
                <a:gd name="T37" fmla="*/ 102 h 567"/>
                <a:gd name="T38" fmla="*/ 397 w 591"/>
                <a:gd name="T39" fmla="*/ 140 h 567"/>
                <a:gd name="T40" fmla="*/ 26 w 591"/>
                <a:gd name="T41" fmla="*/ 196 h 567"/>
                <a:gd name="T42" fmla="*/ 468 w 591"/>
                <a:gd name="T43" fmla="*/ 206 h 567"/>
                <a:gd name="T44" fmla="*/ 468 w 591"/>
                <a:gd name="T45" fmla="*/ 206 h 567"/>
                <a:gd name="T46" fmla="*/ 258 w 591"/>
                <a:gd name="T47" fmla="*/ 222 h 567"/>
                <a:gd name="T48" fmla="*/ 274 w 591"/>
                <a:gd name="T49" fmla="*/ 279 h 567"/>
                <a:gd name="T50" fmla="*/ 333 w 591"/>
                <a:gd name="T51" fmla="*/ 300 h 567"/>
                <a:gd name="T52" fmla="*/ 333 w 591"/>
                <a:gd name="T53" fmla="*/ 230 h 567"/>
                <a:gd name="T54" fmla="*/ 59 w 591"/>
                <a:gd name="T55" fmla="*/ 246 h 567"/>
                <a:gd name="T56" fmla="*/ 404 w 591"/>
                <a:gd name="T57" fmla="*/ 267 h 567"/>
                <a:gd name="T58" fmla="*/ 442 w 591"/>
                <a:gd name="T59" fmla="*/ 300 h 567"/>
                <a:gd name="T60" fmla="*/ 59 w 591"/>
                <a:gd name="T61" fmla="*/ 279 h 567"/>
                <a:gd name="T62" fmla="*/ 350 w 591"/>
                <a:gd name="T63" fmla="*/ 317 h 567"/>
                <a:gd name="T64" fmla="*/ 64 w 591"/>
                <a:gd name="T65" fmla="*/ 324 h 567"/>
                <a:gd name="T66" fmla="*/ 489 w 591"/>
                <a:gd name="T67" fmla="*/ 333 h 567"/>
                <a:gd name="T68" fmla="*/ 258 w 591"/>
                <a:gd name="T69" fmla="*/ 341 h 567"/>
                <a:gd name="T70" fmla="*/ 435 w 591"/>
                <a:gd name="T71" fmla="*/ 357 h 567"/>
                <a:gd name="T72" fmla="*/ 383 w 591"/>
                <a:gd name="T73" fmla="*/ 345 h 567"/>
                <a:gd name="T74" fmla="*/ 366 w 591"/>
                <a:gd name="T75" fmla="*/ 362 h 567"/>
                <a:gd name="T76" fmla="*/ 397 w 591"/>
                <a:gd name="T77" fmla="*/ 362 h 567"/>
                <a:gd name="T78" fmla="*/ 333 w 591"/>
                <a:gd name="T79" fmla="*/ 390 h 567"/>
                <a:gd name="T80" fmla="*/ 387 w 591"/>
                <a:gd name="T81" fmla="*/ 390 h 567"/>
                <a:gd name="T82" fmla="*/ 387 w 591"/>
                <a:gd name="T83" fmla="*/ 390 h 567"/>
                <a:gd name="T84" fmla="*/ 506 w 591"/>
                <a:gd name="T85" fmla="*/ 402 h 567"/>
                <a:gd name="T86" fmla="*/ 376 w 591"/>
                <a:gd name="T87" fmla="*/ 402 h 567"/>
                <a:gd name="T88" fmla="*/ 510 w 591"/>
                <a:gd name="T89" fmla="*/ 411 h 567"/>
                <a:gd name="T90" fmla="*/ 435 w 591"/>
                <a:gd name="T91" fmla="*/ 411 h 567"/>
                <a:gd name="T92" fmla="*/ 397 w 591"/>
                <a:gd name="T93" fmla="*/ 428 h 567"/>
                <a:gd name="T94" fmla="*/ 324 w 591"/>
                <a:gd name="T95" fmla="*/ 428 h 567"/>
                <a:gd name="T96" fmla="*/ 458 w 591"/>
                <a:gd name="T97" fmla="*/ 435 h 567"/>
                <a:gd name="T98" fmla="*/ 404 w 591"/>
                <a:gd name="T99" fmla="*/ 444 h 567"/>
                <a:gd name="T100" fmla="*/ 539 w 591"/>
                <a:gd name="T101" fmla="*/ 452 h 567"/>
                <a:gd name="T102" fmla="*/ 591 w 591"/>
                <a:gd name="T103" fmla="*/ 444 h 567"/>
                <a:gd name="T104" fmla="*/ 421 w 591"/>
                <a:gd name="T105" fmla="*/ 452 h 567"/>
                <a:gd name="T106" fmla="*/ 522 w 591"/>
                <a:gd name="T107" fmla="*/ 529 h 567"/>
                <a:gd name="T108" fmla="*/ 269 w 591"/>
                <a:gd name="T109" fmla="*/ 513 h 567"/>
                <a:gd name="T110" fmla="*/ 397 w 591"/>
                <a:gd name="T111" fmla="*/ 539 h 567"/>
                <a:gd name="T112" fmla="*/ 350 w 591"/>
                <a:gd name="T113" fmla="*/ 567 h 567"/>
                <a:gd name="T114" fmla="*/ 510 w 591"/>
                <a:gd name="T115" fmla="*/ 522 h 5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591" h="567">
                  <a:moveTo>
                    <a:pt x="21" y="173"/>
                  </a:moveTo>
                  <a:lnTo>
                    <a:pt x="38" y="173"/>
                  </a:lnTo>
                  <a:lnTo>
                    <a:pt x="43" y="168"/>
                  </a:lnTo>
                  <a:lnTo>
                    <a:pt x="38" y="168"/>
                  </a:lnTo>
                  <a:lnTo>
                    <a:pt x="54" y="156"/>
                  </a:lnTo>
                  <a:lnTo>
                    <a:pt x="43" y="152"/>
                  </a:lnTo>
                  <a:lnTo>
                    <a:pt x="64" y="135"/>
                  </a:lnTo>
                  <a:lnTo>
                    <a:pt x="76" y="111"/>
                  </a:lnTo>
                  <a:lnTo>
                    <a:pt x="92" y="95"/>
                  </a:lnTo>
                  <a:lnTo>
                    <a:pt x="92" y="69"/>
                  </a:lnTo>
                  <a:lnTo>
                    <a:pt x="128" y="69"/>
                  </a:lnTo>
                  <a:lnTo>
                    <a:pt x="144" y="62"/>
                  </a:lnTo>
                  <a:lnTo>
                    <a:pt x="161" y="45"/>
                  </a:lnTo>
                  <a:lnTo>
                    <a:pt x="215" y="45"/>
                  </a:lnTo>
                  <a:lnTo>
                    <a:pt x="215" y="29"/>
                  </a:lnTo>
                  <a:lnTo>
                    <a:pt x="227" y="29"/>
                  </a:lnTo>
                  <a:lnTo>
                    <a:pt x="274" y="29"/>
                  </a:lnTo>
                  <a:lnTo>
                    <a:pt x="324" y="12"/>
                  </a:lnTo>
                  <a:lnTo>
                    <a:pt x="387" y="41"/>
                  </a:lnTo>
                  <a:lnTo>
                    <a:pt x="451" y="29"/>
                  </a:lnTo>
                  <a:lnTo>
                    <a:pt x="451" y="12"/>
                  </a:lnTo>
                  <a:lnTo>
                    <a:pt x="442" y="0"/>
                  </a:lnTo>
                  <a:lnTo>
                    <a:pt x="468" y="0"/>
                  </a:lnTo>
                  <a:lnTo>
                    <a:pt x="484" y="7"/>
                  </a:lnTo>
                  <a:lnTo>
                    <a:pt x="484" y="29"/>
                  </a:lnTo>
                  <a:lnTo>
                    <a:pt x="458" y="41"/>
                  </a:lnTo>
                  <a:lnTo>
                    <a:pt x="468" y="62"/>
                  </a:lnTo>
                  <a:lnTo>
                    <a:pt x="442" y="85"/>
                  </a:lnTo>
                  <a:lnTo>
                    <a:pt x="442" y="78"/>
                  </a:lnTo>
                  <a:lnTo>
                    <a:pt x="383" y="62"/>
                  </a:lnTo>
                  <a:lnTo>
                    <a:pt x="383" y="62"/>
                  </a:lnTo>
                  <a:lnTo>
                    <a:pt x="350" y="69"/>
                  </a:lnTo>
                  <a:lnTo>
                    <a:pt x="328" y="62"/>
                  </a:lnTo>
                  <a:lnTo>
                    <a:pt x="307" y="85"/>
                  </a:lnTo>
                  <a:lnTo>
                    <a:pt x="279" y="78"/>
                  </a:lnTo>
                  <a:lnTo>
                    <a:pt x="274" y="85"/>
                  </a:lnTo>
                  <a:lnTo>
                    <a:pt x="291" y="111"/>
                  </a:lnTo>
                  <a:lnTo>
                    <a:pt x="312" y="118"/>
                  </a:lnTo>
                  <a:lnTo>
                    <a:pt x="328" y="135"/>
                  </a:lnTo>
                  <a:lnTo>
                    <a:pt x="324" y="135"/>
                  </a:lnTo>
                  <a:lnTo>
                    <a:pt x="312" y="118"/>
                  </a:lnTo>
                  <a:lnTo>
                    <a:pt x="291" y="118"/>
                  </a:lnTo>
                  <a:lnTo>
                    <a:pt x="279" y="118"/>
                  </a:lnTo>
                  <a:lnTo>
                    <a:pt x="279" y="123"/>
                  </a:lnTo>
                  <a:lnTo>
                    <a:pt x="295" y="135"/>
                  </a:lnTo>
                  <a:lnTo>
                    <a:pt x="295" y="140"/>
                  </a:lnTo>
                  <a:lnTo>
                    <a:pt x="295" y="152"/>
                  </a:lnTo>
                  <a:lnTo>
                    <a:pt x="274" y="123"/>
                  </a:lnTo>
                  <a:lnTo>
                    <a:pt x="253" y="123"/>
                  </a:lnTo>
                  <a:lnTo>
                    <a:pt x="253" y="135"/>
                  </a:lnTo>
                  <a:lnTo>
                    <a:pt x="279" y="152"/>
                  </a:lnTo>
                  <a:lnTo>
                    <a:pt x="258" y="152"/>
                  </a:lnTo>
                  <a:lnTo>
                    <a:pt x="253" y="123"/>
                  </a:lnTo>
                  <a:lnTo>
                    <a:pt x="220" y="111"/>
                  </a:lnTo>
                  <a:lnTo>
                    <a:pt x="220" y="102"/>
                  </a:lnTo>
                  <a:lnTo>
                    <a:pt x="227" y="102"/>
                  </a:lnTo>
                  <a:lnTo>
                    <a:pt x="227" y="95"/>
                  </a:lnTo>
                  <a:lnTo>
                    <a:pt x="199" y="102"/>
                  </a:lnTo>
                  <a:lnTo>
                    <a:pt x="199" y="140"/>
                  </a:lnTo>
                  <a:lnTo>
                    <a:pt x="253" y="213"/>
                  </a:lnTo>
                  <a:lnTo>
                    <a:pt x="236" y="222"/>
                  </a:lnTo>
                  <a:lnTo>
                    <a:pt x="241" y="213"/>
                  </a:lnTo>
                  <a:lnTo>
                    <a:pt x="227" y="196"/>
                  </a:lnTo>
                  <a:lnTo>
                    <a:pt x="220" y="213"/>
                  </a:lnTo>
                  <a:lnTo>
                    <a:pt x="236" y="230"/>
                  </a:lnTo>
                  <a:lnTo>
                    <a:pt x="220" y="234"/>
                  </a:lnTo>
                  <a:lnTo>
                    <a:pt x="199" y="246"/>
                  </a:lnTo>
                  <a:lnTo>
                    <a:pt x="227" y="251"/>
                  </a:lnTo>
                  <a:lnTo>
                    <a:pt x="236" y="263"/>
                  </a:lnTo>
                  <a:lnTo>
                    <a:pt x="253" y="263"/>
                  </a:lnTo>
                  <a:lnTo>
                    <a:pt x="253" y="267"/>
                  </a:lnTo>
                  <a:lnTo>
                    <a:pt x="307" y="300"/>
                  </a:lnTo>
                  <a:lnTo>
                    <a:pt x="295" y="307"/>
                  </a:lnTo>
                  <a:lnTo>
                    <a:pt x="307" y="333"/>
                  </a:lnTo>
                  <a:lnTo>
                    <a:pt x="295" y="341"/>
                  </a:lnTo>
                  <a:lnTo>
                    <a:pt x="269" y="307"/>
                  </a:lnTo>
                  <a:lnTo>
                    <a:pt x="227" y="324"/>
                  </a:lnTo>
                  <a:lnTo>
                    <a:pt x="236" y="324"/>
                  </a:lnTo>
                  <a:lnTo>
                    <a:pt x="241" y="345"/>
                  </a:lnTo>
                  <a:lnTo>
                    <a:pt x="253" y="357"/>
                  </a:lnTo>
                  <a:lnTo>
                    <a:pt x="253" y="345"/>
                  </a:lnTo>
                  <a:lnTo>
                    <a:pt x="258" y="345"/>
                  </a:lnTo>
                  <a:lnTo>
                    <a:pt x="269" y="362"/>
                  </a:lnTo>
                  <a:lnTo>
                    <a:pt x="253" y="362"/>
                  </a:lnTo>
                  <a:lnTo>
                    <a:pt x="241" y="374"/>
                  </a:lnTo>
                  <a:lnTo>
                    <a:pt x="236" y="362"/>
                  </a:lnTo>
                  <a:lnTo>
                    <a:pt x="236" y="362"/>
                  </a:lnTo>
                  <a:lnTo>
                    <a:pt x="215" y="345"/>
                  </a:lnTo>
                  <a:lnTo>
                    <a:pt x="236" y="418"/>
                  </a:lnTo>
                  <a:lnTo>
                    <a:pt x="227" y="428"/>
                  </a:lnTo>
                  <a:lnTo>
                    <a:pt x="241" y="444"/>
                  </a:lnTo>
                  <a:lnTo>
                    <a:pt x="227" y="435"/>
                  </a:lnTo>
                  <a:lnTo>
                    <a:pt x="215" y="411"/>
                  </a:lnTo>
                  <a:lnTo>
                    <a:pt x="203" y="411"/>
                  </a:lnTo>
                  <a:lnTo>
                    <a:pt x="189" y="428"/>
                  </a:lnTo>
                  <a:lnTo>
                    <a:pt x="189" y="452"/>
                  </a:lnTo>
                  <a:lnTo>
                    <a:pt x="165" y="395"/>
                  </a:lnTo>
                  <a:lnTo>
                    <a:pt x="151" y="395"/>
                  </a:lnTo>
                  <a:lnTo>
                    <a:pt x="161" y="411"/>
                  </a:lnTo>
                  <a:lnTo>
                    <a:pt x="151" y="418"/>
                  </a:lnTo>
                  <a:lnTo>
                    <a:pt x="135" y="411"/>
                  </a:lnTo>
                  <a:lnTo>
                    <a:pt x="135" y="402"/>
                  </a:lnTo>
                  <a:lnTo>
                    <a:pt x="128" y="390"/>
                  </a:lnTo>
                  <a:lnTo>
                    <a:pt x="135" y="374"/>
                  </a:lnTo>
                  <a:lnTo>
                    <a:pt x="135" y="362"/>
                  </a:lnTo>
                  <a:lnTo>
                    <a:pt x="97" y="324"/>
                  </a:lnTo>
                  <a:lnTo>
                    <a:pt x="113" y="307"/>
                  </a:lnTo>
                  <a:lnTo>
                    <a:pt x="113" y="291"/>
                  </a:lnTo>
                  <a:lnTo>
                    <a:pt x="135" y="300"/>
                  </a:lnTo>
                  <a:lnTo>
                    <a:pt x="151" y="284"/>
                  </a:lnTo>
                  <a:lnTo>
                    <a:pt x="220" y="317"/>
                  </a:lnTo>
                  <a:lnTo>
                    <a:pt x="227" y="317"/>
                  </a:lnTo>
                  <a:lnTo>
                    <a:pt x="220" y="307"/>
                  </a:lnTo>
                  <a:lnTo>
                    <a:pt x="241" y="307"/>
                  </a:lnTo>
                  <a:lnTo>
                    <a:pt x="241" y="300"/>
                  </a:lnTo>
                  <a:lnTo>
                    <a:pt x="215" y="291"/>
                  </a:lnTo>
                  <a:lnTo>
                    <a:pt x="189" y="279"/>
                  </a:lnTo>
                  <a:lnTo>
                    <a:pt x="182" y="284"/>
                  </a:lnTo>
                  <a:lnTo>
                    <a:pt x="161" y="279"/>
                  </a:lnTo>
                  <a:lnTo>
                    <a:pt x="128" y="284"/>
                  </a:lnTo>
                  <a:lnTo>
                    <a:pt x="113" y="279"/>
                  </a:lnTo>
                  <a:lnTo>
                    <a:pt x="97" y="284"/>
                  </a:lnTo>
                  <a:lnTo>
                    <a:pt x="92" y="263"/>
                  </a:lnTo>
                  <a:lnTo>
                    <a:pt x="64" y="246"/>
                  </a:lnTo>
                  <a:lnTo>
                    <a:pt x="76" y="234"/>
                  </a:lnTo>
                  <a:lnTo>
                    <a:pt x="97" y="246"/>
                  </a:lnTo>
                  <a:lnTo>
                    <a:pt x="97" y="230"/>
                  </a:lnTo>
                  <a:lnTo>
                    <a:pt x="76" y="222"/>
                  </a:lnTo>
                  <a:lnTo>
                    <a:pt x="76" y="230"/>
                  </a:lnTo>
                  <a:lnTo>
                    <a:pt x="76" y="234"/>
                  </a:lnTo>
                  <a:lnTo>
                    <a:pt x="64" y="234"/>
                  </a:lnTo>
                  <a:lnTo>
                    <a:pt x="54" y="206"/>
                  </a:lnTo>
                  <a:lnTo>
                    <a:pt x="38" y="206"/>
                  </a:lnTo>
                  <a:lnTo>
                    <a:pt x="38" y="180"/>
                  </a:lnTo>
                  <a:lnTo>
                    <a:pt x="21" y="173"/>
                  </a:lnTo>
                  <a:lnTo>
                    <a:pt x="21" y="173"/>
                  </a:lnTo>
                  <a:lnTo>
                    <a:pt x="21" y="173"/>
                  </a:lnTo>
                  <a:close/>
                  <a:moveTo>
                    <a:pt x="345" y="95"/>
                  </a:moveTo>
                  <a:lnTo>
                    <a:pt x="333" y="85"/>
                  </a:lnTo>
                  <a:lnTo>
                    <a:pt x="345" y="78"/>
                  </a:lnTo>
                  <a:lnTo>
                    <a:pt x="350" y="78"/>
                  </a:lnTo>
                  <a:lnTo>
                    <a:pt x="350" y="95"/>
                  </a:lnTo>
                  <a:lnTo>
                    <a:pt x="345" y="95"/>
                  </a:lnTo>
                  <a:lnTo>
                    <a:pt x="345" y="95"/>
                  </a:lnTo>
                  <a:lnTo>
                    <a:pt x="345" y="95"/>
                  </a:lnTo>
                  <a:close/>
                  <a:moveTo>
                    <a:pt x="413" y="102"/>
                  </a:moveTo>
                  <a:lnTo>
                    <a:pt x="421" y="111"/>
                  </a:lnTo>
                  <a:lnTo>
                    <a:pt x="413" y="111"/>
                  </a:lnTo>
                  <a:lnTo>
                    <a:pt x="397" y="102"/>
                  </a:lnTo>
                  <a:lnTo>
                    <a:pt x="413" y="102"/>
                  </a:lnTo>
                  <a:lnTo>
                    <a:pt x="413" y="102"/>
                  </a:lnTo>
                  <a:lnTo>
                    <a:pt x="413" y="102"/>
                  </a:lnTo>
                  <a:close/>
                  <a:moveTo>
                    <a:pt x="397" y="140"/>
                  </a:moveTo>
                  <a:lnTo>
                    <a:pt x="397" y="168"/>
                  </a:lnTo>
                  <a:lnTo>
                    <a:pt x="387" y="152"/>
                  </a:lnTo>
                  <a:lnTo>
                    <a:pt x="383" y="156"/>
                  </a:lnTo>
                  <a:lnTo>
                    <a:pt x="383" y="168"/>
                  </a:lnTo>
                  <a:lnTo>
                    <a:pt x="376" y="156"/>
                  </a:lnTo>
                  <a:lnTo>
                    <a:pt x="376" y="152"/>
                  </a:lnTo>
                  <a:lnTo>
                    <a:pt x="397" y="140"/>
                  </a:lnTo>
                  <a:lnTo>
                    <a:pt x="397" y="140"/>
                  </a:lnTo>
                  <a:lnTo>
                    <a:pt x="397" y="140"/>
                  </a:lnTo>
                  <a:close/>
                  <a:moveTo>
                    <a:pt x="5" y="156"/>
                  </a:moveTo>
                  <a:lnTo>
                    <a:pt x="10" y="168"/>
                  </a:lnTo>
                  <a:lnTo>
                    <a:pt x="5" y="173"/>
                  </a:lnTo>
                  <a:lnTo>
                    <a:pt x="10" y="189"/>
                  </a:lnTo>
                  <a:lnTo>
                    <a:pt x="21" y="189"/>
                  </a:lnTo>
                  <a:lnTo>
                    <a:pt x="26" y="196"/>
                  </a:lnTo>
                  <a:lnTo>
                    <a:pt x="10" y="189"/>
                  </a:lnTo>
                  <a:lnTo>
                    <a:pt x="0" y="173"/>
                  </a:lnTo>
                  <a:lnTo>
                    <a:pt x="0" y="168"/>
                  </a:lnTo>
                  <a:lnTo>
                    <a:pt x="5" y="156"/>
                  </a:lnTo>
                  <a:lnTo>
                    <a:pt x="5" y="156"/>
                  </a:lnTo>
                  <a:lnTo>
                    <a:pt x="5" y="156"/>
                  </a:lnTo>
                  <a:close/>
                  <a:moveTo>
                    <a:pt x="468" y="206"/>
                  </a:moveTo>
                  <a:lnTo>
                    <a:pt x="468" y="206"/>
                  </a:lnTo>
                  <a:lnTo>
                    <a:pt x="484" y="230"/>
                  </a:lnTo>
                  <a:lnTo>
                    <a:pt x="458" y="230"/>
                  </a:lnTo>
                  <a:lnTo>
                    <a:pt x="442" y="222"/>
                  </a:lnTo>
                  <a:lnTo>
                    <a:pt x="458" y="213"/>
                  </a:lnTo>
                  <a:lnTo>
                    <a:pt x="442" y="222"/>
                  </a:lnTo>
                  <a:lnTo>
                    <a:pt x="430" y="213"/>
                  </a:lnTo>
                  <a:lnTo>
                    <a:pt x="451" y="196"/>
                  </a:lnTo>
                  <a:lnTo>
                    <a:pt x="468" y="206"/>
                  </a:lnTo>
                  <a:lnTo>
                    <a:pt x="468" y="206"/>
                  </a:lnTo>
                  <a:lnTo>
                    <a:pt x="468" y="206"/>
                  </a:lnTo>
                  <a:close/>
                  <a:moveTo>
                    <a:pt x="258" y="222"/>
                  </a:moveTo>
                  <a:lnTo>
                    <a:pt x="258" y="213"/>
                  </a:lnTo>
                  <a:lnTo>
                    <a:pt x="269" y="213"/>
                  </a:lnTo>
                  <a:lnTo>
                    <a:pt x="258" y="222"/>
                  </a:lnTo>
                  <a:lnTo>
                    <a:pt x="258" y="222"/>
                  </a:lnTo>
                  <a:lnTo>
                    <a:pt x="258" y="222"/>
                  </a:lnTo>
                  <a:close/>
                  <a:moveTo>
                    <a:pt x="279" y="222"/>
                  </a:moveTo>
                  <a:lnTo>
                    <a:pt x="269" y="213"/>
                  </a:lnTo>
                  <a:lnTo>
                    <a:pt x="279" y="222"/>
                  </a:lnTo>
                  <a:lnTo>
                    <a:pt x="279" y="222"/>
                  </a:lnTo>
                  <a:lnTo>
                    <a:pt x="279" y="222"/>
                  </a:lnTo>
                  <a:lnTo>
                    <a:pt x="279" y="222"/>
                  </a:lnTo>
                  <a:close/>
                  <a:moveTo>
                    <a:pt x="307" y="284"/>
                  </a:moveTo>
                  <a:lnTo>
                    <a:pt x="274" y="279"/>
                  </a:lnTo>
                  <a:lnTo>
                    <a:pt x="274" y="267"/>
                  </a:lnTo>
                  <a:lnTo>
                    <a:pt x="241" y="246"/>
                  </a:lnTo>
                  <a:lnTo>
                    <a:pt x="220" y="246"/>
                  </a:lnTo>
                  <a:lnTo>
                    <a:pt x="253" y="230"/>
                  </a:lnTo>
                  <a:lnTo>
                    <a:pt x="269" y="251"/>
                  </a:lnTo>
                  <a:lnTo>
                    <a:pt x="312" y="263"/>
                  </a:lnTo>
                  <a:lnTo>
                    <a:pt x="312" y="291"/>
                  </a:lnTo>
                  <a:lnTo>
                    <a:pt x="333" y="300"/>
                  </a:lnTo>
                  <a:lnTo>
                    <a:pt x="333" y="317"/>
                  </a:lnTo>
                  <a:lnTo>
                    <a:pt x="328" y="317"/>
                  </a:lnTo>
                  <a:lnTo>
                    <a:pt x="307" y="284"/>
                  </a:lnTo>
                  <a:lnTo>
                    <a:pt x="307" y="284"/>
                  </a:lnTo>
                  <a:lnTo>
                    <a:pt x="307" y="284"/>
                  </a:lnTo>
                  <a:close/>
                  <a:moveTo>
                    <a:pt x="333" y="251"/>
                  </a:moveTo>
                  <a:lnTo>
                    <a:pt x="328" y="234"/>
                  </a:lnTo>
                  <a:lnTo>
                    <a:pt x="333" y="230"/>
                  </a:lnTo>
                  <a:lnTo>
                    <a:pt x="345" y="246"/>
                  </a:lnTo>
                  <a:lnTo>
                    <a:pt x="333" y="251"/>
                  </a:lnTo>
                  <a:lnTo>
                    <a:pt x="333" y="251"/>
                  </a:lnTo>
                  <a:lnTo>
                    <a:pt x="333" y="251"/>
                  </a:lnTo>
                  <a:close/>
                  <a:moveTo>
                    <a:pt x="64" y="246"/>
                  </a:moveTo>
                  <a:lnTo>
                    <a:pt x="64" y="263"/>
                  </a:lnTo>
                  <a:lnTo>
                    <a:pt x="59" y="267"/>
                  </a:lnTo>
                  <a:lnTo>
                    <a:pt x="59" y="246"/>
                  </a:lnTo>
                  <a:lnTo>
                    <a:pt x="64" y="246"/>
                  </a:lnTo>
                  <a:lnTo>
                    <a:pt x="64" y="246"/>
                  </a:lnTo>
                  <a:lnTo>
                    <a:pt x="64" y="246"/>
                  </a:lnTo>
                  <a:close/>
                  <a:moveTo>
                    <a:pt x="404" y="267"/>
                  </a:moveTo>
                  <a:lnTo>
                    <a:pt x="404" y="263"/>
                  </a:lnTo>
                  <a:lnTo>
                    <a:pt x="413" y="263"/>
                  </a:lnTo>
                  <a:lnTo>
                    <a:pt x="404" y="267"/>
                  </a:lnTo>
                  <a:lnTo>
                    <a:pt x="404" y="267"/>
                  </a:lnTo>
                  <a:lnTo>
                    <a:pt x="404" y="267"/>
                  </a:lnTo>
                  <a:close/>
                  <a:moveTo>
                    <a:pt x="442" y="300"/>
                  </a:moveTo>
                  <a:lnTo>
                    <a:pt x="430" y="291"/>
                  </a:lnTo>
                  <a:lnTo>
                    <a:pt x="435" y="284"/>
                  </a:lnTo>
                  <a:lnTo>
                    <a:pt x="430" y="267"/>
                  </a:lnTo>
                  <a:lnTo>
                    <a:pt x="451" y="267"/>
                  </a:lnTo>
                  <a:lnTo>
                    <a:pt x="451" y="291"/>
                  </a:lnTo>
                  <a:lnTo>
                    <a:pt x="442" y="300"/>
                  </a:lnTo>
                  <a:lnTo>
                    <a:pt x="442" y="300"/>
                  </a:lnTo>
                  <a:lnTo>
                    <a:pt x="442" y="300"/>
                  </a:lnTo>
                  <a:close/>
                  <a:moveTo>
                    <a:pt x="59" y="279"/>
                  </a:moveTo>
                  <a:lnTo>
                    <a:pt x="76" y="307"/>
                  </a:lnTo>
                  <a:lnTo>
                    <a:pt x="43" y="300"/>
                  </a:lnTo>
                  <a:lnTo>
                    <a:pt x="59" y="279"/>
                  </a:lnTo>
                  <a:lnTo>
                    <a:pt x="59" y="279"/>
                  </a:lnTo>
                  <a:lnTo>
                    <a:pt x="59" y="279"/>
                  </a:lnTo>
                  <a:close/>
                  <a:moveTo>
                    <a:pt x="269" y="317"/>
                  </a:moveTo>
                  <a:lnTo>
                    <a:pt x="269" y="324"/>
                  </a:lnTo>
                  <a:lnTo>
                    <a:pt x="258" y="324"/>
                  </a:lnTo>
                  <a:lnTo>
                    <a:pt x="269" y="317"/>
                  </a:lnTo>
                  <a:lnTo>
                    <a:pt x="269" y="317"/>
                  </a:lnTo>
                  <a:lnTo>
                    <a:pt x="269" y="317"/>
                  </a:lnTo>
                  <a:close/>
                  <a:moveTo>
                    <a:pt x="366" y="341"/>
                  </a:moveTo>
                  <a:lnTo>
                    <a:pt x="350" y="317"/>
                  </a:lnTo>
                  <a:lnTo>
                    <a:pt x="350" y="317"/>
                  </a:lnTo>
                  <a:lnTo>
                    <a:pt x="366" y="324"/>
                  </a:lnTo>
                  <a:lnTo>
                    <a:pt x="366" y="341"/>
                  </a:lnTo>
                  <a:lnTo>
                    <a:pt x="366" y="341"/>
                  </a:lnTo>
                  <a:lnTo>
                    <a:pt x="366" y="341"/>
                  </a:lnTo>
                  <a:close/>
                  <a:moveTo>
                    <a:pt x="76" y="341"/>
                  </a:moveTo>
                  <a:lnTo>
                    <a:pt x="64" y="333"/>
                  </a:lnTo>
                  <a:lnTo>
                    <a:pt x="64" y="324"/>
                  </a:lnTo>
                  <a:lnTo>
                    <a:pt x="92" y="341"/>
                  </a:lnTo>
                  <a:lnTo>
                    <a:pt x="80" y="341"/>
                  </a:lnTo>
                  <a:lnTo>
                    <a:pt x="76" y="341"/>
                  </a:lnTo>
                  <a:lnTo>
                    <a:pt x="76" y="341"/>
                  </a:lnTo>
                  <a:lnTo>
                    <a:pt x="76" y="341"/>
                  </a:lnTo>
                  <a:close/>
                  <a:moveTo>
                    <a:pt x="494" y="345"/>
                  </a:moveTo>
                  <a:lnTo>
                    <a:pt x="484" y="341"/>
                  </a:lnTo>
                  <a:lnTo>
                    <a:pt x="489" y="333"/>
                  </a:lnTo>
                  <a:lnTo>
                    <a:pt x="510" y="341"/>
                  </a:lnTo>
                  <a:lnTo>
                    <a:pt x="494" y="345"/>
                  </a:lnTo>
                  <a:lnTo>
                    <a:pt x="494" y="345"/>
                  </a:lnTo>
                  <a:lnTo>
                    <a:pt x="494" y="345"/>
                  </a:lnTo>
                  <a:close/>
                  <a:moveTo>
                    <a:pt x="258" y="341"/>
                  </a:moveTo>
                  <a:lnTo>
                    <a:pt x="258" y="333"/>
                  </a:lnTo>
                  <a:lnTo>
                    <a:pt x="269" y="333"/>
                  </a:lnTo>
                  <a:lnTo>
                    <a:pt x="258" y="341"/>
                  </a:lnTo>
                  <a:lnTo>
                    <a:pt x="258" y="341"/>
                  </a:lnTo>
                  <a:lnTo>
                    <a:pt x="258" y="341"/>
                  </a:lnTo>
                  <a:close/>
                  <a:moveTo>
                    <a:pt x="435" y="357"/>
                  </a:moveTo>
                  <a:lnTo>
                    <a:pt x="442" y="345"/>
                  </a:lnTo>
                  <a:lnTo>
                    <a:pt x="468" y="341"/>
                  </a:lnTo>
                  <a:lnTo>
                    <a:pt x="435" y="357"/>
                  </a:lnTo>
                  <a:lnTo>
                    <a:pt x="435" y="357"/>
                  </a:lnTo>
                  <a:lnTo>
                    <a:pt x="435" y="357"/>
                  </a:lnTo>
                  <a:close/>
                  <a:moveTo>
                    <a:pt x="324" y="357"/>
                  </a:moveTo>
                  <a:lnTo>
                    <a:pt x="324" y="341"/>
                  </a:lnTo>
                  <a:lnTo>
                    <a:pt x="328" y="341"/>
                  </a:lnTo>
                  <a:lnTo>
                    <a:pt x="324" y="357"/>
                  </a:lnTo>
                  <a:lnTo>
                    <a:pt x="324" y="357"/>
                  </a:lnTo>
                  <a:lnTo>
                    <a:pt x="324" y="357"/>
                  </a:lnTo>
                  <a:close/>
                  <a:moveTo>
                    <a:pt x="376" y="341"/>
                  </a:moveTo>
                  <a:lnTo>
                    <a:pt x="383" y="345"/>
                  </a:lnTo>
                  <a:lnTo>
                    <a:pt x="383" y="357"/>
                  </a:lnTo>
                  <a:lnTo>
                    <a:pt x="366" y="341"/>
                  </a:lnTo>
                  <a:lnTo>
                    <a:pt x="376" y="341"/>
                  </a:lnTo>
                  <a:lnTo>
                    <a:pt x="376" y="341"/>
                  </a:lnTo>
                  <a:lnTo>
                    <a:pt x="376" y="341"/>
                  </a:lnTo>
                  <a:close/>
                  <a:moveTo>
                    <a:pt x="359" y="362"/>
                  </a:moveTo>
                  <a:lnTo>
                    <a:pt x="359" y="357"/>
                  </a:lnTo>
                  <a:lnTo>
                    <a:pt x="366" y="362"/>
                  </a:lnTo>
                  <a:lnTo>
                    <a:pt x="359" y="362"/>
                  </a:lnTo>
                  <a:lnTo>
                    <a:pt x="359" y="362"/>
                  </a:lnTo>
                  <a:lnTo>
                    <a:pt x="359" y="362"/>
                  </a:lnTo>
                  <a:close/>
                  <a:moveTo>
                    <a:pt x="397" y="362"/>
                  </a:moveTo>
                  <a:lnTo>
                    <a:pt x="387" y="357"/>
                  </a:lnTo>
                  <a:lnTo>
                    <a:pt x="397" y="357"/>
                  </a:lnTo>
                  <a:lnTo>
                    <a:pt x="397" y="362"/>
                  </a:lnTo>
                  <a:lnTo>
                    <a:pt x="397" y="362"/>
                  </a:lnTo>
                  <a:lnTo>
                    <a:pt x="397" y="362"/>
                  </a:lnTo>
                  <a:close/>
                  <a:moveTo>
                    <a:pt x="328" y="357"/>
                  </a:moveTo>
                  <a:lnTo>
                    <a:pt x="333" y="362"/>
                  </a:lnTo>
                  <a:lnTo>
                    <a:pt x="328" y="374"/>
                  </a:lnTo>
                  <a:lnTo>
                    <a:pt x="328" y="357"/>
                  </a:lnTo>
                  <a:lnTo>
                    <a:pt x="328" y="357"/>
                  </a:lnTo>
                  <a:lnTo>
                    <a:pt x="328" y="357"/>
                  </a:lnTo>
                  <a:close/>
                  <a:moveTo>
                    <a:pt x="333" y="390"/>
                  </a:moveTo>
                  <a:lnTo>
                    <a:pt x="328" y="390"/>
                  </a:lnTo>
                  <a:lnTo>
                    <a:pt x="328" y="378"/>
                  </a:lnTo>
                  <a:lnTo>
                    <a:pt x="333" y="378"/>
                  </a:lnTo>
                  <a:lnTo>
                    <a:pt x="333" y="390"/>
                  </a:lnTo>
                  <a:lnTo>
                    <a:pt x="333" y="390"/>
                  </a:lnTo>
                  <a:lnTo>
                    <a:pt x="333" y="390"/>
                  </a:lnTo>
                  <a:close/>
                  <a:moveTo>
                    <a:pt x="397" y="402"/>
                  </a:moveTo>
                  <a:lnTo>
                    <a:pt x="387" y="390"/>
                  </a:lnTo>
                  <a:lnTo>
                    <a:pt x="404" y="378"/>
                  </a:lnTo>
                  <a:lnTo>
                    <a:pt x="413" y="395"/>
                  </a:lnTo>
                  <a:lnTo>
                    <a:pt x="397" y="402"/>
                  </a:lnTo>
                  <a:lnTo>
                    <a:pt x="397" y="402"/>
                  </a:lnTo>
                  <a:lnTo>
                    <a:pt x="397" y="402"/>
                  </a:lnTo>
                  <a:close/>
                  <a:moveTo>
                    <a:pt x="383" y="395"/>
                  </a:moveTo>
                  <a:lnTo>
                    <a:pt x="376" y="395"/>
                  </a:lnTo>
                  <a:lnTo>
                    <a:pt x="387" y="390"/>
                  </a:lnTo>
                  <a:lnTo>
                    <a:pt x="383" y="395"/>
                  </a:lnTo>
                  <a:lnTo>
                    <a:pt x="383" y="395"/>
                  </a:lnTo>
                  <a:lnTo>
                    <a:pt x="383" y="395"/>
                  </a:lnTo>
                  <a:close/>
                  <a:moveTo>
                    <a:pt x="506" y="402"/>
                  </a:moveTo>
                  <a:lnTo>
                    <a:pt x="494" y="390"/>
                  </a:lnTo>
                  <a:lnTo>
                    <a:pt x="510" y="395"/>
                  </a:lnTo>
                  <a:lnTo>
                    <a:pt x="506" y="402"/>
                  </a:lnTo>
                  <a:lnTo>
                    <a:pt x="506" y="402"/>
                  </a:lnTo>
                  <a:lnTo>
                    <a:pt x="506" y="402"/>
                  </a:lnTo>
                  <a:close/>
                  <a:moveTo>
                    <a:pt x="350" y="402"/>
                  </a:moveTo>
                  <a:lnTo>
                    <a:pt x="345" y="395"/>
                  </a:lnTo>
                  <a:lnTo>
                    <a:pt x="350" y="402"/>
                  </a:lnTo>
                  <a:lnTo>
                    <a:pt x="350" y="402"/>
                  </a:lnTo>
                  <a:lnTo>
                    <a:pt x="350" y="402"/>
                  </a:lnTo>
                  <a:lnTo>
                    <a:pt x="350" y="402"/>
                  </a:lnTo>
                  <a:close/>
                  <a:moveTo>
                    <a:pt x="376" y="402"/>
                  </a:moveTo>
                  <a:lnTo>
                    <a:pt x="366" y="395"/>
                  </a:lnTo>
                  <a:lnTo>
                    <a:pt x="376" y="395"/>
                  </a:lnTo>
                  <a:lnTo>
                    <a:pt x="376" y="402"/>
                  </a:lnTo>
                  <a:lnTo>
                    <a:pt x="376" y="402"/>
                  </a:lnTo>
                  <a:lnTo>
                    <a:pt x="376" y="402"/>
                  </a:lnTo>
                  <a:close/>
                  <a:moveTo>
                    <a:pt x="506" y="428"/>
                  </a:moveTo>
                  <a:lnTo>
                    <a:pt x="506" y="418"/>
                  </a:lnTo>
                  <a:lnTo>
                    <a:pt x="510" y="411"/>
                  </a:lnTo>
                  <a:lnTo>
                    <a:pt x="539" y="411"/>
                  </a:lnTo>
                  <a:lnTo>
                    <a:pt x="506" y="418"/>
                  </a:lnTo>
                  <a:lnTo>
                    <a:pt x="506" y="428"/>
                  </a:lnTo>
                  <a:lnTo>
                    <a:pt x="506" y="428"/>
                  </a:lnTo>
                  <a:lnTo>
                    <a:pt x="506" y="428"/>
                  </a:lnTo>
                  <a:close/>
                  <a:moveTo>
                    <a:pt x="430" y="418"/>
                  </a:moveTo>
                  <a:lnTo>
                    <a:pt x="421" y="411"/>
                  </a:lnTo>
                  <a:lnTo>
                    <a:pt x="435" y="411"/>
                  </a:lnTo>
                  <a:lnTo>
                    <a:pt x="430" y="418"/>
                  </a:lnTo>
                  <a:lnTo>
                    <a:pt x="430" y="418"/>
                  </a:lnTo>
                  <a:lnTo>
                    <a:pt x="430" y="418"/>
                  </a:lnTo>
                  <a:close/>
                  <a:moveTo>
                    <a:pt x="397" y="428"/>
                  </a:moveTo>
                  <a:lnTo>
                    <a:pt x="387" y="411"/>
                  </a:lnTo>
                  <a:lnTo>
                    <a:pt x="397" y="418"/>
                  </a:lnTo>
                  <a:lnTo>
                    <a:pt x="397" y="428"/>
                  </a:lnTo>
                  <a:lnTo>
                    <a:pt x="397" y="428"/>
                  </a:lnTo>
                  <a:lnTo>
                    <a:pt x="397" y="428"/>
                  </a:lnTo>
                  <a:close/>
                  <a:moveTo>
                    <a:pt x="324" y="428"/>
                  </a:moveTo>
                  <a:lnTo>
                    <a:pt x="324" y="418"/>
                  </a:lnTo>
                  <a:lnTo>
                    <a:pt x="333" y="418"/>
                  </a:lnTo>
                  <a:lnTo>
                    <a:pt x="333" y="428"/>
                  </a:lnTo>
                  <a:lnTo>
                    <a:pt x="324" y="428"/>
                  </a:lnTo>
                  <a:lnTo>
                    <a:pt x="324" y="428"/>
                  </a:lnTo>
                  <a:lnTo>
                    <a:pt x="324" y="428"/>
                  </a:lnTo>
                  <a:close/>
                  <a:moveTo>
                    <a:pt x="565" y="435"/>
                  </a:moveTo>
                  <a:lnTo>
                    <a:pt x="560" y="435"/>
                  </a:lnTo>
                  <a:lnTo>
                    <a:pt x="565" y="428"/>
                  </a:lnTo>
                  <a:lnTo>
                    <a:pt x="565" y="435"/>
                  </a:lnTo>
                  <a:lnTo>
                    <a:pt x="565" y="435"/>
                  </a:lnTo>
                  <a:lnTo>
                    <a:pt x="565" y="435"/>
                  </a:lnTo>
                  <a:close/>
                  <a:moveTo>
                    <a:pt x="473" y="435"/>
                  </a:moveTo>
                  <a:lnTo>
                    <a:pt x="458" y="435"/>
                  </a:lnTo>
                  <a:lnTo>
                    <a:pt x="458" y="435"/>
                  </a:lnTo>
                  <a:lnTo>
                    <a:pt x="468" y="428"/>
                  </a:lnTo>
                  <a:lnTo>
                    <a:pt x="473" y="435"/>
                  </a:lnTo>
                  <a:lnTo>
                    <a:pt x="473" y="435"/>
                  </a:lnTo>
                  <a:lnTo>
                    <a:pt x="473" y="435"/>
                  </a:lnTo>
                  <a:close/>
                  <a:moveTo>
                    <a:pt x="397" y="452"/>
                  </a:moveTo>
                  <a:lnTo>
                    <a:pt x="397" y="444"/>
                  </a:lnTo>
                  <a:lnTo>
                    <a:pt x="404" y="444"/>
                  </a:lnTo>
                  <a:lnTo>
                    <a:pt x="397" y="452"/>
                  </a:lnTo>
                  <a:lnTo>
                    <a:pt x="397" y="452"/>
                  </a:lnTo>
                  <a:lnTo>
                    <a:pt x="397" y="452"/>
                  </a:lnTo>
                  <a:close/>
                  <a:moveTo>
                    <a:pt x="539" y="452"/>
                  </a:moveTo>
                  <a:lnTo>
                    <a:pt x="527" y="444"/>
                  </a:lnTo>
                  <a:lnTo>
                    <a:pt x="543" y="444"/>
                  </a:lnTo>
                  <a:lnTo>
                    <a:pt x="539" y="452"/>
                  </a:lnTo>
                  <a:lnTo>
                    <a:pt x="539" y="452"/>
                  </a:lnTo>
                  <a:lnTo>
                    <a:pt x="539" y="452"/>
                  </a:lnTo>
                  <a:close/>
                  <a:moveTo>
                    <a:pt x="591" y="444"/>
                  </a:moveTo>
                  <a:lnTo>
                    <a:pt x="581" y="468"/>
                  </a:lnTo>
                  <a:lnTo>
                    <a:pt x="565" y="485"/>
                  </a:lnTo>
                  <a:lnTo>
                    <a:pt x="560" y="489"/>
                  </a:lnTo>
                  <a:lnTo>
                    <a:pt x="560" y="468"/>
                  </a:lnTo>
                  <a:lnTo>
                    <a:pt x="565" y="456"/>
                  </a:lnTo>
                  <a:lnTo>
                    <a:pt x="591" y="444"/>
                  </a:lnTo>
                  <a:lnTo>
                    <a:pt x="591" y="444"/>
                  </a:lnTo>
                  <a:lnTo>
                    <a:pt x="591" y="444"/>
                  </a:lnTo>
                  <a:close/>
                  <a:moveTo>
                    <a:pt x="421" y="452"/>
                  </a:moveTo>
                  <a:lnTo>
                    <a:pt x="421" y="444"/>
                  </a:lnTo>
                  <a:lnTo>
                    <a:pt x="430" y="452"/>
                  </a:lnTo>
                  <a:lnTo>
                    <a:pt x="421" y="452"/>
                  </a:lnTo>
                  <a:lnTo>
                    <a:pt x="421" y="452"/>
                  </a:lnTo>
                  <a:lnTo>
                    <a:pt x="421" y="452"/>
                  </a:lnTo>
                  <a:close/>
                  <a:moveTo>
                    <a:pt x="227" y="452"/>
                  </a:moveTo>
                  <a:lnTo>
                    <a:pt x="236" y="456"/>
                  </a:lnTo>
                  <a:lnTo>
                    <a:pt x="236" y="468"/>
                  </a:lnTo>
                  <a:lnTo>
                    <a:pt x="220" y="468"/>
                  </a:lnTo>
                  <a:lnTo>
                    <a:pt x="227" y="452"/>
                  </a:lnTo>
                  <a:lnTo>
                    <a:pt x="227" y="452"/>
                  </a:lnTo>
                  <a:lnTo>
                    <a:pt x="227" y="452"/>
                  </a:lnTo>
                  <a:close/>
                  <a:moveTo>
                    <a:pt x="522" y="529"/>
                  </a:moveTo>
                  <a:lnTo>
                    <a:pt x="510" y="513"/>
                  </a:lnTo>
                  <a:lnTo>
                    <a:pt x="527" y="489"/>
                  </a:lnTo>
                  <a:lnTo>
                    <a:pt x="522" y="529"/>
                  </a:lnTo>
                  <a:lnTo>
                    <a:pt x="522" y="529"/>
                  </a:lnTo>
                  <a:lnTo>
                    <a:pt x="522" y="529"/>
                  </a:lnTo>
                  <a:close/>
                  <a:moveTo>
                    <a:pt x="274" y="546"/>
                  </a:moveTo>
                  <a:lnTo>
                    <a:pt x="269" y="539"/>
                  </a:lnTo>
                  <a:lnTo>
                    <a:pt x="269" y="513"/>
                  </a:lnTo>
                  <a:lnTo>
                    <a:pt x="279" y="522"/>
                  </a:lnTo>
                  <a:lnTo>
                    <a:pt x="279" y="506"/>
                  </a:lnTo>
                  <a:lnTo>
                    <a:pt x="291" y="522"/>
                  </a:lnTo>
                  <a:lnTo>
                    <a:pt x="312" y="513"/>
                  </a:lnTo>
                  <a:lnTo>
                    <a:pt x="307" y="522"/>
                  </a:lnTo>
                  <a:lnTo>
                    <a:pt x="324" y="529"/>
                  </a:lnTo>
                  <a:lnTo>
                    <a:pt x="350" y="529"/>
                  </a:lnTo>
                  <a:lnTo>
                    <a:pt x="397" y="539"/>
                  </a:lnTo>
                  <a:lnTo>
                    <a:pt x="421" y="539"/>
                  </a:lnTo>
                  <a:lnTo>
                    <a:pt x="421" y="546"/>
                  </a:lnTo>
                  <a:lnTo>
                    <a:pt x="430" y="555"/>
                  </a:lnTo>
                  <a:lnTo>
                    <a:pt x="458" y="539"/>
                  </a:lnTo>
                  <a:lnTo>
                    <a:pt x="458" y="555"/>
                  </a:lnTo>
                  <a:lnTo>
                    <a:pt x="442" y="563"/>
                  </a:lnTo>
                  <a:lnTo>
                    <a:pt x="366" y="567"/>
                  </a:lnTo>
                  <a:lnTo>
                    <a:pt x="350" y="567"/>
                  </a:lnTo>
                  <a:lnTo>
                    <a:pt x="350" y="555"/>
                  </a:lnTo>
                  <a:lnTo>
                    <a:pt x="328" y="546"/>
                  </a:lnTo>
                  <a:lnTo>
                    <a:pt x="274" y="546"/>
                  </a:lnTo>
                  <a:lnTo>
                    <a:pt x="274" y="546"/>
                  </a:lnTo>
                  <a:lnTo>
                    <a:pt x="274" y="546"/>
                  </a:lnTo>
                  <a:close/>
                  <a:moveTo>
                    <a:pt x="494" y="529"/>
                  </a:moveTo>
                  <a:lnTo>
                    <a:pt x="506" y="529"/>
                  </a:lnTo>
                  <a:lnTo>
                    <a:pt x="510" y="522"/>
                  </a:lnTo>
                  <a:lnTo>
                    <a:pt x="494" y="529"/>
                  </a:lnTo>
                  <a:lnTo>
                    <a:pt x="494" y="529"/>
                  </a:lnTo>
                  <a:lnTo>
                    <a:pt x="494" y="529"/>
                  </a:lnTo>
                  <a:close/>
                </a:path>
              </a:pathLst>
            </a:custGeom>
            <a:solidFill>
              <a:schemeClr val="bg2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15" name="Freeform 457">
              <a:extLst>
                <a:ext uri="{FF2B5EF4-FFF2-40B4-BE49-F238E27FC236}">
                  <a16:creationId xmlns:a16="http://schemas.microsoft.com/office/drawing/2014/main" id="{C9BBD81C-160F-4D11-AA2E-CA3253206CDB}"/>
                </a:ext>
              </a:extLst>
            </p:cNvPr>
            <p:cNvSpPr>
              <a:spLocks/>
            </p:cNvSpPr>
            <p:nvPr/>
          </p:nvSpPr>
          <p:spPr bwMode="gray">
            <a:xfrm>
              <a:off x="5167717" y="2543021"/>
              <a:ext cx="44201" cy="46048"/>
            </a:xfrm>
            <a:custGeom>
              <a:avLst/>
              <a:gdLst>
                <a:gd name="T0" fmla="*/ 0 w 288"/>
                <a:gd name="T1" fmla="*/ 239 h 300"/>
                <a:gd name="T2" fmla="*/ 17 w 288"/>
                <a:gd name="T3" fmla="*/ 206 h 300"/>
                <a:gd name="T4" fmla="*/ 7 w 288"/>
                <a:gd name="T5" fmla="*/ 189 h 300"/>
                <a:gd name="T6" fmla="*/ 40 w 288"/>
                <a:gd name="T7" fmla="*/ 128 h 300"/>
                <a:gd name="T8" fmla="*/ 132 w 288"/>
                <a:gd name="T9" fmla="*/ 128 h 300"/>
                <a:gd name="T10" fmla="*/ 132 w 288"/>
                <a:gd name="T11" fmla="*/ 104 h 300"/>
                <a:gd name="T12" fmla="*/ 116 w 288"/>
                <a:gd name="T13" fmla="*/ 104 h 300"/>
                <a:gd name="T14" fmla="*/ 109 w 288"/>
                <a:gd name="T15" fmla="*/ 78 h 300"/>
                <a:gd name="T16" fmla="*/ 62 w 288"/>
                <a:gd name="T17" fmla="*/ 38 h 300"/>
                <a:gd name="T18" fmla="*/ 95 w 288"/>
                <a:gd name="T19" fmla="*/ 38 h 300"/>
                <a:gd name="T20" fmla="*/ 95 w 288"/>
                <a:gd name="T21" fmla="*/ 0 h 300"/>
                <a:gd name="T22" fmla="*/ 225 w 288"/>
                <a:gd name="T23" fmla="*/ 0 h 300"/>
                <a:gd name="T24" fmla="*/ 217 w 288"/>
                <a:gd name="T25" fmla="*/ 144 h 300"/>
                <a:gd name="T26" fmla="*/ 241 w 288"/>
                <a:gd name="T27" fmla="*/ 144 h 300"/>
                <a:gd name="T28" fmla="*/ 255 w 288"/>
                <a:gd name="T29" fmla="*/ 161 h 300"/>
                <a:gd name="T30" fmla="*/ 272 w 288"/>
                <a:gd name="T31" fmla="*/ 144 h 300"/>
                <a:gd name="T32" fmla="*/ 262 w 288"/>
                <a:gd name="T33" fmla="*/ 132 h 300"/>
                <a:gd name="T34" fmla="*/ 288 w 288"/>
                <a:gd name="T35" fmla="*/ 161 h 300"/>
                <a:gd name="T36" fmla="*/ 225 w 288"/>
                <a:gd name="T37" fmla="*/ 206 h 300"/>
                <a:gd name="T38" fmla="*/ 217 w 288"/>
                <a:gd name="T39" fmla="*/ 222 h 300"/>
                <a:gd name="T40" fmla="*/ 225 w 288"/>
                <a:gd name="T41" fmla="*/ 234 h 300"/>
                <a:gd name="T42" fmla="*/ 208 w 288"/>
                <a:gd name="T43" fmla="*/ 255 h 300"/>
                <a:gd name="T44" fmla="*/ 196 w 288"/>
                <a:gd name="T45" fmla="*/ 255 h 300"/>
                <a:gd name="T46" fmla="*/ 196 w 288"/>
                <a:gd name="T47" fmla="*/ 260 h 300"/>
                <a:gd name="T48" fmla="*/ 163 w 288"/>
                <a:gd name="T49" fmla="*/ 288 h 300"/>
                <a:gd name="T50" fmla="*/ 154 w 288"/>
                <a:gd name="T51" fmla="*/ 300 h 300"/>
                <a:gd name="T52" fmla="*/ 116 w 288"/>
                <a:gd name="T53" fmla="*/ 288 h 300"/>
                <a:gd name="T54" fmla="*/ 62 w 288"/>
                <a:gd name="T55" fmla="*/ 288 h 300"/>
                <a:gd name="T56" fmla="*/ 0 w 288"/>
                <a:gd name="T57" fmla="*/ 239 h 300"/>
                <a:gd name="T58" fmla="*/ 0 w 288"/>
                <a:gd name="T59" fmla="*/ 239 h 300"/>
                <a:gd name="T60" fmla="*/ 0 w 288"/>
                <a:gd name="T61" fmla="*/ 239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288" h="300">
                  <a:moveTo>
                    <a:pt x="0" y="239"/>
                  </a:moveTo>
                  <a:lnTo>
                    <a:pt x="17" y="206"/>
                  </a:lnTo>
                  <a:lnTo>
                    <a:pt x="7" y="189"/>
                  </a:lnTo>
                  <a:lnTo>
                    <a:pt x="40" y="128"/>
                  </a:lnTo>
                  <a:lnTo>
                    <a:pt x="132" y="128"/>
                  </a:lnTo>
                  <a:lnTo>
                    <a:pt x="132" y="104"/>
                  </a:lnTo>
                  <a:lnTo>
                    <a:pt x="116" y="104"/>
                  </a:lnTo>
                  <a:lnTo>
                    <a:pt x="109" y="78"/>
                  </a:lnTo>
                  <a:lnTo>
                    <a:pt x="62" y="38"/>
                  </a:lnTo>
                  <a:lnTo>
                    <a:pt x="95" y="38"/>
                  </a:lnTo>
                  <a:lnTo>
                    <a:pt x="95" y="0"/>
                  </a:lnTo>
                  <a:lnTo>
                    <a:pt x="225" y="0"/>
                  </a:lnTo>
                  <a:lnTo>
                    <a:pt x="217" y="144"/>
                  </a:lnTo>
                  <a:lnTo>
                    <a:pt x="241" y="144"/>
                  </a:lnTo>
                  <a:lnTo>
                    <a:pt x="255" y="161"/>
                  </a:lnTo>
                  <a:lnTo>
                    <a:pt x="272" y="144"/>
                  </a:lnTo>
                  <a:lnTo>
                    <a:pt x="262" y="132"/>
                  </a:lnTo>
                  <a:lnTo>
                    <a:pt x="288" y="161"/>
                  </a:lnTo>
                  <a:lnTo>
                    <a:pt x="225" y="206"/>
                  </a:lnTo>
                  <a:lnTo>
                    <a:pt x="217" y="222"/>
                  </a:lnTo>
                  <a:lnTo>
                    <a:pt x="225" y="234"/>
                  </a:lnTo>
                  <a:lnTo>
                    <a:pt x="208" y="255"/>
                  </a:lnTo>
                  <a:lnTo>
                    <a:pt x="196" y="255"/>
                  </a:lnTo>
                  <a:lnTo>
                    <a:pt x="196" y="260"/>
                  </a:lnTo>
                  <a:lnTo>
                    <a:pt x="163" y="288"/>
                  </a:lnTo>
                  <a:lnTo>
                    <a:pt x="154" y="300"/>
                  </a:lnTo>
                  <a:lnTo>
                    <a:pt x="116" y="288"/>
                  </a:lnTo>
                  <a:lnTo>
                    <a:pt x="62" y="288"/>
                  </a:lnTo>
                  <a:lnTo>
                    <a:pt x="0" y="239"/>
                  </a:lnTo>
                  <a:lnTo>
                    <a:pt x="0" y="239"/>
                  </a:lnTo>
                  <a:lnTo>
                    <a:pt x="0" y="239"/>
                  </a:lnTo>
                  <a:close/>
                </a:path>
              </a:pathLst>
            </a:custGeom>
            <a:solidFill>
              <a:schemeClr val="bg2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16" name="Freeform 458">
              <a:extLst>
                <a:ext uri="{FF2B5EF4-FFF2-40B4-BE49-F238E27FC236}">
                  <a16:creationId xmlns:a16="http://schemas.microsoft.com/office/drawing/2014/main" id="{94ED9611-3B04-4A68-A743-6AE4F7EC1465}"/>
                </a:ext>
              </a:extLst>
            </p:cNvPr>
            <p:cNvSpPr>
              <a:spLocks/>
            </p:cNvSpPr>
            <p:nvPr/>
          </p:nvSpPr>
          <p:spPr bwMode="gray">
            <a:xfrm>
              <a:off x="5999091" y="2602115"/>
              <a:ext cx="79653" cy="59862"/>
            </a:xfrm>
            <a:custGeom>
              <a:avLst/>
              <a:gdLst>
                <a:gd name="T0" fmla="*/ 21 w 519"/>
                <a:gd name="T1" fmla="*/ 83 h 390"/>
                <a:gd name="T2" fmla="*/ 54 w 519"/>
                <a:gd name="T3" fmla="*/ 71 h 390"/>
                <a:gd name="T4" fmla="*/ 92 w 519"/>
                <a:gd name="T5" fmla="*/ 71 h 390"/>
                <a:gd name="T6" fmla="*/ 75 w 519"/>
                <a:gd name="T7" fmla="*/ 38 h 390"/>
                <a:gd name="T8" fmla="*/ 92 w 519"/>
                <a:gd name="T9" fmla="*/ 0 h 390"/>
                <a:gd name="T10" fmla="*/ 141 w 519"/>
                <a:gd name="T11" fmla="*/ 17 h 390"/>
                <a:gd name="T12" fmla="*/ 196 w 519"/>
                <a:gd name="T13" fmla="*/ 21 h 390"/>
                <a:gd name="T14" fmla="*/ 264 w 519"/>
                <a:gd name="T15" fmla="*/ 17 h 390"/>
                <a:gd name="T16" fmla="*/ 271 w 519"/>
                <a:gd name="T17" fmla="*/ 45 h 390"/>
                <a:gd name="T18" fmla="*/ 309 w 519"/>
                <a:gd name="T19" fmla="*/ 54 h 390"/>
                <a:gd name="T20" fmla="*/ 363 w 519"/>
                <a:gd name="T21" fmla="*/ 45 h 390"/>
                <a:gd name="T22" fmla="*/ 378 w 519"/>
                <a:gd name="T23" fmla="*/ 38 h 390"/>
                <a:gd name="T24" fmla="*/ 401 w 519"/>
                <a:gd name="T25" fmla="*/ 17 h 390"/>
                <a:gd name="T26" fmla="*/ 427 w 519"/>
                <a:gd name="T27" fmla="*/ 28 h 390"/>
                <a:gd name="T28" fmla="*/ 439 w 519"/>
                <a:gd name="T29" fmla="*/ 71 h 390"/>
                <a:gd name="T30" fmla="*/ 448 w 519"/>
                <a:gd name="T31" fmla="*/ 83 h 390"/>
                <a:gd name="T32" fmla="*/ 448 w 519"/>
                <a:gd name="T33" fmla="*/ 128 h 390"/>
                <a:gd name="T34" fmla="*/ 481 w 519"/>
                <a:gd name="T35" fmla="*/ 116 h 390"/>
                <a:gd name="T36" fmla="*/ 491 w 519"/>
                <a:gd name="T37" fmla="*/ 165 h 390"/>
                <a:gd name="T38" fmla="*/ 486 w 519"/>
                <a:gd name="T39" fmla="*/ 194 h 390"/>
                <a:gd name="T40" fmla="*/ 491 w 519"/>
                <a:gd name="T41" fmla="*/ 236 h 390"/>
                <a:gd name="T42" fmla="*/ 503 w 519"/>
                <a:gd name="T43" fmla="*/ 248 h 390"/>
                <a:gd name="T44" fmla="*/ 503 w 519"/>
                <a:gd name="T45" fmla="*/ 260 h 390"/>
                <a:gd name="T46" fmla="*/ 519 w 519"/>
                <a:gd name="T47" fmla="*/ 293 h 390"/>
                <a:gd name="T48" fmla="*/ 519 w 519"/>
                <a:gd name="T49" fmla="*/ 302 h 390"/>
                <a:gd name="T50" fmla="*/ 481 w 519"/>
                <a:gd name="T51" fmla="*/ 298 h 390"/>
                <a:gd name="T52" fmla="*/ 491 w 519"/>
                <a:gd name="T53" fmla="*/ 319 h 390"/>
                <a:gd name="T54" fmla="*/ 491 w 519"/>
                <a:gd name="T55" fmla="*/ 331 h 390"/>
                <a:gd name="T56" fmla="*/ 470 w 519"/>
                <a:gd name="T57" fmla="*/ 359 h 390"/>
                <a:gd name="T58" fmla="*/ 453 w 519"/>
                <a:gd name="T59" fmla="*/ 359 h 390"/>
                <a:gd name="T60" fmla="*/ 439 w 519"/>
                <a:gd name="T61" fmla="*/ 385 h 390"/>
                <a:gd name="T62" fmla="*/ 401 w 519"/>
                <a:gd name="T63" fmla="*/ 376 h 390"/>
                <a:gd name="T64" fmla="*/ 401 w 519"/>
                <a:gd name="T65" fmla="*/ 352 h 390"/>
                <a:gd name="T66" fmla="*/ 373 w 519"/>
                <a:gd name="T67" fmla="*/ 298 h 390"/>
                <a:gd name="T68" fmla="*/ 309 w 519"/>
                <a:gd name="T69" fmla="*/ 314 h 390"/>
                <a:gd name="T70" fmla="*/ 318 w 519"/>
                <a:gd name="T71" fmla="*/ 276 h 390"/>
                <a:gd name="T72" fmla="*/ 302 w 519"/>
                <a:gd name="T73" fmla="*/ 260 h 390"/>
                <a:gd name="T74" fmla="*/ 271 w 519"/>
                <a:gd name="T75" fmla="*/ 187 h 390"/>
                <a:gd name="T76" fmla="*/ 222 w 519"/>
                <a:gd name="T77" fmla="*/ 194 h 390"/>
                <a:gd name="T78" fmla="*/ 200 w 519"/>
                <a:gd name="T79" fmla="*/ 194 h 390"/>
                <a:gd name="T80" fmla="*/ 167 w 519"/>
                <a:gd name="T81" fmla="*/ 236 h 390"/>
                <a:gd name="T82" fmla="*/ 141 w 519"/>
                <a:gd name="T83" fmla="*/ 260 h 390"/>
                <a:gd name="T84" fmla="*/ 125 w 519"/>
                <a:gd name="T85" fmla="*/ 248 h 390"/>
                <a:gd name="T86" fmla="*/ 108 w 519"/>
                <a:gd name="T87" fmla="*/ 220 h 390"/>
                <a:gd name="T88" fmla="*/ 104 w 519"/>
                <a:gd name="T89" fmla="*/ 220 h 390"/>
                <a:gd name="T90" fmla="*/ 104 w 519"/>
                <a:gd name="T91" fmla="*/ 203 h 390"/>
                <a:gd name="T92" fmla="*/ 92 w 519"/>
                <a:gd name="T93" fmla="*/ 210 h 390"/>
                <a:gd name="T94" fmla="*/ 87 w 519"/>
                <a:gd name="T95" fmla="*/ 203 h 390"/>
                <a:gd name="T96" fmla="*/ 37 w 519"/>
                <a:gd name="T97" fmla="*/ 154 h 390"/>
                <a:gd name="T98" fmla="*/ 37 w 519"/>
                <a:gd name="T99" fmla="*/ 132 h 390"/>
                <a:gd name="T100" fmla="*/ 16 w 519"/>
                <a:gd name="T101" fmla="*/ 128 h 390"/>
                <a:gd name="T102" fmla="*/ 16 w 519"/>
                <a:gd name="T103" fmla="*/ 116 h 390"/>
                <a:gd name="T104" fmla="*/ 0 w 519"/>
                <a:gd name="T105" fmla="*/ 132 h 390"/>
                <a:gd name="T106" fmla="*/ 0 w 519"/>
                <a:gd name="T107" fmla="*/ 128 h 3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519" h="390">
                  <a:moveTo>
                    <a:pt x="0" y="128"/>
                  </a:moveTo>
                  <a:lnTo>
                    <a:pt x="21" y="83"/>
                  </a:lnTo>
                  <a:lnTo>
                    <a:pt x="37" y="78"/>
                  </a:lnTo>
                  <a:lnTo>
                    <a:pt x="54" y="71"/>
                  </a:lnTo>
                  <a:lnTo>
                    <a:pt x="75" y="71"/>
                  </a:lnTo>
                  <a:lnTo>
                    <a:pt x="92" y="71"/>
                  </a:lnTo>
                  <a:lnTo>
                    <a:pt x="92" y="45"/>
                  </a:lnTo>
                  <a:lnTo>
                    <a:pt x="75" y="38"/>
                  </a:lnTo>
                  <a:lnTo>
                    <a:pt x="104" y="21"/>
                  </a:lnTo>
                  <a:lnTo>
                    <a:pt x="92" y="0"/>
                  </a:lnTo>
                  <a:lnTo>
                    <a:pt x="141" y="0"/>
                  </a:lnTo>
                  <a:lnTo>
                    <a:pt x="141" y="17"/>
                  </a:lnTo>
                  <a:lnTo>
                    <a:pt x="158" y="7"/>
                  </a:lnTo>
                  <a:lnTo>
                    <a:pt x="196" y="21"/>
                  </a:lnTo>
                  <a:lnTo>
                    <a:pt x="217" y="17"/>
                  </a:lnTo>
                  <a:lnTo>
                    <a:pt x="264" y="17"/>
                  </a:lnTo>
                  <a:lnTo>
                    <a:pt x="255" y="28"/>
                  </a:lnTo>
                  <a:lnTo>
                    <a:pt x="271" y="45"/>
                  </a:lnTo>
                  <a:lnTo>
                    <a:pt x="285" y="28"/>
                  </a:lnTo>
                  <a:lnTo>
                    <a:pt x="309" y="54"/>
                  </a:lnTo>
                  <a:lnTo>
                    <a:pt x="330" y="28"/>
                  </a:lnTo>
                  <a:lnTo>
                    <a:pt x="363" y="45"/>
                  </a:lnTo>
                  <a:lnTo>
                    <a:pt x="378" y="45"/>
                  </a:lnTo>
                  <a:lnTo>
                    <a:pt x="378" y="38"/>
                  </a:lnTo>
                  <a:lnTo>
                    <a:pt x="401" y="28"/>
                  </a:lnTo>
                  <a:lnTo>
                    <a:pt x="401" y="17"/>
                  </a:lnTo>
                  <a:lnTo>
                    <a:pt x="427" y="17"/>
                  </a:lnTo>
                  <a:lnTo>
                    <a:pt x="427" y="28"/>
                  </a:lnTo>
                  <a:lnTo>
                    <a:pt x="439" y="54"/>
                  </a:lnTo>
                  <a:lnTo>
                    <a:pt x="439" y="71"/>
                  </a:lnTo>
                  <a:lnTo>
                    <a:pt x="448" y="71"/>
                  </a:lnTo>
                  <a:lnTo>
                    <a:pt x="448" y="83"/>
                  </a:lnTo>
                  <a:lnTo>
                    <a:pt x="470" y="95"/>
                  </a:lnTo>
                  <a:lnTo>
                    <a:pt x="448" y="128"/>
                  </a:lnTo>
                  <a:lnTo>
                    <a:pt x="465" y="116"/>
                  </a:lnTo>
                  <a:lnTo>
                    <a:pt x="481" y="116"/>
                  </a:lnTo>
                  <a:lnTo>
                    <a:pt x="481" y="154"/>
                  </a:lnTo>
                  <a:lnTo>
                    <a:pt x="491" y="165"/>
                  </a:lnTo>
                  <a:lnTo>
                    <a:pt x="491" y="182"/>
                  </a:lnTo>
                  <a:lnTo>
                    <a:pt x="486" y="194"/>
                  </a:lnTo>
                  <a:lnTo>
                    <a:pt x="486" y="227"/>
                  </a:lnTo>
                  <a:lnTo>
                    <a:pt x="491" y="236"/>
                  </a:lnTo>
                  <a:lnTo>
                    <a:pt x="503" y="236"/>
                  </a:lnTo>
                  <a:lnTo>
                    <a:pt x="503" y="248"/>
                  </a:lnTo>
                  <a:lnTo>
                    <a:pt x="519" y="260"/>
                  </a:lnTo>
                  <a:lnTo>
                    <a:pt x="503" y="260"/>
                  </a:lnTo>
                  <a:lnTo>
                    <a:pt x="503" y="276"/>
                  </a:lnTo>
                  <a:lnTo>
                    <a:pt x="519" y="293"/>
                  </a:lnTo>
                  <a:lnTo>
                    <a:pt x="519" y="302"/>
                  </a:lnTo>
                  <a:lnTo>
                    <a:pt x="519" y="302"/>
                  </a:lnTo>
                  <a:lnTo>
                    <a:pt x="507" y="298"/>
                  </a:lnTo>
                  <a:lnTo>
                    <a:pt x="481" y="298"/>
                  </a:lnTo>
                  <a:lnTo>
                    <a:pt x="481" y="319"/>
                  </a:lnTo>
                  <a:lnTo>
                    <a:pt x="491" y="319"/>
                  </a:lnTo>
                  <a:lnTo>
                    <a:pt x="503" y="336"/>
                  </a:lnTo>
                  <a:lnTo>
                    <a:pt x="491" y="331"/>
                  </a:lnTo>
                  <a:lnTo>
                    <a:pt x="481" y="369"/>
                  </a:lnTo>
                  <a:lnTo>
                    <a:pt x="470" y="359"/>
                  </a:lnTo>
                  <a:lnTo>
                    <a:pt x="465" y="369"/>
                  </a:lnTo>
                  <a:lnTo>
                    <a:pt x="453" y="359"/>
                  </a:lnTo>
                  <a:lnTo>
                    <a:pt x="448" y="359"/>
                  </a:lnTo>
                  <a:lnTo>
                    <a:pt x="439" y="385"/>
                  </a:lnTo>
                  <a:lnTo>
                    <a:pt x="415" y="390"/>
                  </a:lnTo>
                  <a:lnTo>
                    <a:pt x="401" y="376"/>
                  </a:lnTo>
                  <a:lnTo>
                    <a:pt x="394" y="385"/>
                  </a:lnTo>
                  <a:lnTo>
                    <a:pt x="401" y="352"/>
                  </a:lnTo>
                  <a:lnTo>
                    <a:pt x="394" y="314"/>
                  </a:lnTo>
                  <a:lnTo>
                    <a:pt x="373" y="298"/>
                  </a:lnTo>
                  <a:lnTo>
                    <a:pt x="340" y="298"/>
                  </a:lnTo>
                  <a:lnTo>
                    <a:pt x="309" y="314"/>
                  </a:lnTo>
                  <a:lnTo>
                    <a:pt x="323" y="281"/>
                  </a:lnTo>
                  <a:lnTo>
                    <a:pt x="318" y="276"/>
                  </a:lnTo>
                  <a:lnTo>
                    <a:pt x="318" y="260"/>
                  </a:lnTo>
                  <a:lnTo>
                    <a:pt x="302" y="260"/>
                  </a:lnTo>
                  <a:lnTo>
                    <a:pt x="309" y="243"/>
                  </a:lnTo>
                  <a:lnTo>
                    <a:pt x="271" y="187"/>
                  </a:lnTo>
                  <a:lnTo>
                    <a:pt x="222" y="187"/>
                  </a:lnTo>
                  <a:lnTo>
                    <a:pt x="222" y="194"/>
                  </a:lnTo>
                  <a:lnTo>
                    <a:pt x="210" y="203"/>
                  </a:lnTo>
                  <a:lnTo>
                    <a:pt x="200" y="194"/>
                  </a:lnTo>
                  <a:lnTo>
                    <a:pt x="184" y="194"/>
                  </a:lnTo>
                  <a:lnTo>
                    <a:pt x="167" y="236"/>
                  </a:lnTo>
                  <a:lnTo>
                    <a:pt x="146" y="243"/>
                  </a:lnTo>
                  <a:lnTo>
                    <a:pt x="141" y="260"/>
                  </a:lnTo>
                  <a:lnTo>
                    <a:pt x="125" y="260"/>
                  </a:lnTo>
                  <a:lnTo>
                    <a:pt x="125" y="248"/>
                  </a:lnTo>
                  <a:lnTo>
                    <a:pt x="108" y="227"/>
                  </a:lnTo>
                  <a:lnTo>
                    <a:pt x="108" y="220"/>
                  </a:lnTo>
                  <a:lnTo>
                    <a:pt x="108" y="227"/>
                  </a:lnTo>
                  <a:lnTo>
                    <a:pt x="104" y="220"/>
                  </a:lnTo>
                  <a:lnTo>
                    <a:pt x="104" y="210"/>
                  </a:lnTo>
                  <a:lnTo>
                    <a:pt x="104" y="203"/>
                  </a:lnTo>
                  <a:lnTo>
                    <a:pt x="104" y="210"/>
                  </a:lnTo>
                  <a:lnTo>
                    <a:pt x="92" y="210"/>
                  </a:lnTo>
                  <a:lnTo>
                    <a:pt x="104" y="194"/>
                  </a:lnTo>
                  <a:lnTo>
                    <a:pt x="87" y="203"/>
                  </a:lnTo>
                  <a:lnTo>
                    <a:pt x="49" y="170"/>
                  </a:lnTo>
                  <a:lnTo>
                    <a:pt x="37" y="154"/>
                  </a:lnTo>
                  <a:lnTo>
                    <a:pt x="33" y="154"/>
                  </a:lnTo>
                  <a:lnTo>
                    <a:pt x="37" y="132"/>
                  </a:lnTo>
                  <a:lnTo>
                    <a:pt x="21" y="149"/>
                  </a:lnTo>
                  <a:lnTo>
                    <a:pt x="16" y="128"/>
                  </a:lnTo>
                  <a:lnTo>
                    <a:pt x="21" y="116"/>
                  </a:lnTo>
                  <a:lnTo>
                    <a:pt x="16" y="116"/>
                  </a:lnTo>
                  <a:lnTo>
                    <a:pt x="4" y="132"/>
                  </a:lnTo>
                  <a:lnTo>
                    <a:pt x="0" y="132"/>
                  </a:lnTo>
                  <a:lnTo>
                    <a:pt x="0" y="128"/>
                  </a:lnTo>
                  <a:lnTo>
                    <a:pt x="0" y="128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chemeClr val="bg2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17" name="Freeform 459">
              <a:extLst>
                <a:ext uri="{FF2B5EF4-FFF2-40B4-BE49-F238E27FC236}">
                  <a16:creationId xmlns:a16="http://schemas.microsoft.com/office/drawing/2014/main" id="{2CC8BF1D-F8B2-4808-AC55-B7310F662B37}"/>
                </a:ext>
              </a:extLst>
            </p:cNvPr>
            <p:cNvSpPr>
              <a:spLocks/>
            </p:cNvSpPr>
            <p:nvPr/>
          </p:nvSpPr>
          <p:spPr bwMode="gray">
            <a:xfrm>
              <a:off x="5500604" y="2647855"/>
              <a:ext cx="53256" cy="81504"/>
            </a:xfrm>
            <a:custGeom>
              <a:avLst/>
              <a:gdLst>
                <a:gd name="T0" fmla="*/ 85 w 347"/>
                <a:gd name="T1" fmla="*/ 236 h 531"/>
                <a:gd name="T2" fmla="*/ 47 w 347"/>
                <a:gd name="T3" fmla="*/ 236 h 531"/>
                <a:gd name="T4" fmla="*/ 16 w 347"/>
                <a:gd name="T5" fmla="*/ 165 h 531"/>
                <a:gd name="T6" fmla="*/ 16 w 347"/>
                <a:gd name="T7" fmla="*/ 127 h 531"/>
                <a:gd name="T8" fmla="*/ 80 w 347"/>
                <a:gd name="T9" fmla="*/ 104 h 531"/>
                <a:gd name="T10" fmla="*/ 63 w 347"/>
                <a:gd name="T11" fmla="*/ 104 h 531"/>
                <a:gd name="T12" fmla="*/ 54 w 347"/>
                <a:gd name="T13" fmla="*/ 87 h 531"/>
                <a:gd name="T14" fmla="*/ 63 w 347"/>
                <a:gd name="T15" fmla="*/ 49 h 531"/>
                <a:gd name="T16" fmla="*/ 101 w 347"/>
                <a:gd name="T17" fmla="*/ 21 h 531"/>
                <a:gd name="T18" fmla="*/ 101 w 347"/>
                <a:gd name="T19" fmla="*/ 0 h 531"/>
                <a:gd name="T20" fmla="*/ 118 w 347"/>
                <a:gd name="T21" fmla="*/ 4 h 531"/>
                <a:gd name="T22" fmla="*/ 203 w 347"/>
                <a:gd name="T23" fmla="*/ 87 h 531"/>
                <a:gd name="T24" fmla="*/ 203 w 347"/>
                <a:gd name="T25" fmla="*/ 115 h 531"/>
                <a:gd name="T26" fmla="*/ 207 w 347"/>
                <a:gd name="T27" fmla="*/ 115 h 531"/>
                <a:gd name="T28" fmla="*/ 241 w 347"/>
                <a:gd name="T29" fmla="*/ 127 h 531"/>
                <a:gd name="T30" fmla="*/ 267 w 347"/>
                <a:gd name="T31" fmla="*/ 165 h 531"/>
                <a:gd name="T32" fmla="*/ 293 w 347"/>
                <a:gd name="T33" fmla="*/ 170 h 531"/>
                <a:gd name="T34" fmla="*/ 293 w 347"/>
                <a:gd name="T35" fmla="*/ 219 h 531"/>
                <a:gd name="T36" fmla="*/ 293 w 347"/>
                <a:gd name="T37" fmla="*/ 243 h 531"/>
                <a:gd name="T38" fmla="*/ 283 w 347"/>
                <a:gd name="T39" fmla="*/ 253 h 531"/>
                <a:gd name="T40" fmla="*/ 241 w 347"/>
                <a:gd name="T41" fmla="*/ 271 h 531"/>
                <a:gd name="T42" fmla="*/ 229 w 347"/>
                <a:gd name="T43" fmla="*/ 314 h 531"/>
                <a:gd name="T44" fmla="*/ 262 w 347"/>
                <a:gd name="T45" fmla="*/ 364 h 531"/>
                <a:gd name="T46" fmla="*/ 283 w 347"/>
                <a:gd name="T47" fmla="*/ 371 h 531"/>
                <a:gd name="T48" fmla="*/ 330 w 347"/>
                <a:gd name="T49" fmla="*/ 465 h 531"/>
                <a:gd name="T50" fmla="*/ 321 w 347"/>
                <a:gd name="T51" fmla="*/ 482 h 531"/>
                <a:gd name="T52" fmla="*/ 283 w 347"/>
                <a:gd name="T53" fmla="*/ 475 h 531"/>
                <a:gd name="T54" fmla="*/ 257 w 347"/>
                <a:gd name="T55" fmla="*/ 491 h 531"/>
                <a:gd name="T56" fmla="*/ 241 w 347"/>
                <a:gd name="T57" fmla="*/ 503 h 531"/>
                <a:gd name="T58" fmla="*/ 203 w 347"/>
                <a:gd name="T59" fmla="*/ 503 h 531"/>
                <a:gd name="T60" fmla="*/ 186 w 347"/>
                <a:gd name="T61" fmla="*/ 519 h 531"/>
                <a:gd name="T62" fmla="*/ 170 w 347"/>
                <a:gd name="T63" fmla="*/ 519 h 531"/>
                <a:gd name="T64" fmla="*/ 132 w 347"/>
                <a:gd name="T65" fmla="*/ 491 h 531"/>
                <a:gd name="T66" fmla="*/ 122 w 347"/>
                <a:gd name="T67" fmla="*/ 482 h 531"/>
                <a:gd name="T68" fmla="*/ 118 w 347"/>
                <a:gd name="T69" fmla="*/ 449 h 531"/>
                <a:gd name="T70" fmla="*/ 101 w 347"/>
                <a:gd name="T71" fmla="*/ 420 h 531"/>
                <a:gd name="T72" fmla="*/ 122 w 347"/>
                <a:gd name="T73" fmla="*/ 330 h 531"/>
                <a:gd name="T74" fmla="*/ 118 w 347"/>
                <a:gd name="T75" fmla="*/ 297 h 531"/>
                <a:gd name="T76" fmla="*/ 96 w 347"/>
                <a:gd name="T77" fmla="*/ 276 h 531"/>
                <a:gd name="T78" fmla="*/ 96 w 347"/>
                <a:gd name="T79" fmla="*/ 243 h 531"/>
                <a:gd name="T80" fmla="*/ 96 w 347"/>
                <a:gd name="T81" fmla="*/ 243 h 5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47" h="531">
                  <a:moveTo>
                    <a:pt x="96" y="243"/>
                  </a:moveTo>
                  <a:lnTo>
                    <a:pt x="85" y="236"/>
                  </a:lnTo>
                  <a:lnTo>
                    <a:pt x="80" y="236"/>
                  </a:lnTo>
                  <a:lnTo>
                    <a:pt x="47" y="236"/>
                  </a:lnTo>
                  <a:lnTo>
                    <a:pt x="0" y="186"/>
                  </a:lnTo>
                  <a:lnTo>
                    <a:pt x="16" y="165"/>
                  </a:lnTo>
                  <a:lnTo>
                    <a:pt x="16" y="144"/>
                  </a:lnTo>
                  <a:lnTo>
                    <a:pt x="16" y="127"/>
                  </a:lnTo>
                  <a:lnTo>
                    <a:pt x="47" y="127"/>
                  </a:lnTo>
                  <a:lnTo>
                    <a:pt x="80" y="104"/>
                  </a:lnTo>
                  <a:lnTo>
                    <a:pt x="68" y="92"/>
                  </a:lnTo>
                  <a:lnTo>
                    <a:pt x="63" y="104"/>
                  </a:lnTo>
                  <a:lnTo>
                    <a:pt x="54" y="92"/>
                  </a:lnTo>
                  <a:lnTo>
                    <a:pt x="54" y="87"/>
                  </a:lnTo>
                  <a:lnTo>
                    <a:pt x="47" y="71"/>
                  </a:lnTo>
                  <a:lnTo>
                    <a:pt x="63" y="49"/>
                  </a:lnTo>
                  <a:lnTo>
                    <a:pt x="96" y="33"/>
                  </a:lnTo>
                  <a:lnTo>
                    <a:pt x="101" y="21"/>
                  </a:lnTo>
                  <a:lnTo>
                    <a:pt x="106" y="21"/>
                  </a:lnTo>
                  <a:lnTo>
                    <a:pt x="101" y="0"/>
                  </a:lnTo>
                  <a:lnTo>
                    <a:pt x="106" y="4"/>
                  </a:lnTo>
                  <a:lnTo>
                    <a:pt x="118" y="4"/>
                  </a:lnTo>
                  <a:lnTo>
                    <a:pt x="160" y="33"/>
                  </a:lnTo>
                  <a:lnTo>
                    <a:pt x="203" y="87"/>
                  </a:lnTo>
                  <a:lnTo>
                    <a:pt x="203" y="108"/>
                  </a:lnTo>
                  <a:lnTo>
                    <a:pt x="203" y="115"/>
                  </a:lnTo>
                  <a:lnTo>
                    <a:pt x="191" y="149"/>
                  </a:lnTo>
                  <a:lnTo>
                    <a:pt x="207" y="115"/>
                  </a:lnTo>
                  <a:lnTo>
                    <a:pt x="212" y="115"/>
                  </a:lnTo>
                  <a:lnTo>
                    <a:pt x="241" y="127"/>
                  </a:lnTo>
                  <a:lnTo>
                    <a:pt x="262" y="149"/>
                  </a:lnTo>
                  <a:lnTo>
                    <a:pt x="267" y="165"/>
                  </a:lnTo>
                  <a:lnTo>
                    <a:pt x="278" y="160"/>
                  </a:lnTo>
                  <a:lnTo>
                    <a:pt x="293" y="170"/>
                  </a:lnTo>
                  <a:lnTo>
                    <a:pt x="300" y="182"/>
                  </a:lnTo>
                  <a:lnTo>
                    <a:pt x="293" y="219"/>
                  </a:lnTo>
                  <a:lnTo>
                    <a:pt x="283" y="227"/>
                  </a:lnTo>
                  <a:lnTo>
                    <a:pt x="293" y="243"/>
                  </a:lnTo>
                  <a:lnTo>
                    <a:pt x="283" y="243"/>
                  </a:lnTo>
                  <a:lnTo>
                    <a:pt x="283" y="253"/>
                  </a:lnTo>
                  <a:lnTo>
                    <a:pt x="262" y="253"/>
                  </a:lnTo>
                  <a:lnTo>
                    <a:pt x="241" y="271"/>
                  </a:lnTo>
                  <a:lnTo>
                    <a:pt x="245" y="276"/>
                  </a:lnTo>
                  <a:lnTo>
                    <a:pt x="229" y="314"/>
                  </a:lnTo>
                  <a:lnTo>
                    <a:pt x="229" y="326"/>
                  </a:lnTo>
                  <a:lnTo>
                    <a:pt x="262" y="364"/>
                  </a:lnTo>
                  <a:lnTo>
                    <a:pt x="262" y="371"/>
                  </a:lnTo>
                  <a:lnTo>
                    <a:pt x="283" y="371"/>
                  </a:lnTo>
                  <a:lnTo>
                    <a:pt x="293" y="408"/>
                  </a:lnTo>
                  <a:lnTo>
                    <a:pt x="330" y="465"/>
                  </a:lnTo>
                  <a:lnTo>
                    <a:pt x="347" y="475"/>
                  </a:lnTo>
                  <a:lnTo>
                    <a:pt x="321" y="482"/>
                  </a:lnTo>
                  <a:lnTo>
                    <a:pt x="300" y="465"/>
                  </a:lnTo>
                  <a:lnTo>
                    <a:pt x="283" y="475"/>
                  </a:lnTo>
                  <a:lnTo>
                    <a:pt x="267" y="491"/>
                  </a:lnTo>
                  <a:lnTo>
                    <a:pt x="257" y="491"/>
                  </a:lnTo>
                  <a:lnTo>
                    <a:pt x="241" y="498"/>
                  </a:lnTo>
                  <a:lnTo>
                    <a:pt x="241" y="503"/>
                  </a:lnTo>
                  <a:lnTo>
                    <a:pt x="212" y="498"/>
                  </a:lnTo>
                  <a:lnTo>
                    <a:pt x="203" y="503"/>
                  </a:lnTo>
                  <a:lnTo>
                    <a:pt x="203" y="519"/>
                  </a:lnTo>
                  <a:lnTo>
                    <a:pt x="186" y="519"/>
                  </a:lnTo>
                  <a:lnTo>
                    <a:pt x="177" y="531"/>
                  </a:lnTo>
                  <a:lnTo>
                    <a:pt x="170" y="519"/>
                  </a:lnTo>
                  <a:lnTo>
                    <a:pt x="148" y="515"/>
                  </a:lnTo>
                  <a:lnTo>
                    <a:pt x="132" y="491"/>
                  </a:lnTo>
                  <a:lnTo>
                    <a:pt x="122" y="491"/>
                  </a:lnTo>
                  <a:lnTo>
                    <a:pt x="122" y="482"/>
                  </a:lnTo>
                  <a:lnTo>
                    <a:pt x="118" y="482"/>
                  </a:lnTo>
                  <a:lnTo>
                    <a:pt x="118" y="449"/>
                  </a:lnTo>
                  <a:lnTo>
                    <a:pt x="106" y="441"/>
                  </a:lnTo>
                  <a:lnTo>
                    <a:pt x="101" y="420"/>
                  </a:lnTo>
                  <a:lnTo>
                    <a:pt x="106" y="364"/>
                  </a:lnTo>
                  <a:lnTo>
                    <a:pt x="122" y="330"/>
                  </a:lnTo>
                  <a:lnTo>
                    <a:pt x="118" y="309"/>
                  </a:lnTo>
                  <a:lnTo>
                    <a:pt x="118" y="297"/>
                  </a:lnTo>
                  <a:lnTo>
                    <a:pt x="85" y="293"/>
                  </a:lnTo>
                  <a:lnTo>
                    <a:pt x="96" y="276"/>
                  </a:lnTo>
                  <a:lnTo>
                    <a:pt x="101" y="253"/>
                  </a:lnTo>
                  <a:lnTo>
                    <a:pt x="96" y="243"/>
                  </a:lnTo>
                  <a:lnTo>
                    <a:pt x="96" y="243"/>
                  </a:lnTo>
                  <a:lnTo>
                    <a:pt x="96" y="243"/>
                  </a:lnTo>
                  <a:close/>
                </a:path>
              </a:pathLst>
            </a:custGeom>
            <a:solidFill>
              <a:schemeClr val="bg2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18" name="Freeform 460">
              <a:extLst>
                <a:ext uri="{FF2B5EF4-FFF2-40B4-BE49-F238E27FC236}">
                  <a16:creationId xmlns:a16="http://schemas.microsoft.com/office/drawing/2014/main" id="{3A73A789-736A-43BD-B754-CD155968DDB7}"/>
                </a:ext>
              </a:extLst>
            </p:cNvPr>
            <p:cNvSpPr>
              <a:spLocks/>
            </p:cNvSpPr>
            <p:nvPr/>
          </p:nvSpPr>
          <p:spPr bwMode="gray">
            <a:xfrm>
              <a:off x="6529347" y="2381700"/>
              <a:ext cx="3377" cy="3223"/>
            </a:xfrm>
            <a:custGeom>
              <a:avLst/>
              <a:gdLst>
                <a:gd name="T0" fmla="*/ 22 w 22"/>
                <a:gd name="T1" fmla="*/ 0 h 21"/>
                <a:gd name="T2" fmla="*/ 22 w 22"/>
                <a:gd name="T3" fmla="*/ 0 h 21"/>
                <a:gd name="T4" fmla="*/ 10 w 22"/>
                <a:gd name="T5" fmla="*/ 21 h 21"/>
                <a:gd name="T6" fmla="*/ 0 w 22"/>
                <a:gd name="T7" fmla="*/ 14 h 21"/>
                <a:gd name="T8" fmla="*/ 22 w 22"/>
                <a:gd name="T9" fmla="*/ 0 h 21"/>
                <a:gd name="T10" fmla="*/ 22 w 22"/>
                <a:gd name="T11" fmla="*/ 0 h 21"/>
                <a:gd name="T12" fmla="*/ 22 w 22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" h="21">
                  <a:moveTo>
                    <a:pt x="22" y="0"/>
                  </a:moveTo>
                  <a:lnTo>
                    <a:pt x="22" y="0"/>
                  </a:lnTo>
                  <a:lnTo>
                    <a:pt x="10" y="21"/>
                  </a:lnTo>
                  <a:lnTo>
                    <a:pt x="0" y="14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22" y="0"/>
                  </a:lnTo>
                  <a:close/>
                </a:path>
              </a:pathLst>
            </a:custGeom>
            <a:solidFill>
              <a:schemeClr val="bg2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19" name="Freeform 461">
              <a:extLst>
                <a:ext uri="{FF2B5EF4-FFF2-40B4-BE49-F238E27FC236}">
                  <a16:creationId xmlns:a16="http://schemas.microsoft.com/office/drawing/2014/main" id="{98A215D0-6DF8-4929-89FD-670E2942C9AE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359561" y="2518001"/>
              <a:ext cx="30388" cy="22870"/>
            </a:xfrm>
            <a:custGeom>
              <a:avLst/>
              <a:gdLst>
                <a:gd name="T0" fmla="*/ 134 w 198"/>
                <a:gd name="T1" fmla="*/ 10 h 149"/>
                <a:gd name="T2" fmla="*/ 106 w 198"/>
                <a:gd name="T3" fmla="*/ 0 h 149"/>
                <a:gd name="T4" fmla="*/ 118 w 198"/>
                <a:gd name="T5" fmla="*/ 0 h 149"/>
                <a:gd name="T6" fmla="*/ 134 w 198"/>
                <a:gd name="T7" fmla="*/ 10 h 149"/>
                <a:gd name="T8" fmla="*/ 134 w 198"/>
                <a:gd name="T9" fmla="*/ 10 h 149"/>
                <a:gd name="T10" fmla="*/ 134 w 198"/>
                <a:gd name="T11" fmla="*/ 10 h 149"/>
                <a:gd name="T12" fmla="*/ 191 w 198"/>
                <a:gd name="T13" fmla="*/ 21 h 149"/>
                <a:gd name="T14" fmla="*/ 191 w 198"/>
                <a:gd name="T15" fmla="*/ 38 h 149"/>
                <a:gd name="T16" fmla="*/ 191 w 198"/>
                <a:gd name="T17" fmla="*/ 54 h 149"/>
                <a:gd name="T18" fmla="*/ 198 w 198"/>
                <a:gd name="T19" fmla="*/ 66 h 149"/>
                <a:gd name="T20" fmla="*/ 186 w 198"/>
                <a:gd name="T21" fmla="*/ 78 h 149"/>
                <a:gd name="T22" fmla="*/ 191 w 198"/>
                <a:gd name="T23" fmla="*/ 95 h 149"/>
                <a:gd name="T24" fmla="*/ 186 w 198"/>
                <a:gd name="T25" fmla="*/ 104 h 149"/>
                <a:gd name="T26" fmla="*/ 170 w 198"/>
                <a:gd name="T27" fmla="*/ 111 h 149"/>
                <a:gd name="T28" fmla="*/ 177 w 198"/>
                <a:gd name="T29" fmla="*/ 121 h 149"/>
                <a:gd name="T30" fmla="*/ 191 w 198"/>
                <a:gd name="T31" fmla="*/ 128 h 149"/>
                <a:gd name="T32" fmla="*/ 191 w 198"/>
                <a:gd name="T33" fmla="*/ 149 h 149"/>
                <a:gd name="T34" fmla="*/ 170 w 198"/>
                <a:gd name="T35" fmla="*/ 132 h 149"/>
                <a:gd name="T36" fmla="*/ 118 w 198"/>
                <a:gd name="T37" fmla="*/ 144 h 149"/>
                <a:gd name="T38" fmla="*/ 80 w 198"/>
                <a:gd name="T39" fmla="*/ 132 h 149"/>
                <a:gd name="T40" fmla="*/ 47 w 198"/>
                <a:gd name="T41" fmla="*/ 144 h 149"/>
                <a:gd name="T42" fmla="*/ 47 w 198"/>
                <a:gd name="T43" fmla="*/ 149 h 149"/>
                <a:gd name="T44" fmla="*/ 38 w 198"/>
                <a:gd name="T45" fmla="*/ 149 h 149"/>
                <a:gd name="T46" fmla="*/ 26 w 198"/>
                <a:gd name="T47" fmla="*/ 132 h 149"/>
                <a:gd name="T48" fmla="*/ 0 w 198"/>
                <a:gd name="T49" fmla="*/ 128 h 149"/>
                <a:gd name="T50" fmla="*/ 0 w 198"/>
                <a:gd name="T51" fmla="*/ 121 h 149"/>
                <a:gd name="T52" fmla="*/ 0 w 198"/>
                <a:gd name="T53" fmla="*/ 104 h 149"/>
                <a:gd name="T54" fmla="*/ 16 w 198"/>
                <a:gd name="T55" fmla="*/ 104 h 149"/>
                <a:gd name="T56" fmla="*/ 47 w 198"/>
                <a:gd name="T57" fmla="*/ 111 h 149"/>
                <a:gd name="T58" fmla="*/ 63 w 198"/>
                <a:gd name="T59" fmla="*/ 111 h 149"/>
                <a:gd name="T60" fmla="*/ 54 w 198"/>
                <a:gd name="T61" fmla="*/ 111 h 149"/>
                <a:gd name="T62" fmla="*/ 54 w 198"/>
                <a:gd name="T63" fmla="*/ 121 h 149"/>
                <a:gd name="T64" fmla="*/ 123 w 198"/>
                <a:gd name="T65" fmla="*/ 121 h 149"/>
                <a:gd name="T66" fmla="*/ 134 w 198"/>
                <a:gd name="T67" fmla="*/ 111 h 149"/>
                <a:gd name="T68" fmla="*/ 144 w 198"/>
                <a:gd name="T69" fmla="*/ 111 h 149"/>
                <a:gd name="T70" fmla="*/ 144 w 198"/>
                <a:gd name="T71" fmla="*/ 104 h 149"/>
                <a:gd name="T72" fmla="*/ 118 w 198"/>
                <a:gd name="T73" fmla="*/ 71 h 149"/>
                <a:gd name="T74" fmla="*/ 123 w 198"/>
                <a:gd name="T75" fmla="*/ 50 h 149"/>
                <a:gd name="T76" fmla="*/ 92 w 198"/>
                <a:gd name="T77" fmla="*/ 33 h 149"/>
                <a:gd name="T78" fmla="*/ 80 w 198"/>
                <a:gd name="T79" fmla="*/ 33 h 149"/>
                <a:gd name="T80" fmla="*/ 80 w 198"/>
                <a:gd name="T81" fmla="*/ 17 h 149"/>
                <a:gd name="T82" fmla="*/ 118 w 198"/>
                <a:gd name="T83" fmla="*/ 10 h 149"/>
                <a:gd name="T84" fmla="*/ 156 w 198"/>
                <a:gd name="T85" fmla="*/ 21 h 149"/>
                <a:gd name="T86" fmla="*/ 191 w 198"/>
                <a:gd name="T87" fmla="*/ 21 h 149"/>
                <a:gd name="T88" fmla="*/ 191 w 198"/>
                <a:gd name="T89" fmla="*/ 21 h 149"/>
                <a:gd name="T90" fmla="*/ 191 w 198"/>
                <a:gd name="T91" fmla="*/ 21 h 149"/>
                <a:gd name="T92" fmla="*/ 118 w 198"/>
                <a:gd name="T93" fmla="*/ 104 h 149"/>
                <a:gd name="T94" fmla="*/ 85 w 198"/>
                <a:gd name="T95" fmla="*/ 88 h 149"/>
                <a:gd name="T96" fmla="*/ 92 w 198"/>
                <a:gd name="T97" fmla="*/ 78 h 149"/>
                <a:gd name="T98" fmla="*/ 118 w 198"/>
                <a:gd name="T99" fmla="*/ 88 h 149"/>
                <a:gd name="T100" fmla="*/ 118 w 198"/>
                <a:gd name="T101" fmla="*/ 104 h 149"/>
                <a:gd name="T102" fmla="*/ 118 w 198"/>
                <a:gd name="T103" fmla="*/ 104 h 149"/>
                <a:gd name="T104" fmla="*/ 118 w 198"/>
                <a:gd name="T105" fmla="*/ 104 h 149"/>
                <a:gd name="T106" fmla="*/ 54 w 198"/>
                <a:gd name="T107" fmla="*/ 111 h 149"/>
                <a:gd name="T108" fmla="*/ 47 w 198"/>
                <a:gd name="T109" fmla="*/ 104 h 149"/>
                <a:gd name="T110" fmla="*/ 54 w 198"/>
                <a:gd name="T111" fmla="*/ 104 h 149"/>
                <a:gd name="T112" fmla="*/ 54 w 198"/>
                <a:gd name="T113" fmla="*/ 111 h 149"/>
                <a:gd name="T114" fmla="*/ 54 w 198"/>
                <a:gd name="T115" fmla="*/ 111 h 149"/>
                <a:gd name="T116" fmla="*/ 54 w 198"/>
                <a:gd name="T117" fmla="*/ 111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98" h="149">
                  <a:moveTo>
                    <a:pt x="134" y="10"/>
                  </a:moveTo>
                  <a:lnTo>
                    <a:pt x="106" y="0"/>
                  </a:lnTo>
                  <a:lnTo>
                    <a:pt x="118" y="0"/>
                  </a:lnTo>
                  <a:lnTo>
                    <a:pt x="134" y="10"/>
                  </a:lnTo>
                  <a:lnTo>
                    <a:pt x="134" y="10"/>
                  </a:lnTo>
                  <a:lnTo>
                    <a:pt x="134" y="10"/>
                  </a:lnTo>
                  <a:close/>
                  <a:moveTo>
                    <a:pt x="191" y="21"/>
                  </a:moveTo>
                  <a:lnTo>
                    <a:pt x="191" y="38"/>
                  </a:lnTo>
                  <a:lnTo>
                    <a:pt x="191" y="54"/>
                  </a:lnTo>
                  <a:lnTo>
                    <a:pt x="198" y="66"/>
                  </a:lnTo>
                  <a:lnTo>
                    <a:pt x="186" y="78"/>
                  </a:lnTo>
                  <a:lnTo>
                    <a:pt x="191" y="95"/>
                  </a:lnTo>
                  <a:lnTo>
                    <a:pt x="186" y="104"/>
                  </a:lnTo>
                  <a:lnTo>
                    <a:pt x="170" y="111"/>
                  </a:lnTo>
                  <a:lnTo>
                    <a:pt x="177" y="121"/>
                  </a:lnTo>
                  <a:lnTo>
                    <a:pt x="191" y="128"/>
                  </a:lnTo>
                  <a:lnTo>
                    <a:pt x="191" y="149"/>
                  </a:lnTo>
                  <a:lnTo>
                    <a:pt x="170" y="132"/>
                  </a:lnTo>
                  <a:lnTo>
                    <a:pt x="118" y="144"/>
                  </a:lnTo>
                  <a:lnTo>
                    <a:pt x="80" y="132"/>
                  </a:lnTo>
                  <a:lnTo>
                    <a:pt x="47" y="144"/>
                  </a:lnTo>
                  <a:lnTo>
                    <a:pt x="47" y="149"/>
                  </a:lnTo>
                  <a:lnTo>
                    <a:pt x="38" y="149"/>
                  </a:lnTo>
                  <a:lnTo>
                    <a:pt x="26" y="132"/>
                  </a:lnTo>
                  <a:lnTo>
                    <a:pt x="0" y="128"/>
                  </a:lnTo>
                  <a:lnTo>
                    <a:pt x="0" y="121"/>
                  </a:lnTo>
                  <a:lnTo>
                    <a:pt x="0" y="104"/>
                  </a:lnTo>
                  <a:lnTo>
                    <a:pt x="16" y="104"/>
                  </a:lnTo>
                  <a:lnTo>
                    <a:pt x="47" y="111"/>
                  </a:lnTo>
                  <a:lnTo>
                    <a:pt x="63" y="111"/>
                  </a:lnTo>
                  <a:lnTo>
                    <a:pt x="54" y="111"/>
                  </a:lnTo>
                  <a:lnTo>
                    <a:pt x="54" y="121"/>
                  </a:lnTo>
                  <a:lnTo>
                    <a:pt x="123" y="121"/>
                  </a:lnTo>
                  <a:lnTo>
                    <a:pt x="134" y="111"/>
                  </a:lnTo>
                  <a:lnTo>
                    <a:pt x="144" y="111"/>
                  </a:lnTo>
                  <a:lnTo>
                    <a:pt x="144" y="104"/>
                  </a:lnTo>
                  <a:lnTo>
                    <a:pt x="118" y="71"/>
                  </a:lnTo>
                  <a:lnTo>
                    <a:pt x="123" y="50"/>
                  </a:lnTo>
                  <a:lnTo>
                    <a:pt x="92" y="33"/>
                  </a:lnTo>
                  <a:lnTo>
                    <a:pt x="80" y="33"/>
                  </a:lnTo>
                  <a:lnTo>
                    <a:pt x="80" y="17"/>
                  </a:lnTo>
                  <a:lnTo>
                    <a:pt x="118" y="10"/>
                  </a:lnTo>
                  <a:lnTo>
                    <a:pt x="156" y="21"/>
                  </a:lnTo>
                  <a:lnTo>
                    <a:pt x="191" y="21"/>
                  </a:lnTo>
                  <a:lnTo>
                    <a:pt x="191" y="21"/>
                  </a:lnTo>
                  <a:lnTo>
                    <a:pt x="191" y="21"/>
                  </a:lnTo>
                  <a:close/>
                  <a:moveTo>
                    <a:pt x="118" y="104"/>
                  </a:moveTo>
                  <a:lnTo>
                    <a:pt x="85" y="88"/>
                  </a:lnTo>
                  <a:lnTo>
                    <a:pt x="92" y="78"/>
                  </a:lnTo>
                  <a:lnTo>
                    <a:pt x="118" y="88"/>
                  </a:lnTo>
                  <a:lnTo>
                    <a:pt x="118" y="104"/>
                  </a:lnTo>
                  <a:lnTo>
                    <a:pt x="118" y="104"/>
                  </a:lnTo>
                  <a:lnTo>
                    <a:pt x="118" y="104"/>
                  </a:lnTo>
                  <a:close/>
                  <a:moveTo>
                    <a:pt x="54" y="111"/>
                  </a:moveTo>
                  <a:lnTo>
                    <a:pt x="47" y="104"/>
                  </a:lnTo>
                  <a:lnTo>
                    <a:pt x="54" y="104"/>
                  </a:lnTo>
                  <a:lnTo>
                    <a:pt x="54" y="111"/>
                  </a:lnTo>
                  <a:lnTo>
                    <a:pt x="54" y="111"/>
                  </a:lnTo>
                  <a:lnTo>
                    <a:pt x="54" y="111"/>
                  </a:lnTo>
                  <a:close/>
                </a:path>
              </a:pathLst>
            </a:custGeom>
            <a:solidFill>
              <a:schemeClr val="bg2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20" name="Freeform 462">
              <a:extLst>
                <a:ext uri="{FF2B5EF4-FFF2-40B4-BE49-F238E27FC236}">
                  <a16:creationId xmlns:a16="http://schemas.microsoft.com/office/drawing/2014/main" id="{4A855A78-67CA-4D9B-9D53-8F64B04A1079}"/>
                </a:ext>
              </a:extLst>
            </p:cNvPr>
            <p:cNvSpPr>
              <a:spLocks/>
            </p:cNvSpPr>
            <p:nvPr/>
          </p:nvSpPr>
          <p:spPr bwMode="gray">
            <a:xfrm>
              <a:off x="6949561" y="3389989"/>
              <a:ext cx="6600" cy="3223"/>
            </a:xfrm>
            <a:custGeom>
              <a:avLst/>
              <a:gdLst>
                <a:gd name="T0" fmla="*/ 43 w 43"/>
                <a:gd name="T1" fmla="*/ 17 h 21"/>
                <a:gd name="T2" fmla="*/ 14 w 43"/>
                <a:gd name="T3" fmla="*/ 21 h 21"/>
                <a:gd name="T4" fmla="*/ 0 w 43"/>
                <a:gd name="T5" fmla="*/ 0 h 21"/>
                <a:gd name="T6" fmla="*/ 43 w 43"/>
                <a:gd name="T7" fmla="*/ 17 h 21"/>
                <a:gd name="T8" fmla="*/ 43 w 43"/>
                <a:gd name="T9" fmla="*/ 17 h 21"/>
                <a:gd name="T10" fmla="*/ 43 w 43"/>
                <a:gd name="T11" fmla="*/ 17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3" h="21">
                  <a:moveTo>
                    <a:pt x="43" y="17"/>
                  </a:moveTo>
                  <a:lnTo>
                    <a:pt x="14" y="21"/>
                  </a:lnTo>
                  <a:lnTo>
                    <a:pt x="0" y="0"/>
                  </a:lnTo>
                  <a:lnTo>
                    <a:pt x="43" y="17"/>
                  </a:lnTo>
                  <a:lnTo>
                    <a:pt x="43" y="17"/>
                  </a:lnTo>
                  <a:lnTo>
                    <a:pt x="43" y="17"/>
                  </a:lnTo>
                  <a:close/>
                </a:path>
              </a:pathLst>
            </a:custGeom>
            <a:solidFill>
              <a:schemeClr val="bg2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21" name="Freeform 463">
              <a:extLst>
                <a:ext uri="{FF2B5EF4-FFF2-40B4-BE49-F238E27FC236}">
                  <a16:creationId xmlns:a16="http://schemas.microsoft.com/office/drawing/2014/main" id="{40FDE83C-96DF-4584-8C04-88BEED25825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199640" y="2559291"/>
              <a:ext cx="66301" cy="38066"/>
            </a:xfrm>
            <a:custGeom>
              <a:avLst/>
              <a:gdLst>
                <a:gd name="T0" fmla="*/ 206 w 432"/>
                <a:gd name="T1" fmla="*/ 0 h 248"/>
                <a:gd name="T2" fmla="*/ 189 w 432"/>
                <a:gd name="T3" fmla="*/ 5 h 248"/>
                <a:gd name="T4" fmla="*/ 189 w 432"/>
                <a:gd name="T5" fmla="*/ 5 h 248"/>
                <a:gd name="T6" fmla="*/ 43 w 432"/>
                <a:gd name="T7" fmla="*/ 166 h 248"/>
                <a:gd name="T8" fmla="*/ 26 w 432"/>
                <a:gd name="T9" fmla="*/ 149 h 248"/>
                <a:gd name="T10" fmla="*/ 17 w 432"/>
                <a:gd name="T11" fmla="*/ 128 h 248"/>
                <a:gd name="T12" fmla="*/ 17 w 432"/>
                <a:gd name="T13" fmla="*/ 100 h 248"/>
                <a:gd name="T14" fmla="*/ 85 w 432"/>
                <a:gd name="T15" fmla="*/ 57 h 248"/>
                <a:gd name="T16" fmla="*/ 135 w 432"/>
                <a:gd name="T17" fmla="*/ 45 h 248"/>
                <a:gd name="T18" fmla="*/ 210 w 432"/>
                <a:gd name="T19" fmla="*/ 45 h 248"/>
                <a:gd name="T20" fmla="*/ 243 w 432"/>
                <a:gd name="T21" fmla="*/ 29 h 248"/>
                <a:gd name="T22" fmla="*/ 269 w 432"/>
                <a:gd name="T23" fmla="*/ 38 h 248"/>
                <a:gd name="T24" fmla="*/ 324 w 432"/>
                <a:gd name="T25" fmla="*/ 38 h 248"/>
                <a:gd name="T26" fmla="*/ 340 w 432"/>
                <a:gd name="T27" fmla="*/ 45 h 248"/>
                <a:gd name="T28" fmla="*/ 357 w 432"/>
                <a:gd name="T29" fmla="*/ 45 h 248"/>
                <a:gd name="T30" fmla="*/ 357 w 432"/>
                <a:gd name="T31" fmla="*/ 62 h 248"/>
                <a:gd name="T32" fmla="*/ 390 w 432"/>
                <a:gd name="T33" fmla="*/ 83 h 248"/>
                <a:gd name="T34" fmla="*/ 378 w 432"/>
                <a:gd name="T35" fmla="*/ 74 h 248"/>
                <a:gd name="T36" fmla="*/ 411 w 432"/>
                <a:gd name="T37" fmla="*/ 83 h 248"/>
                <a:gd name="T38" fmla="*/ 406 w 432"/>
                <a:gd name="T39" fmla="*/ 95 h 248"/>
                <a:gd name="T40" fmla="*/ 406 w 432"/>
                <a:gd name="T41" fmla="*/ 78 h 248"/>
                <a:gd name="T42" fmla="*/ 428 w 432"/>
                <a:gd name="T43" fmla="*/ 100 h 248"/>
                <a:gd name="T44" fmla="*/ 411 w 432"/>
                <a:gd name="T45" fmla="*/ 100 h 248"/>
                <a:gd name="T46" fmla="*/ 340 w 432"/>
                <a:gd name="T47" fmla="*/ 133 h 248"/>
                <a:gd name="T48" fmla="*/ 298 w 432"/>
                <a:gd name="T49" fmla="*/ 149 h 248"/>
                <a:gd name="T50" fmla="*/ 260 w 432"/>
                <a:gd name="T51" fmla="*/ 182 h 248"/>
                <a:gd name="T52" fmla="*/ 231 w 432"/>
                <a:gd name="T53" fmla="*/ 173 h 248"/>
                <a:gd name="T54" fmla="*/ 177 w 432"/>
                <a:gd name="T55" fmla="*/ 194 h 248"/>
                <a:gd name="T56" fmla="*/ 172 w 432"/>
                <a:gd name="T57" fmla="*/ 239 h 248"/>
                <a:gd name="T58" fmla="*/ 139 w 432"/>
                <a:gd name="T59" fmla="*/ 248 h 248"/>
                <a:gd name="T60" fmla="*/ 135 w 432"/>
                <a:gd name="T61" fmla="*/ 222 h 248"/>
                <a:gd name="T62" fmla="*/ 118 w 432"/>
                <a:gd name="T63" fmla="*/ 222 h 248"/>
                <a:gd name="T64" fmla="*/ 109 w 432"/>
                <a:gd name="T65" fmla="*/ 222 h 248"/>
                <a:gd name="T66" fmla="*/ 109 w 432"/>
                <a:gd name="T67" fmla="*/ 211 h 248"/>
                <a:gd name="T68" fmla="*/ 109 w 432"/>
                <a:gd name="T69" fmla="*/ 182 h 248"/>
                <a:gd name="T70" fmla="*/ 85 w 432"/>
                <a:gd name="T71" fmla="*/ 182 h 248"/>
                <a:gd name="T72" fmla="*/ 54 w 432"/>
                <a:gd name="T73" fmla="*/ 182 h 248"/>
                <a:gd name="T74" fmla="*/ 54 w 432"/>
                <a:gd name="T75" fmla="*/ 182 h 248"/>
                <a:gd name="T76" fmla="*/ 118 w 432"/>
                <a:gd name="T77" fmla="*/ 222 h 248"/>
                <a:gd name="T78" fmla="*/ 123 w 432"/>
                <a:gd name="T79" fmla="*/ 227 h 248"/>
                <a:gd name="T80" fmla="*/ 123 w 432"/>
                <a:gd name="T81" fmla="*/ 227 h 2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432" h="248">
                  <a:moveTo>
                    <a:pt x="189" y="5"/>
                  </a:moveTo>
                  <a:lnTo>
                    <a:pt x="206" y="0"/>
                  </a:lnTo>
                  <a:lnTo>
                    <a:pt x="215" y="0"/>
                  </a:lnTo>
                  <a:lnTo>
                    <a:pt x="189" y="5"/>
                  </a:lnTo>
                  <a:lnTo>
                    <a:pt x="189" y="5"/>
                  </a:lnTo>
                  <a:lnTo>
                    <a:pt x="189" y="5"/>
                  </a:lnTo>
                  <a:close/>
                  <a:moveTo>
                    <a:pt x="54" y="182"/>
                  </a:moveTo>
                  <a:lnTo>
                    <a:pt x="43" y="166"/>
                  </a:lnTo>
                  <a:lnTo>
                    <a:pt x="43" y="173"/>
                  </a:lnTo>
                  <a:lnTo>
                    <a:pt x="26" y="149"/>
                  </a:lnTo>
                  <a:lnTo>
                    <a:pt x="0" y="149"/>
                  </a:lnTo>
                  <a:lnTo>
                    <a:pt x="17" y="128"/>
                  </a:lnTo>
                  <a:lnTo>
                    <a:pt x="9" y="116"/>
                  </a:lnTo>
                  <a:lnTo>
                    <a:pt x="17" y="100"/>
                  </a:lnTo>
                  <a:lnTo>
                    <a:pt x="80" y="57"/>
                  </a:lnTo>
                  <a:lnTo>
                    <a:pt x="85" y="57"/>
                  </a:lnTo>
                  <a:lnTo>
                    <a:pt x="118" y="38"/>
                  </a:lnTo>
                  <a:lnTo>
                    <a:pt x="135" y="45"/>
                  </a:lnTo>
                  <a:lnTo>
                    <a:pt x="139" y="38"/>
                  </a:lnTo>
                  <a:lnTo>
                    <a:pt x="210" y="45"/>
                  </a:lnTo>
                  <a:lnTo>
                    <a:pt x="243" y="38"/>
                  </a:lnTo>
                  <a:lnTo>
                    <a:pt x="243" y="29"/>
                  </a:lnTo>
                  <a:lnTo>
                    <a:pt x="231" y="29"/>
                  </a:lnTo>
                  <a:lnTo>
                    <a:pt x="269" y="38"/>
                  </a:lnTo>
                  <a:lnTo>
                    <a:pt x="302" y="29"/>
                  </a:lnTo>
                  <a:lnTo>
                    <a:pt x="324" y="38"/>
                  </a:lnTo>
                  <a:lnTo>
                    <a:pt x="335" y="45"/>
                  </a:lnTo>
                  <a:lnTo>
                    <a:pt x="340" y="45"/>
                  </a:lnTo>
                  <a:lnTo>
                    <a:pt x="340" y="38"/>
                  </a:lnTo>
                  <a:lnTo>
                    <a:pt x="357" y="45"/>
                  </a:lnTo>
                  <a:lnTo>
                    <a:pt x="390" y="74"/>
                  </a:lnTo>
                  <a:lnTo>
                    <a:pt x="357" y="62"/>
                  </a:lnTo>
                  <a:lnTo>
                    <a:pt x="373" y="78"/>
                  </a:lnTo>
                  <a:lnTo>
                    <a:pt x="390" y="83"/>
                  </a:lnTo>
                  <a:lnTo>
                    <a:pt x="373" y="78"/>
                  </a:lnTo>
                  <a:lnTo>
                    <a:pt x="378" y="74"/>
                  </a:lnTo>
                  <a:lnTo>
                    <a:pt x="394" y="83"/>
                  </a:lnTo>
                  <a:lnTo>
                    <a:pt x="411" y="83"/>
                  </a:lnTo>
                  <a:lnTo>
                    <a:pt x="406" y="83"/>
                  </a:lnTo>
                  <a:lnTo>
                    <a:pt x="406" y="95"/>
                  </a:lnTo>
                  <a:lnTo>
                    <a:pt x="411" y="83"/>
                  </a:lnTo>
                  <a:lnTo>
                    <a:pt x="406" y="78"/>
                  </a:lnTo>
                  <a:lnTo>
                    <a:pt x="423" y="83"/>
                  </a:lnTo>
                  <a:lnTo>
                    <a:pt x="428" y="100"/>
                  </a:lnTo>
                  <a:lnTo>
                    <a:pt x="432" y="100"/>
                  </a:lnTo>
                  <a:lnTo>
                    <a:pt x="411" y="100"/>
                  </a:lnTo>
                  <a:lnTo>
                    <a:pt x="390" y="116"/>
                  </a:lnTo>
                  <a:lnTo>
                    <a:pt x="340" y="133"/>
                  </a:lnTo>
                  <a:lnTo>
                    <a:pt x="314" y="116"/>
                  </a:lnTo>
                  <a:lnTo>
                    <a:pt x="298" y="149"/>
                  </a:lnTo>
                  <a:lnTo>
                    <a:pt x="298" y="149"/>
                  </a:lnTo>
                  <a:lnTo>
                    <a:pt x="260" y="182"/>
                  </a:lnTo>
                  <a:lnTo>
                    <a:pt x="260" y="189"/>
                  </a:lnTo>
                  <a:lnTo>
                    <a:pt x="231" y="173"/>
                  </a:lnTo>
                  <a:lnTo>
                    <a:pt x="210" y="194"/>
                  </a:lnTo>
                  <a:lnTo>
                    <a:pt x="177" y="194"/>
                  </a:lnTo>
                  <a:lnTo>
                    <a:pt x="189" y="227"/>
                  </a:lnTo>
                  <a:lnTo>
                    <a:pt x="172" y="239"/>
                  </a:lnTo>
                  <a:lnTo>
                    <a:pt x="161" y="248"/>
                  </a:lnTo>
                  <a:lnTo>
                    <a:pt x="139" y="248"/>
                  </a:lnTo>
                  <a:lnTo>
                    <a:pt x="123" y="227"/>
                  </a:lnTo>
                  <a:lnTo>
                    <a:pt x="135" y="222"/>
                  </a:lnTo>
                  <a:lnTo>
                    <a:pt x="123" y="227"/>
                  </a:lnTo>
                  <a:lnTo>
                    <a:pt x="118" y="222"/>
                  </a:lnTo>
                  <a:lnTo>
                    <a:pt x="118" y="222"/>
                  </a:lnTo>
                  <a:lnTo>
                    <a:pt x="109" y="222"/>
                  </a:lnTo>
                  <a:lnTo>
                    <a:pt x="118" y="211"/>
                  </a:lnTo>
                  <a:lnTo>
                    <a:pt x="109" y="211"/>
                  </a:lnTo>
                  <a:lnTo>
                    <a:pt x="118" y="189"/>
                  </a:lnTo>
                  <a:lnTo>
                    <a:pt x="109" y="182"/>
                  </a:lnTo>
                  <a:lnTo>
                    <a:pt x="97" y="189"/>
                  </a:lnTo>
                  <a:lnTo>
                    <a:pt x="85" y="182"/>
                  </a:lnTo>
                  <a:lnTo>
                    <a:pt x="64" y="189"/>
                  </a:lnTo>
                  <a:lnTo>
                    <a:pt x="54" y="182"/>
                  </a:lnTo>
                  <a:lnTo>
                    <a:pt x="54" y="182"/>
                  </a:lnTo>
                  <a:lnTo>
                    <a:pt x="54" y="182"/>
                  </a:lnTo>
                  <a:close/>
                  <a:moveTo>
                    <a:pt x="123" y="227"/>
                  </a:moveTo>
                  <a:lnTo>
                    <a:pt x="118" y="222"/>
                  </a:lnTo>
                  <a:lnTo>
                    <a:pt x="123" y="222"/>
                  </a:lnTo>
                  <a:lnTo>
                    <a:pt x="123" y="227"/>
                  </a:lnTo>
                  <a:lnTo>
                    <a:pt x="123" y="227"/>
                  </a:lnTo>
                  <a:lnTo>
                    <a:pt x="123" y="227"/>
                  </a:lnTo>
                  <a:close/>
                </a:path>
              </a:pathLst>
            </a:custGeom>
            <a:solidFill>
              <a:schemeClr val="bg2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22" name="Freeform 464">
              <a:extLst>
                <a:ext uri="{FF2B5EF4-FFF2-40B4-BE49-F238E27FC236}">
                  <a16:creationId xmlns:a16="http://schemas.microsoft.com/office/drawing/2014/main" id="{949CE395-73C3-4517-B93D-3565A21E41C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306501" y="2186612"/>
              <a:ext cx="64920" cy="55871"/>
            </a:xfrm>
            <a:custGeom>
              <a:avLst/>
              <a:gdLst>
                <a:gd name="T0" fmla="*/ 82 w 423"/>
                <a:gd name="T1" fmla="*/ 83 h 364"/>
                <a:gd name="T2" fmla="*/ 125 w 423"/>
                <a:gd name="T3" fmla="*/ 95 h 364"/>
                <a:gd name="T4" fmla="*/ 125 w 423"/>
                <a:gd name="T5" fmla="*/ 71 h 364"/>
                <a:gd name="T6" fmla="*/ 151 w 423"/>
                <a:gd name="T7" fmla="*/ 38 h 364"/>
                <a:gd name="T8" fmla="*/ 196 w 423"/>
                <a:gd name="T9" fmla="*/ 0 h 364"/>
                <a:gd name="T10" fmla="*/ 264 w 423"/>
                <a:gd name="T11" fmla="*/ 54 h 364"/>
                <a:gd name="T12" fmla="*/ 340 w 423"/>
                <a:gd name="T13" fmla="*/ 71 h 364"/>
                <a:gd name="T14" fmla="*/ 378 w 423"/>
                <a:gd name="T15" fmla="*/ 88 h 364"/>
                <a:gd name="T16" fmla="*/ 389 w 423"/>
                <a:gd name="T17" fmla="*/ 104 h 364"/>
                <a:gd name="T18" fmla="*/ 389 w 423"/>
                <a:gd name="T19" fmla="*/ 149 h 364"/>
                <a:gd name="T20" fmla="*/ 356 w 423"/>
                <a:gd name="T21" fmla="*/ 137 h 364"/>
                <a:gd name="T22" fmla="*/ 260 w 423"/>
                <a:gd name="T23" fmla="*/ 128 h 364"/>
                <a:gd name="T24" fmla="*/ 212 w 423"/>
                <a:gd name="T25" fmla="*/ 121 h 364"/>
                <a:gd name="T26" fmla="*/ 163 w 423"/>
                <a:gd name="T27" fmla="*/ 128 h 364"/>
                <a:gd name="T28" fmla="*/ 189 w 423"/>
                <a:gd name="T29" fmla="*/ 199 h 364"/>
                <a:gd name="T30" fmla="*/ 243 w 423"/>
                <a:gd name="T31" fmla="*/ 260 h 364"/>
                <a:gd name="T32" fmla="*/ 286 w 423"/>
                <a:gd name="T33" fmla="*/ 310 h 364"/>
                <a:gd name="T34" fmla="*/ 243 w 423"/>
                <a:gd name="T35" fmla="*/ 276 h 364"/>
                <a:gd name="T36" fmla="*/ 175 w 423"/>
                <a:gd name="T37" fmla="*/ 253 h 364"/>
                <a:gd name="T38" fmla="*/ 108 w 423"/>
                <a:gd name="T39" fmla="*/ 203 h 364"/>
                <a:gd name="T40" fmla="*/ 141 w 423"/>
                <a:gd name="T41" fmla="*/ 203 h 364"/>
                <a:gd name="T42" fmla="*/ 104 w 423"/>
                <a:gd name="T43" fmla="*/ 144 h 364"/>
                <a:gd name="T44" fmla="*/ 54 w 423"/>
                <a:gd name="T45" fmla="*/ 111 h 364"/>
                <a:gd name="T46" fmla="*/ 12 w 423"/>
                <a:gd name="T47" fmla="*/ 128 h 364"/>
                <a:gd name="T48" fmla="*/ 12 w 423"/>
                <a:gd name="T49" fmla="*/ 95 h 364"/>
                <a:gd name="T50" fmla="*/ 66 w 423"/>
                <a:gd name="T51" fmla="*/ 137 h 364"/>
                <a:gd name="T52" fmla="*/ 87 w 423"/>
                <a:gd name="T53" fmla="*/ 144 h 364"/>
                <a:gd name="T54" fmla="*/ 71 w 423"/>
                <a:gd name="T55" fmla="*/ 177 h 364"/>
                <a:gd name="T56" fmla="*/ 54 w 423"/>
                <a:gd name="T57" fmla="*/ 128 h 364"/>
                <a:gd name="T58" fmla="*/ 71 w 423"/>
                <a:gd name="T59" fmla="*/ 177 h 364"/>
                <a:gd name="T60" fmla="*/ 87 w 423"/>
                <a:gd name="T61" fmla="*/ 165 h 364"/>
                <a:gd name="T62" fmla="*/ 87 w 423"/>
                <a:gd name="T63" fmla="*/ 165 h 364"/>
                <a:gd name="T64" fmla="*/ 120 w 423"/>
                <a:gd name="T65" fmla="*/ 236 h 364"/>
                <a:gd name="T66" fmla="*/ 120 w 423"/>
                <a:gd name="T67" fmla="*/ 236 h 364"/>
                <a:gd name="T68" fmla="*/ 226 w 423"/>
                <a:gd name="T69" fmla="*/ 293 h 364"/>
                <a:gd name="T70" fmla="*/ 243 w 423"/>
                <a:gd name="T71" fmla="*/ 288 h 364"/>
                <a:gd name="T72" fmla="*/ 226 w 423"/>
                <a:gd name="T73" fmla="*/ 293 h 364"/>
                <a:gd name="T74" fmla="*/ 260 w 423"/>
                <a:gd name="T75" fmla="*/ 305 h 364"/>
                <a:gd name="T76" fmla="*/ 248 w 423"/>
                <a:gd name="T77" fmla="*/ 310 h 364"/>
                <a:gd name="T78" fmla="*/ 196 w 423"/>
                <a:gd name="T79" fmla="*/ 310 h 364"/>
                <a:gd name="T80" fmla="*/ 179 w 423"/>
                <a:gd name="T81" fmla="*/ 314 h 364"/>
                <a:gd name="T82" fmla="*/ 352 w 423"/>
                <a:gd name="T83" fmla="*/ 359 h 364"/>
                <a:gd name="T84" fmla="*/ 314 w 423"/>
                <a:gd name="T85" fmla="*/ 331 h 364"/>
                <a:gd name="T86" fmla="*/ 286 w 423"/>
                <a:gd name="T87" fmla="*/ 326 h 364"/>
                <a:gd name="T88" fmla="*/ 217 w 423"/>
                <a:gd name="T89" fmla="*/ 314 h 364"/>
                <a:gd name="T90" fmla="*/ 234 w 423"/>
                <a:gd name="T91" fmla="*/ 326 h 364"/>
                <a:gd name="T92" fmla="*/ 234 w 423"/>
                <a:gd name="T93" fmla="*/ 331 h 364"/>
                <a:gd name="T94" fmla="*/ 243 w 423"/>
                <a:gd name="T95" fmla="*/ 343 h 3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423" h="364">
                  <a:moveTo>
                    <a:pt x="12" y="95"/>
                  </a:moveTo>
                  <a:lnTo>
                    <a:pt x="66" y="95"/>
                  </a:lnTo>
                  <a:lnTo>
                    <a:pt x="82" y="83"/>
                  </a:lnTo>
                  <a:lnTo>
                    <a:pt x="99" y="95"/>
                  </a:lnTo>
                  <a:lnTo>
                    <a:pt x="120" y="104"/>
                  </a:lnTo>
                  <a:lnTo>
                    <a:pt x="125" y="95"/>
                  </a:lnTo>
                  <a:lnTo>
                    <a:pt x="137" y="83"/>
                  </a:lnTo>
                  <a:lnTo>
                    <a:pt x="125" y="83"/>
                  </a:lnTo>
                  <a:lnTo>
                    <a:pt x="125" y="71"/>
                  </a:lnTo>
                  <a:lnTo>
                    <a:pt x="158" y="66"/>
                  </a:lnTo>
                  <a:lnTo>
                    <a:pt x="158" y="50"/>
                  </a:lnTo>
                  <a:lnTo>
                    <a:pt x="151" y="38"/>
                  </a:lnTo>
                  <a:lnTo>
                    <a:pt x="151" y="33"/>
                  </a:lnTo>
                  <a:lnTo>
                    <a:pt x="196" y="17"/>
                  </a:lnTo>
                  <a:lnTo>
                    <a:pt x="196" y="0"/>
                  </a:lnTo>
                  <a:lnTo>
                    <a:pt x="217" y="12"/>
                  </a:lnTo>
                  <a:lnTo>
                    <a:pt x="260" y="33"/>
                  </a:lnTo>
                  <a:lnTo>
                    <a:pt x="264" y="54"/>
                  </a:lnTo>
                  <a:lnTo>
                    <a:pt x="286" y="54"/>
                  </a:lnTo>
                  <a:lnTo>
                    <a:pt x="297" y="66"/>
                  </a:lnTo>
                  <a:lnTo>
                    <a:pt x="340" y="71"/>
                  </a:lnTo>
                  <a:lnTo>
                    <a:pt x="373" y="54"/>
                  </a:lnTo>
                  <a:lnTo>
                    <a:pt x="378" y="71"/>
                  </a:lnTo>
                  <a:lnTo>
                    <a:pt x="378" y="88"/>
                  </a:lnTo>
                  <a:lnTo>
                    <a:pt x="394" y="95"/>
                  </a:lnTo>
                  <a:lnTo>
                    <a:pt x="389" y="95"/>
                  </a:lnTo>
                  <a:lnTo>
                    <a:pt x="389" y="104"/>
                  </a:lnTo>
                  <a:lnTo>
                    <a:pt x="423" y="121"/>
                  </a:lnTo>
                  <a:lnTo>
                    <a:pt x="394" y="121"/>
                  </a:lnTo>
                  <a:lnTo>
                    <a:pt x="389" y="149"/>
                  </a:lnTo>
                  <a:lnTo>
                    <a:pt x="373" y="149"/>
                  </a:lnTo>
                  <a:lnTo>
                    <a:pt x="373" y="144"/>
                  </a:lnTo>
                  <a:lnTo>
                    <a:pt x="356" y="137"/>
                  </a:lnTo>
                  <a:lnTo>
                    <a:pt x="335" y="128"/>
                  </a:lnTo>
                  <a:lnTo>
                    <a:pt x="302" y="137"/>
                  </a:lnTo>
                  <a:lnTo>
                    <a:pt x="260" y="128"/>
                  </a:lnTo>
                  <a:lnTo>
                    <a:pt x="243" y="121"/>
                  </a:lnTo>
                  <a:lnTo>
                    <a:pt x="234" y="121"/>
                  </a:lnTo>
                  <a:lnTo>
                    <a:pt x="212" y="121"/>
                  </a:lnTo>
                  <a:lnTo>
                    <a:pt x="196" y="144"/>
                  </a:lnTo>
                  <a:lnTo>
                    <a:pt x="179" y="121"/>
                  </a:lnTo>
                  <a:lnTo>
                    <a:pt x="163" y="128"/>
                  </a:lnTo>
                  <a:lnTo>
                    <a:pt x="158" y="161"/>
                  </a:lnTo>
                  <a:lnTo>
                    <a:pt x="189" y="182"/>
                  </a:lnTo>
                  <a:lnTo>
                    <a:pt x="189" y="199"/>
                  </a:lnTo>
                  <a:lnTo>
                    <a:pt x="189" y="215"/>
                  </a:lnTo>
                  <a:lnTo>
                    <a:pt x="212" y="232"/>
                  </a:lnTo>
                  <a:lnTo>
                    <a:pt x="243" y="260"/>
                  </a:lnTo>
                  <a:lnTo>
                    <a:pt x="264" y="276"/>
                  </a:lnTo>
                  <a:lnTo>
                    <a:pt x="264" y="293"/>
                  </a:lnTo>
                  <a:lnTo>
                    <a:pt x="286" y="310"/>
                  </a:lnTo>
                  <a:lnTo>
                    <a:pt x="297" y="314"/>
                  </a:lnTo>
                  <a:lnTo>
                    <a:pt x="286" y="314"/>
                  </a:lnTo>
                  <a:lnTo>
                    <a:pt x="243" y="276"/>
                  </a:lnTo>
                  <a:lnTo>
                    <a:pt x="205" y="272"/>
                  </a:lnTo>
                  <a:lnTo>
                    <a:pt x="175" y="272"/>
                  </a:lnTo>
                  <a:lnTo>
                    <a:pt x="175" y="253"/>
                  </a:lnTo>
                  <a:lnTo>
                    <a:pt x="137" y="236"/>
                  </a:lnTo>
                  <a:lnTo>
                    <a:pt x="120" y="215"/>
                  </a:lnTo>
                  <a:lnTo>
                    <a:pt x="108" y="203"/>
                  </a:lnTo>
                  <a:lnTo>
                    <a:pt x="125" y="203"/>
                  </a:lnTo>
                  <a:lnTo>
                    <a:pt x="125" y="199"/>
                  </a:lnTo>
                  <a:lnTo>
                    <a:pt x="141" y="203"/>
                  </a:lnTo>
                  <a:lnTo>
                    <a:pt x="104" y="177"/>
                  </a:lnTo>
                  <a:lnTo>
                    <a:pt x="99" y="165"/>
                  </a:lnTo>
                  <a:lnTo>
                    <a:pt x="104" y="144"/>
                  </a:lnTo>
                  <a:lnTo>
                    <a:pt x="99" y="128"/>
                  </a:lnTo>
                  <a:lnTo>
                    <a:pt x="71" y="111"/>
                  </a:lnTo>
                  <a:lnTo>
                    <a:pt x="54" y="111"/>
                  </a:lnTo>
                  <a:lnTo>
                    <a:pt x="49" y="144"/>
                  </a:lnTo>
                  <a:lnTo>
                    <a:pt x="28" y="161"/>
                  </a:lnTo>
                  <a:lnTo>
                    <a:pt x="12" y="128"/>
                  </a:lnTo>
                  <a:lnTo>
                    <a:pt x="0" y="95"/>
                  </a:lnTo>
                  <a:lnTo>
                    <a:pt x="12" y="95"/>
                  </a:lnTo>
                  <a:lnTo>
                    <a:pt x="12" y="95"/>
                  </a:lnTo>
                  <a:lnTo>
                    <a:pt x="12" y="95"/>
                  </a:lnTo>
                  <a:close/>
                  <a:moveTo>
                    <a:pt x="87" y="144"/>
                  </a:moveTo>
                  <a:lnTo>
                    <a:pt x="66" y="137"/>
                  </a:lnTo>
                  <a:lnTo>
                    <a:pt x="71" y="121"/>
                  </a:lnTo>
                  <a:lnTo>
                    <a:pt x="99" y="144"/>
                  </a:lnTo>
                  <a:lnTo>
                    <a:pt x="87" y="144"/>
                  </a:lnTo>
                  <a:lnTo>
                    <a:pt x="87" y="144"/>
                  </a:lnTo>
                  <a:lnTo>
                    <a:pt x="87" y="144"/>
                  </a:lnTo>
                  <a:close/>
                  <a:moveTo>
                    <a:pt x="71" y="177"/>
                  </a:moveTo>
                  <a:lnTo>
                    <a:pt x="54" y="149"/>
                  </a:lnTo>
                  <a:lnTo>
                    <a:pt x="66" y="149"/>
                  </a:lnTo>
                  <a:lnTo>
                    <a:pt x="54" y="128"/>
                  </a:lnTo>
                  <a:lnTo>
                    <a:pt x="54" y="128"/>
                  </a:lnTo>
                  <a:lnTo>
                    <a:pt x="71" y="144"/>
                  </a:lnTo>
                  <a:lnTo>
                    <a:pt x="71" y="177"/>
                  </a:lnTo>
                  <a:lnTo>
                    <a:pt x="71" y="177"/>
                  </a:lnTo>
                  <a:lnTo>
                    <a:pt x="71" y="177"/>
                  </a:lnTo>
                  <a:close/>
                  <a:moveTo>
                    <a:pt x="87" y="165"/>
                  </a:moveTo>
                  <a:lnTo>
                    <a:pt x="125" y="199"/>
                  </a:lnTo>
                  <a:lnTo>
                    <a:pt x="108" y="199"/>
                  </a:lnTo>
                  <a:lnTo>
                    <a:pt x="87" y="165"/>
                  </a:lnTo>
                  <a:lnTo>
                    <a:pt x="87" y="165"/>
                  </a:lnTo>
                  <a:lnTo>
                    <a:pt x="87" y="165"/>
                  </a:lnTo>
                  <a:close/>
                  <a:moveTo>
                    <a:pt x="120" y="236"/>
                  </a:moveTo>
                  <a:lnTo>
                    <a:pt x="99" y="215"/>
                  </a:lnTo>
                  <a:lnTo>
                    <a:pt x="108" y="220"/>
                  </a:lnTo>
                  <a:lnTo>
                    <a:pt x="120" y="236"/>
                  </a:lnTo>
                  <a:lnTo>
                    <a:pt x="120" y="236"/>
                  </a:lnTo>
                  <a:lnTo>
                    <a:pt x="120" y="236"/>
                  </a:lnTo>
                  <a:close/>
                  <a:moveTo>
                    <a:pt x="226" y="293"/>
                  </a:moveTo>
                  <a:lnTo>
                    <a:pt x="205" y="288"/>
                  </a:lnTo>
                  <a:lnTo>
                    <a:pt x="205" y="288"/>
                  </a:lnTo>
                  <a:lnTo>
                    <a:pt x="243" y="288"/>
                  </a:lnTo>
                  <a:lnTo>
                    <a:pt x="226" y="293"/>
                  </a:lnTo>
                  <a:lnTo>
                    <a:pt x="226" y="293"/>
                  </a:lnTo>
                  <a:lnTo>
                    <a:pt x="226" y="293"/>
                  </a:lnTo>
                  <a:close/>
                  <a:moveTo>
                    <a:pt x="248" y="310"/>
                  </a:moveTo>
                  <a:lnTo>
                    <a:pt x="205" y="305"/>
                  </a:lnTo>
                  <a:lnTo>
                    <a:pt x="260" y="305"/>
                  </a:lnTo>
                  <a:lnTo>
                    <a:pt x="248" y="310"/>
                  </a:lnTo>
                  <a:lnTo>
                    <a:pt x="248" y="310"/>
                  </a:lnTo>
                  <a:lnTo>
                    <a:pt x="248" y="310"/>
                  </a:lnTo>
                  <a:close/>
                  <a:moveTo>
                    <a:pt x="179" y="314"/>
                  </a:moveTo>
                  <a:lnTo>
                    <a:pt x="179" y="310"/>
                  </a:lnTo>
                  <a:lnTo>
                    <a:pt x="196" y="310"/>
                  </a:lnTo>
                  <a:lnTo>
                    <a:pt x="179" y="314"/>
                  </a:lnTo>
                  <a:lnTo>
                    <a:pt x="179" y="314"/>
                  </a:lnTo>
                  <a:lnTo>
                    <a:pt x="179" y="314"/>
                  </a:lnTo>
                  <a:close/>
                  <a:moveTo>
                    <a:pt x="286" y="326"/>
                  </a:moveTo>
                  <a:lnTo>
                    <a:pt x="302" y="326"/>
                  </a:lnTo>
                  <a:lnTo>
                    <a:pt x="352" y="359"/>
                  </a:lnTo>
                  <a:lnTo>
                    <a:pt x="352" y="364"/>
                  </a:lnTo>
                  <a:lnTo>
                    <a:pt x="352" y="364"/>
                  </a:lnTo>
                  <a:lnTo>
                    <a:pt x="314" y="331"/>
                  </a:lnTo>
                  <a:lnTo>
                    <a:pt x="248" y="310"/>
                  </a:lnTo>
                  <a:lnTo>
                    <a:pt x="286" y="326"/>
                  </a:lnTo>
                  <a:lnTo>
                    <a:pt x="286" y="326"/>
                  </a:lnTo>
                  <a:lnTo>
                    <a:pt x="286" y="326"/>
                  </a:lnTo>
                  <a:close/>
                  <a:moveTo>
                    <a:pt x="234" y="326"/>
                  </a:moveTo>
                  <a:lnTo>
                    <a:pt x="217" y="314"/>
                  </a:lnTo>
                  <a:lnTo>
                    <a:pt x="260" y="326"/>
                  </a:lnTo>
                  <a:lnTo>
                    <a:pt x="234" y="326"/>
                  </a:lnTo>
                  <a:lnTo>
                    <a:pt x="234" y="326"/>
                  </a:lnTo>
                  <a:lnTo>
                    <a:pt x="234" y="326"/>
                  </a:lnTo>
                  <a:close/>
                  <a:moveTo>
                    <a:pt x="243" y="343"/>
                  </a:moveTo>
                  <a:lnTo>
                    <a:pt x="234" y="331"/>
                  </a:lnTo>
                  <a:lnTo>
                    <a:pt x="243" y="331"/>
                  </a:lnTo>
                  <a:lnTo>
                    <a:pt x="243" y="343"/>
                  </a:lnTo>
                  <a:lnTo>
                    <a:pt x="243" y="343"/>
                  </a:lnTo>
                  <a:lnTo>
                    <a:pt x="243" y="343"/>
                  </a:lnTo>
                  <a:close/>
                </a:path>
              </a:pathLst>
            </a:custGeom>
            <a:solidFill>
              <a:schemeClr val="bg2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23" name="Freeform 465">
              <a:extLst>
                <a:ext uri="{FF2B5EF4-FFF2-40B4-BE49-F238E27FC236}">
                  <a16:creationId xmlns:a16="http://schemas.microsoft.com/office/drawing/2014/main" id="{189EA7E0-8956-4E8F-8A2A-E97123FB6462}"/>
                </a:ext>
              </a:extLst>
            </p:cNvPr>
            <p:cNvSpPr>
              <a:spLocks/>
            </p:cNvSpPr>
            <p:nvPr/>
          </p:nvSpPr>
          <p:spPr bwMode="gray">
            <a:xfrm>
              <a:off x="6333666" y="2158369"/>
              <a:ext cx="73514" cy="39447"/>
            </a:xfrm>
            <a:custGeom>
              <a:avLst/>
              <a:gdLst>
                <a:gd name="T0" fmla="*/ 298 w 479"/>
                <a:gd name="T1" fmla="*/ 224 h 257"/>
                <a:gd name="T2" fmla="*/ 248 w 479"/>
                <a:gd name="T3" fmla="*/ 217 h 257"/>
                <a:gd name="T4" fmla="*/ 227 w 479"/>
                <a:gd name="T5" fmla="*/ 234 h 257"/>
                <a:gd name="T6" fmla="*/ 215 w 479"/>
                <a:gd name="T7" fmla="*/ 234 h 257"/>
                <a:gd name="T8" fmla="*/ 194 w 479"/>
                <a:gd name="T9" fmla="*/ 241 h 257"/>
                <a:gd name="T10" fmla="*/ 163 w 479"/>
                <a:gd name="T11" fmla="*/ 257 h 257"/>
                <a:gd name="T12" fmla="*/ 118 w 479"/>
                <a:gd name="T13" fmla="*/ 250 h 257"/>
                <a:gd name="T14" fmla="*/ 109 w 479"/>
                <a:gd name="T15" fmla="*/ 241 h 257"/>
                <a:gd name="T16" fmla="*/ 87 w 479"/>
                <a:gd name="T17" fmla="*/ 241 h 257"/>
                <a:gd name="T18" fmla="*/ 80 w 479"/>
                <a:gd name="T19" fmla="*/ 217 h 257"/>
                <a:gd name="T20" fmla="*/ 38 w 479"/>
                <a:gd name="T21" fmla="*/ 196 h 257"/>
                <a:gd name="T22" fmla="*/ 16 w 479"/>
                <a:gd name="T23" fmla="*/ 168 h 257"/>
                <a:gd name="T24" fmla="*/ 26 w 479"/>
                <a:gd name="T25" fmla="*/ 160 h 257"/>
                <a:gd name="T26" fmla="*/ 0 w 479"/>
                <a:gd name="T27" fmla="*/ 156 h 257"/>
                <a:gd name="T28" fmla="*/ 16 w 479"/>
                <a:gd name="T29" fmla="*/ 144 h 257"/>
                <a:gd name="T30" fmla="*/ 33 w 479"/>
                <a:gd name="T31" fmla="*/ 144 h 257"/>
                <a:gd name="T32" fmla="*/ 26 w 479"/>
                <a:gd name="T33" fmla="*/ 123 h 257"/>
                <a:gd name="T34" fmla="*/ 33 w 479"/>
                <a:gd name="T35" fmla="*/ 123 h 257"/>
                <a:gd name="T36" fmla="*/ 33 w 479"/>
                <a:gd name="T37" fmla="*/ 106 h 257"/>
                <a:gd name="T38" fmla="*/ 49 w 479"/>
                <a:gd name="T39" fmla="*/ 99 h 257"/>
                <a:gd name="T40" fmla="*/ 33 w 479"/>
                <a:gd name="T41" fmla="*/ 83 h 257"/>
                <a:gd name="T42" fmla="*/ 38 w 479"/>
                <a:gd name="T43" fmla="*/ 73 h 257"/>
                <a:gd name="T44" fmla="*/ 49 w 479"/>
                <a:gd name="T45" fmla="*/ 83 h 257"/>
                <a:gd name="T46" fmla="*/ 71 w 479"/>
                <a:gd name="T47" fmla="*/ 83 h 257"/>
                <a:gd name="T48" fmla="*/ 80 w 479"/>
                <a:gd name="T49" fmla="*/ 49 h 257"/>
                <a:gd name="T50" fmla="*/ 92 w 479"/>
                <a:gd name="T51" fmla="*/ 49 h 257"/>
                <a:gd name="T52" fmla="*/ 125 w 479"/>
                <a:gd name="T53" fmla="*/ 73 h 257"/>
                <a:gd name="T54" fmla="*/ 156 w 479"/>
                <a:gd name="T55" fmla="*/ 73 h 257"/>
                <a:gd name="T56" fmla="*/ 194 w 479"/>
                <a:gd name="T57" fmla="*/ 66 h 257"/>
                <a:gd name="T58" fmla="*/ 194 w 479"/>
                <a:gd name="T59" fmla="*/ 54 h 257"/>
                <a:gd name="T60" fmla="*/ 210 w 479"/>
                <a:gd name="T61" fmla="*/ 49 h 257"/>
                <a:gd name="T62" fmla="*/ 243 w 479"/>
                <a:gd name="T63" fmla="*/ 45 h 257"/>
                <a:gd name="T64" fmla="*/ 248 w 479"/>
                <a:gd name="T65" fmla="*/ 33 h 257"/>
                <a:gd name="T66" fmla="*/ 269 w 479"/>
                <a:gd name="T67" fmla="*/ 45 h 257"/>
                <a:gd name="T68" fmla="*/ 302 w 479"/>
                <a:gd name="T69" fmla="*/ 28 h 257"/>
                <a:gd name="T70" fmla="*/ 319 w 479"/>
                <a:gd name="T71" fmla="*/ 0 h 257"/>
                <a:gd name="T72" fmla="*/ 323 w 479"/>
                <a:gd name="T73" fmla="*/ 0 h 257"/>
                <a:gd name="T74" fmla="*/ 357 w 479"/>
                <a:gd name="T75" fmla="*/ 0 h 257"/>
                <a:gd name="T76" fmla="*/ 378 w 479"/>
                <a:gd name="T77" fmla="*/ 0 h 257"/>
                <a:gd name="T78" fmla="*/ 404 w 479"/>
                <a:gd name="T79" fmla="*/ 16 h 257"/>
                <a:gd name="T80" fmla="*/ 427 w 479"/>
                <a:gd name="T81" fmla="*/ 16 h 257"/>
                <a:gd name="T82" fmla="*/ 432 w 479"/>
                <a:gd name="T83" fmla="*/ 16 h 257"/>
                <a:gd name="T84" fmla="*/ 465 w 479"/>
                <a:gd name="T85" fmla="*/ 45 h 257"/>
                <a:gd name="T86" fmla="*/ 475 w 479"/>
                <a:gd name="T87" fmla="*/ 45 h 257"/>
                <a:gd name="T88" fmla="*/ 479 w 479"/>
                <a:gd name="T89" fmla="*/ 54 h 257"/>
                <a:gd name="T90" fmla="*/ 465 w 479"/>
                <a:gd name="T91" fmla="*/ 73 h 257"/>
                <a:gd name="T92" fmla="*/ 442 w 479"/>
                <a:gd name="T93" fmla="*/ 83 h 257"/>
                <a:gd name="T94" fmla="*/ 420 w 479"/>
                <a:gd name="T95" fmla="*/ 99 h 257"/>
                <a:gd name="T96" fmla="*/ 420 w 479"/>
                <a:gd name="T97" fmla="*/ 111 h 257"/>
                <a:gd name="T98" fmla="*/ 394 w 479"/>
                <a:gd name="T99" fmla="*/ 144 h 257"/>
                <a:gd name="T100" fmla="*/ 390 w 479"/>
                <a:gd name="T101" fmla="*/ 168 h 257"/>
                <a:gd name="T102" fmla="*/ 373 w 479"/>
                <a:gd name="T103" fmla="*/ 179 h 257"/>
                <a:gd name="T104" fmla="*/ 366 w 479"/>
                <a:gd name="T105" fmla="*/ 212 h 257"/>
                <a:gd name="T106" fmla="*/ 335 w 479"/>
                <a:gd name="T107" fmla="*/ 212 h 257"/>
                <a:gd name="T108" fmla="*/ 323 w 479"/>
                <a:gd name="T109" fmla="*/ 224 h 257"/>
                <a:gd name="T110" fmla="*/ 314 w 479"/>
                <a:gd name="T111" fmla="*/ 217 h 257"/>
                <a:gd name="T112" fmla="*/ 298 w 479"/>
                <a:gd name="T113" fmla="*/ 224 h 257"/>
                <a:gd name="T114" fmla="*/ 298 w 479"/>
                <a:gd name="T115" fmla="*/ 224 h 257"/>
                <a:gd name="T116" fmla="*/ 298 w 479"/>
                <a:gd name="T117" fmla="*/ 224 h 2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79" h="257">
                  <a:moveTo>
                    <a:pt x="298" y="224"/>
                  </a:moveTo>
                  <a:lnTo>
                    <a:pt x="248" y="217"/>
                  </a:lnTo>
                  <a:lnTo>
                    <a:pt x="227" y="234"/>
                  </a:lnTo>
                  <a:lnTo>
                    <a:pt x="215" y="234"/>
                  </a:lnTo>
                  <a:lnTo>
                    <a:pt x="194" y="241"/>
                  </a:lnTo>
                  <a:lnTo>
                    <a:pt x="163" y="257"/>
                  </a:lnTo>
                  <a:lnTo>
                    <a:pt x="118" y="250"/>
                  </a:lnTo>
                  <a:lnTo>
                    <a:pt x="109" y="241"/>
                  </a:lnTo>
                  <a:lnTo>
                    <a:pt x="87" y="241"/>
                  </a:lnTo>
                  <a:lnTo>
                    <a:pt x="80" y="217"/>
                  </a:lnTo>
                  <a:lnTo>
                    <a:pt x="38" y="196"/>
                  </a:lnTo>
                  <a:lnTo>
                    <a:pt x="16" y="168"/>
                  </a:lnTo>
                  <a:lnTo>
                    <a:pt x="26" y="160"/>
                  </a:lnTo>
                  <a:lnTo>
                    <a:pt x="0" y="156"/>
                  </a:lnTo>
                  <a:lnTo>
                    <a:pt x="16" y="144"/>
                  </a:lnTo>
                  <a:lnTo>
                    <a:pt x="33" y="144"/>
                  </a:lnTo>
                  <a:lnTo>
                    <a:pt x="26" y="123"/>
                  </a:lnTo>
                  <a:lnTo>
                    <a:pt x="33" y="123"/>
                  </a:lnTo>
                  <a:lnTo>
                    <a:pt x="33" y="106"/>
                  </a:lnTo>
                  <a:lnTo>
                    <a:pt x="49" y="99"/>
                  </a:lnTo>
                  <a:lnTo>
                    <a:pt x="33" y="83"/>
                  </a:lnTo>
                  <a:lnTo>
                    <a:pt x="38" y="73"/>
                  </a:lnTo>
                  <a:lnTo>
                    <a:pt x="49" y="83"/>
                  </a:lnTo>
                  <a:lnTo>
                    <a:pt x="71" y="83"/>
                  </a:lnTo>
                  <a:lnTo>
                    <a:pt x="80" y="49"/>
                  </a:lnTo>
                  <a:lnTo>
                    <a:pt x="92" y="49"/>
                  </a:lnTo>
                  <a:lnTo>
                    <a:pt x="125" y="73"/>
                  </a:lnTo>
                  <a:lnTo>
                    <a:pt x="156" y="73"/>
                  </a:lnTo>
                  <a:lnTo>
                    <a:pt x="194" y="66"/>
                  </a:lnTo>
                  <a:lnTo>
                    <a:pt x="194" y="54"/>
                  </a:lnTo>
                  <a:lnTo>
                    <a:pt x="210" y="49"/>
                  </a:lnTo>
                  <a:lnTo>
                    <a:pt x="243" y="45"/>
                  </a:lnTo>
                  <a:lnTo>
                    <a:pt x="248" y="33"/>
                  </a:lnTo>
                  <a:lnTo>
                    <a:pt x="269" y="45"/>
                  </a:lnTo>
                  <a:lnTo>
                    <a:pt x="302" y="28"/>
                  </a:lnTo>
                  <a:lnTo>
                    <a:pt x="319" y="0"/>
                  </a:lnTo>
                  <a:lnTo>
                    <a:pt x="323" y="0"/>
                  </a:lnTo>
                  <a:lnTo>
                    <a:pt x="357" y="0"/>
                  </a:lnTo>
                  <a:lnTo>
                    <a:pt x="378" y="0"/>
                  </a:lnTo>
                  <a:lnTo>
                    <a:pt x="404" y="16"/>
                  </a:lnTo>
                  <a:lnTo>
                    <a:pt x="427" y="16"/>
                  </a:lnTo>
                  <a:lnTo>
                    <a:pt x="432" y="16"/>
                  </a:lnTo>
                  <a:lnTo>
                    <a:pt x="465" y="45"/>
                  </a:lnTo>
                  <a:lnTo>
                    <a:pt x="475" y="45"/>
                  </a:lnTo>
                  <a:lnTo>
                    <a:pt x="479" y="54"/>
                  </a:lnTo>
                  <a:lnTo>
                    <a:pt x="465" y="73"/>
                  </a:lnTo>
                  <a:lnTo>
                    <a:pt x="442" y="83"/>
                  </a:lnTo>
                  <a:lnTo>
                    <a:pt x="420" y="99"/>
                  </a:lnTo>
                  <a:lnTo>
                    <a:pt x="420" y="111"/>
                  </a:lnTo>
                  <a:lnTo>
                    <a:pt x="394" y="144"/>
                  </a:lnTo>
                  <a:lnTo>
                    <a:pt x="390" y="168"/>
                  </a:lnTo>
                  <a:lnTo>
                    <a:pt x="373" y="179"/>
                  </a:lnTo>
                  <a:lnTo>
                    <a:pt x="366" y="212"/>
                  </a:lnTo>
                  <a:lnTo>
                    <a:pt x="335" y="212"/>
                  </a:lnTo>
                  <a:lnTo>
                    <a:pt x="323" y="224"/>
                  </a:lnTo>
                  <a:lnTo>
                    <a:pt x="314" y="217"/>
                  </a:lnTo>
                  <a:lnTo>
                    <a:pt x="298" y="224"/>
                  </a:lnTo>
                  <a:lnTo>
                    <a:pt x="298" y="224"/>
                  </a:lnTo>
                  <a:lnTo>
                    <a:pt x="298" y="224"/>
                  </a:lnTo>
                  <a:close/>
                </a:path>
              </a:pathLst>
            </a:custGeom>
            <a:solidFill>
              <a:schemeClr val="bg2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24" name="Freeform 466">
              <a:extLst>
                <a:ext uri="{FF2B5EF4-FFF2-40B4-BE49-F238E27FC236}">
                  <a16:creationId xmlns:a16="http://schemas.microsoft.com/office/drawing/2014/main" id="{3E5925DD-18D2-4DB8-8078-9D37EE930799}"/>
                </a:ext>
              </a:extLst>
            </p:cNvPr>
            <p:cNvSpPr>
              <a:spLocks/>
            </p:cNvSpPr>
            <p:nvPr/>
          </p:nvSpPr>
          <p:spPr bwMode="gray">
            <a:xfrm>
              <a:off x="5897183" y="1869037"/>
              <a:ext cx="118483" cy="57253"/>
            </a:xfrm>
            <a:custGeom>
              <a:avLst/>
              <a:gdLst>
                <a:gd name="T0" fmla="*/ 215 w 772"/>
                <a:gd name="T1" fmla="*/ 241 h 373"/>
                <a:gd name="T2" fmla="*/ 160 w 772"/>
                <a:gd name="T3" fmla="*/ 250 h 373"/>
                <a:gd name="T4" fmla="*/ 156 w 772"/>
                <a:gd name="T5" fmla="*/ 224 h 373"/>
                <a:gd name="T6" fmla="*/ 47 w 772"/>
                <a:gd name="T7" fmla="*/ 224 h 373"/>
                <a:gd name="T8" fmla="*/ 90 w 772"/>
                <a:gd name="T9" fmla="*/ 184 h 373"/>
                <a:gd name="T10" fmla="*/ 172 w 772"/>
                <a:gd name="T11" fmla="*/ 179 h 373"/>
                <a:gd name="T12" fmla="*/ 156 w 772"/>
                <a:gd name="T13" fmla="*/ 127 h 373"/>
                <a:gd name="T14" fmla="*/ 101 w 772"/>
                <a:gd name="T15" fmla="*/ 123 h 373"/>
                <a:gd name="T16" fmla="*/ 14 w 772"/>
                <a:gd name="T17" fmla="*/ 111 h 373"/>
                <a:gd name="T18" fmla="*/ 52 w 772"/>
                <a:gd name="T19" fmla="*/ 111 h 373"/>
                <a:gd name="T20" fmla="*/ 68 w 772"/>
                <a:gd name="T21" fmla="*/ 111 h 373"/>
                <a:gd name="T22" fmla="*/ 90 w 772"/>
                <a:gd name="T23" fmla="*/ 94 h 373"/>
                <a:gd name="T24" fmla="*/ 52 w 772"/>
                <a:gd name="T25" fmla="*/ 85 h 373"/>
                <a:gd name="T26" fmla="*/ 52 w 772"/>
                <a:gd name="T27" fmla="*/ 68 h 373"/>
                <a:gd name="T28" fmla="*/ 75 w 772"/>
                <a:gd name="T29" fmla="*/ 49 h 373"/>
                <a:gd name="T30" fmla="*/ 139 w 772"/>
                <a:gd name="T31" fmla="*/ 73 h 373"/>
                <a:gd name="T32" fmla="*/ 144 w 772"/>
                <a:gd name="T33" fmla="*/ 90 h 373"/>
                <a:gd name="T34" fmla="*/ 106 w 772"/>
                <a:gd name="T35" fmla="*/ 40 h 373"/>
                <a:gd name="T36" fmla="*/ 106 w 772"/>
                <a:gd name="T37" fmla="*/ 16 h 373"/>
                <a:gd name="T38" fmla="*/ 194 w 772"/>
                <a:gd name="T39" fmla="*/ 49 h 373"/>
                <a:gd name="T40" fmla="*/ 210 w 772"/>
                <a:gd name="T41" fmla="*/ 73 h 373"/>
                <a:gd name="T42" fmla="*/ 210 w 772"/>
                <a:gd name="T43" fmla="*/ 106 h 373"/>
                <a:gd name="T44" fmla="*/ 227 w 772"/>
                <a:gd name="T45" fmla="*/ 123 h 373"/>
                <a:gd name="T46" fmla="*/ 248 w 772"/>
                <a:gd name="T47" fmla="*/ 139 h 373"/>
                <a:gd name="T48" fmla="*/ 269 w 772"/>
                <a:gd name="T49" fmla="*/ 123 h 373"/>
                <a:gd name="T50" fmla="*/ 302 w 772"/>
                <a:gd name="T51" fmla="*/ 94 h 373"/>
                <a:gd name="T52" fmla="*/ 345 w 772"/>
                <a:gd name="T53" fmla="*/ 94 h 373"/>
                <a:gd name="T54" fmla="*/ 354 w 772"/>
                <a:gd name="T55" fmla="*/ 73 h 373"/>
                <a:gd name="T56" fmla="*/ 387 w 772"/>
                <a:gd name="T57" fmla="*/ 49 h 373"/>
                <a:gd name="T58" fmla="*/ 425 w 772"/>
                <a:gd name="T59" fmla="*/ 73 h 373"/>
                <a:gd name="T60" fmla="*/ 453 w 772"/>
                <a:gd name="T61" fmla="*/ 90 h 373"/>
                <a:gd name="T62" fmla="*/ 463 w 772"/>
                <a:gd name="T63" fmla="*/ 49 h 373"/>
                <a:gd name="T64" fmla="*/ 517 w 772"/>
                <a:gd name="T65" fmla="*/ 40 h 373"/>
                <a:gd name="T66" fmla="*/ 571 w 772"/>
                <a:gd name="T67" fmla="*/ 33 h 373"/>
                <a:gd name="T68" fmla="*/ 614 w 772"/>
                <a:gd name="T69" fmla="*/ 28 h 373"/>
                <a:gd name="T70" fmla="*/ 668 w 772"/>
                <a:gd name="T71" fmla="*/ 28 h 373"/>
                <a:gd name="T72" fmla="*/ 668 w 772"/>
                <a:gd name="T73" fmla="*/ 49 h 373"/>
                <a:gd name="T74" fmla="*/ 680 w 772"/>
                <a:gd name="T75" fmla="*/ 106 h 373"/>
                <a:gd name="T76" fmla="*/ 701 w 772"/>
                <a:gd name="T77" fmla="*/ 127 h 373"/>
                <a:gd name="T78" fmla="*/ 765 w 772"/>
                <a:gd name="T79" fmla="*/ 127 h 373"/>
                <a:gd name="T80" fmla="*/ 734 w 772"/>
                <a:gd name="T81" fmla="*/ 168 h 373"/>
                <a:gd name="T82" fmla="*/ 765 w 772"/>
                <a:gd name="T83" fmla="*/ 196 h 373"/>
                <a:gd name="T84" fmla="*/ 734 w 772"/>
                <a:gd name="T85" fmla="*/ 196 h 373"/>
                <a:gd name="T86" fmla="*/ 739 w 772"/>
                <a:gd name="T87" fmla="*/ 224 h 373"/>
                <a:gd name="T88" fmla="*/ 711 w 772"/>
                <a:gd name="T89" fmla="*/ 224 h 373"/>
                <a:gd name="T90" fmla="*/ 701 w 772"/>
                <a:gd name="T91" fmla="*/ 257 h 373"/>
                <a:gd name="T92" fmla="*/ 642 w 772"/>
                <a:gd name="T93" fmla="*/ 262 h 373"/>
                <a:gd name="T94" fmla="*/ 560 w 772"/>
                <a:gd name="T95" fmla="*/ 319 h 373"/>
                <a:gd name="T96" fmla="*/ 522 w 772"/>
                <a:gd name="T97" fmla="*/ 328 h 373"/>
                <a:gd name="T98" fmla="*/ 468 w 772"/>
                <a:gd name="T99" fmla="*/ 352 h 373"/>
                <a:gd name="T100" fmla="*/ 302 w 772"/>
                <a:gd name="T101" fmla="*/ 364 h 373"/>
                <a:gd name="T102" fmla="*/ 290 w 772"/>
                <a:gd name="T103" fmla="*/ 335 h 373"/>
                <a:gd name="T104" fmla="*/ 279 w 772"/>
                <a:gd name="T105" fmla="*/ 328 h 373"/>
                <a:gd name="T106" fmla="*/ 231 w 772"/>
                <a:gd name="T107" fmla="*/ 319 h 373"/>
                <a:gd name="T108" fmla="*/ 123 w 772"/>
                <a:gd name="T109" fmla="*/ 328 h 373"/>
                <a:gd name="T110" fmla="*/ 177 w 772"/>
                <a:gd name="T111" fmla="*/ 295 h 373"/>
                <a:gd name="T112" fmla="*/ 198 w 772"/>
                <a:gd name="T113" fmla="*/ 279 h 373"/>
                <a:gd name="T114" fmla="*/ 227 w 772"/>
                <a:gd name="T115" fmla="*/ 262 h 373"/>
                <a:gd name="T116" fmla="*/ 177 w 772"/>
                <a:gd name="T117" fmla="*/ 257 h 3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772" h="373">
                  <a:moveTo>
                    <a:pt x="177" y="257"/>
                  </a:moveTo>
                  <a:lnTo>
                    <a:pt x="198" y="234"/>
                  </a:lnTo>
                  <a:lnTo>
                    <a:pt x="215" y="241"/>
                  </a:lnTo>
                  <a:lnTo>
                    <a:pt x="198" y="234"/>
                  </a:lnTo>
                  <a:lnTo>
                    <a:pt x="210" y="234"/>
                  </a:lnTo>
                  <a:lnTo>
                    <a:pt x="160" y="250"/>
                  </a:lnTo>
                  <a:lnTo>
                    <a:pt x="156" y="241"/>
                  </a:lnTo>
                  <a:lnTo>
                    <a:pt x="144" y="234"/>
                  </a:lnTo>
                  <a:lnTo>
                    <a:pt x="156" y="224"/>
                  </a:lnTo>
                  <a:lnTo>
                    <a:pt x="144" y="208"/>
                  </a:lnTo>
                  <a:lnTo>
                    <a:pt x="75" y="208"/>
                  </a:lnTo>
                  <a:lnTo>
                    <a:pt x="47" y="224"/>
                  </a:lnTo>
                  <a:lnTo>
                    <a:pt x="31" y="201"/>
                  </a:lnTo>
                  <a:lnTo>
                    <a:pt x="64" y="201"/>
                  </a:lnTo>
                  <a:lnTo>
                    <a:pt x="90" y="184"/>
                  </a:lnTo>
                  <a:lnTo>
                    <a:pt x="182" y="184"/>
                  </a:lnTo>
                  <a:lnTo>
                    <a:pt x="194" y="163"/>
                  </a:lnTo>
                  <a:lnTo>
                    <a:pt x="172" y="179"/>
                  </a:lnTo>
                  <a:lnTo>
                    <a:pt x="139" y="168"/>
                  </a:lnTo>
                  <a:lnTo>
                    <a:pt x="198" y="139"/>
                  </a:lnTo>
                  <a:lnTo>
                    <a:pt x="156" y="127"/>
                  </a:lnTo>
                  <a:lnTo>
                    <a:pt x="172" y="123"/>
                  </a:lnTo>
                  <a:lnTo>
                    <a:pt x="144" y="127"/>
                  </a:lnTo>
                  <a:lnTo>
                    <a:pt x="101" y="123"/>
                  </a:lnTo>
                  <a:lnTo>
                    <a:pt x="47" y="139"/>
                  </a:lnTo>
                  <a:lnTo>
                    <a:pt x="0" y="127"/>
                  </a:lnTo>
                  <a:lnTo>
                    <a:pt x="14" y="111"/>
                  </a:lnTo>
                  <a:lnTo>
                    <a:pt x="52" y="127"/>
                  </a:lnTo>
                  <a:lnTo>
                    <a:pt x="31" y="111"/>
                  </a:lnTo>
                  <a:lnTo>
                    <a:pt x="52" y="111"/>
                  </a:lnTo>
                  <a:lnTo>
                    <a:pt x="31" y="106"/>
                  </a:lnTo>
                  <a:lnTo>
                    <a:pt x="31" y="90"/>
                  </a:lnTo>
                  <a:lnTo>
                    <a:pt x="68" y="111"/>
                  </a:lnTo>
                  <a:lnTo>
                    <a:pt x="85" y="111"/>
                  </a:lnTo>
                  <a:lnTo>
                    <a:pt x="68" y="106"/>
                  </a:lnTo>
                  <a:lnTo>
                    <a:pt x="90" y="94"/>
                  </a:lnTo>
                  <a:lnTo>
                    <a:pt x="52" y="94"/>
                  </a:lnTo>
                  <a:lnTo>
                    <a:pt x="47" y="90"/>
                  </a:lnTo>
                  <a:lnTo>
                    <a:pt x="52" y="85"/>
                  </a:lnTo>
                  <a:lnTo>
                    <a:pt x="90" y="90"/>
                  </a:lnTo>
                  <a:lnTo>
                    <a:pt x="47" y="68"/>
                  </a:lnTo>
                  <a:lnTo>
                    <a:pt x="52" y="68"/>
                  </a:lnTo>
                  <a:lnTo>
                    <a:pt x="85" y="73"/>
                  </a:lnTo>
                  <a:lnTo>
                    <a:pt x="64" y="57"/>
                  </a:lnTo>
                  <a:lnTo>
                    <a:pt x="75" y="49"/>
                  </a:lnTo>
                  <a:lnTo>
                    <a:pt x="123" y="73"/>
                  </a:lnTo>
                  <a:lnTo>
                    <a:pt x="127" y="68"/>
                  </a:lnTo>
                  <a:lnTo>
                    <a:pt x="139" y="73"/>
                  </a:lnTo>
                  <a:lnTo>
                    <a:pt x="127" y="90"/>
                  </a:lnTo>
                  <a:lnTo>
                    <a:pt x="139" y="73"/>
                  </a:lnTo>
                  <a:lnTo>
                    <a:pt x="144" y="90"/>
                  </a:lnTo>
                  <a:lnTo>
                    <a:pt x="144" y="73"/>
                  </a:lnTo>
                  <a:lnTo>
                    <a:pt x="139" y="57"/>
                  </a:lnTo>
                  <a:lnTo>
                    <a:pt x="106" y="40"/>
                  </a:lnTo>
                  <a:lnTo>
                    <a:pt x="144" y="40"/>
                  </a:lnTo>
                  <a:lnTo>
                    <a:pt x="90" y="28"/>
                  </a:lnTo>
                  <a:lnTo>
                    <a:pt x="106" y="16"/>
                  </a:lnTo>
                  <a:lnTo>
                    <a:pt x="144" y="16"/>
                  </a:lnTo>
                  <a:lnTo>
                    <a:pt x="160" y="33"/>
                  </a:lnTo>
                  <a:lnTo>
                    <a:pt x="194" y="49"/>
                  </a:lnTo>
                  <a:lnTo>
                    <a:pt x="198" y="68"/>
                  </a:lnTo>
                  <a:lnTo>
                    <a:pt x="215" y="68"/>
                  </a:lnTo>
                  <a:lnTo>
                    <a:pt x="210" y="73"/>
                  </a:lnTo>
                  <a:lnTo>
                    <a:pt x="227" y="85"/>
                  </a:lnTo>
                  <a:lnTo>
                    <a:pt x="227" y="106"/>
                  </a:lnTo>
                  <a:lnTo>
                    <a:pt x="210" y="106"/>
                  </a:lnTo>
                  <a:lnTo>
                    <a:pt x="194" y="94"/>
                  </a:lnTo>
                  <a:lnTo>
                    <a:pt x="198" y="111"/>
                  </a:lnTo>
                  <a:lnTo>
                    <a:pt x="227" y="123"/>
                  </a:lnTo>
                  <a:lnTo>
                    <a:pt x="236" y="168"/>
                  </a:lnTo>
                  <a:lnTo>
                    <a:pt x="236" y="139"/>
                  </a:lnTo>
                  <a:lnTo>
                    <a:pt x="248" y="139"/>
                  </a:lnTo>
                  <a:lnTo>
                    <a:pt x="253" y="123"/>
                  </a:lnTo>
                  <a:lnTo>
                    <a:pt x="269" y="106"/>
                  </a:lnTo>
                  <a:lnTo>
                    <a:pt x="269" y="123"/>
                  </a:lnTo>
                  <a:lnTo>
                    <a:pt x="286" y="127"/>
                  </a:lnTo>
                  <a:lnTo>
                    <a:pt x="290" y="111"/>
                  </a:lnTo>
                  <a:lnTo>
                    <a:pt x="302" y="94"/>
                  </a:lnTo>
                  <a:lnTo>
                    <a:pt x="286" y="57"/>
                  </a:lnTo>
                  <a:lnTo>
                    <a:pt x="307" y="57"/>
                  </a:lnTo>
                  <a:lnTo>
                    <a:pt x="345" y="94"/>
                  </a:lnTo>
                  <a:lnTo>
                    <a:pt x="354" y="106"/>
                  </a:lnTo>
                  <a:lnTo>
                    <a:pt x="361" y="90"/>
                  </a:lnTo>
                  <a:lnTo>
                    <a:pt x="354" y="73"/>
                  </a:lnTo>
                  <a:lnTo>
                    <a:pt x="354" y="68"/>
                  </a:lnTo>
                  <a:lnTo>
                    <a:pt x="387" y="57"/>
                  </a:lnTo>
                  <a:lnTo>
                    <a:pt x="387" y="49"/>
                  </a:lnTo>
                  <a:lnTo>
                    <a:pt x="399" y="49"/>
                  </a:lnTo>
                  <a:lnTo>
                    <a:pt x="416" y="57"/>
                  </a:lnTo>
                  <a:lnTo>
                    <a:pt x="425" y="73"/>
                  </a:lnTo>
                  <a:lnTo>
                    <a:pt x="442" y="85"/>
                  </a:lnTo>
                  <a:lnTo>
                    <a:pt x="453" y="111"/>
                  </a:lnTo>
                  <a:lnTo>
                    <a:pt x="453" y="90"/>
                  </a:lnTo>
                  <a:lnTo>
                    <a:pt x="442" y="68"/>
                  </a:lnTo>
                  <a:lnTo>
                    <a:pt x="442" y="49"/>
                  </a:lnTo>
                  <a:lnTo>
                    <a:pt x="463" y="49"/>
                  </a:lnTo>
                  <a:lnTo>
                    <a:pt x="484" y="73"/>
                  </a:lnTo>
                  <a:lnTo>
                    <a:pt x="501" y="73"/>
                  </a:lnTo>
                  <a:lnTo>
                    <a:pt x="517" y="40"/>
                  </a:lnTo>
                  <a:lnTo>
                    <a:pt x="555" y="57"/>
                  </a:lnTo>
                  <a:lnTo>
                    <a:pt x="550" y="49"/>
                  </a:lnTo>
                  <a:lnTo>
                    <a:pt x="571" y="33"/>
                  </a:lnTo>
                  <a:lnTo>
                    <a:pt x="555" y="12"/>
                  </a:lnTo>
                  <a:lnTo>
                    <a:pt x="593" y="0"/>
                  </a:lnTo>
                  <a:lnTo>
                    <a:pt x="614" y="28"/>
                  </a:lnTo>
                  <a:lnTo>
                    <a:pt x="614" y="40"/>
                  </a:lnTo>
                  <a:lnTo>
                    <a:pt x="642" y="49"/>
                  </a:lnTo>
                  <a:lnTo>
                    <a:pt x="668" y="28"/>
                  </a:lnTo>
                  <a:lnTo>
                    <a:pt x="685" y="28"/>
                  </a:lnTo>
                  <a:lnTo>
                    <a:pt x="668" y="33"/>
                  </a:lnTo>
                  <a:lnTo>
                    <a:pt x="668" y="49"/>
                  </a:lnTo>
                  <a:lnTo>
                    <a:pt x="657" y="57"/>
                  </a:lnTo>
                  <a:lnTo>
                    <a:pt x="697" y="73"/>
                  </a:lnTo>
                  <a:lnTo>
                    <a:pt x="680" y="106"/>
                  </a:lnTo>
                  <a:lnTo>
                    <a:pt x="718" y="94"/>
                  </a:lnTo>
                  <a:lnTo>
                    <a:pt x="718" y="111"/>
                  </a:lnTo>
                  <a:lnTo>
                    <a:pt x="701" y="127"/>
                  </a:lnTo>
                  <a:lnTo>
                    <a:pt x="718" y="111"/>
                  </a:lnTo>
                  <a:lnTo>
                    <a:pt x="765" y="123"/>
                  </a:lnTo>
                  <a:lnTo>
                    <a:pt x="765" y="127"/>
                  </a:lnTo>
                  <a:lnTo>
                    <a:pt x="756" y="151"/>
                  </a:lnTo>
                  <a:lnTo>
                    <a:pt x="772" y="163"/>
                  </a:lnTo>
                  <a:lnTo>
                    <a:pt x="734" y="168"/>
                  </a:lnTo>
                  <a:lnTo>
                    <a:pt x="765" y="168"/>
                  </a:lnTo>
                  <a:lnTo>
                    <a:pt x="772" y="179"/>
                  </a:lnTo>
                  <a:lnTo>
                    <a:pt x="765" y="196"/>
                  </a:lnTo>
                  <a:lnTo>
                    <a:pt x="739" y="179"/>
                  </a:lnTo>
                  <a:lnTo>
                    <a:pt x="756" y="201"/>
                  </a:lnTo>
                  <a:lnTo>
                    <a:pt x="734" y="196"/>
                  </a:lnTo>
                  <a:lnTo>
                    <a:pt x="756" y="201"/>
                  </a:lnTo>
                  <a:lnTo>
                    <a:pt x="734" y="217"/>
                  </a:lnTo>
                  <a:lnTo>
                    <a:pt x="739" y="224"/>
                  </a:lnTo>
                  <a:lnTo>
                    <a:pt x="718" y="224"/>
                  </a:lnTo>
                  <a:lnTo>
                    <a:pt x="701" y="208"/>
                  </a:lnTo>
                  <a:lnTo>
                    <a:pt x="711" y="224"/>
                  </a:lnTo>
                  <a:lnTo>
                    <a:pt x="697" y="241"/>
                  </a:lnTo>
                  <a:lnTo>
                    <a:pt x="711" y="241"/>
                  </a:lnTo>
                  <a:lnTo>
                    <a:pt x="701" y="257"/>
                  </a:lnTo>
                  <a:lnTo>
                    <a:pt x="685" y="257"/>
                  </a:lnTo>
                  <a:lnTo>
                    <a:pt x="668" y="274"/>
                  </a:lnTo>
                  <a:lnTo>
                    <a:pt x="642" y="262"/>
                  </a:lnTo>
                  <a:lnTo>
                    <a:pt x="642" y="274"/>
                  </a:lnTo>
                  <a:lnTo>
                    <a:pt x="593" y="290"/>
                  </a:lnTo>
                  <a:lnTo>
                    <a:pt x="560" y="319"/>
                  </a:lnTo>
                  <a:lnTo>
                    <a:pt x="538" y="328"/>
                  </a:lnTo>
                  <a:lnTo>
                    <a:pt x="534" y="312"/>
                  </a:lnTo>
                  <a:lnTo>
                    <a:pt x="522" y="328"/>
                  </a:lnTo>
                  <a:lnTo>
                    <a:pt x="468" y="335"/>
                  </a:lnTo>
                  <a:lnTo>
                    <a:pt x="463" y="345"/>
                  </a:lnTo>
                  <a:lnTo>
                    <a:pt x="468" y="352"/>
                  </a:lnTo>
                  <a:lnTo>
                    <a:pt x="463" y="364"/>
                  </a:lnTo>
                  <a:lnTo>
                    <a:pt x="408" y="373"/>
                  </a:lnTo>
                  <a:lnTo>
                    <a:pt x="302" y="364"/>
                  </a:lnTo>
                  <a:lnTo>
                    <a:pt x="279" y="335"/>
                  </a:lnTo>
                  <a:lnTo>
                    <a:pt x="290" y="335"/>
                  </a:lnTo>
                  <a:lnTo>
                    <a:pt x="290" y="335"/>
                  </a:lnTo>
                  <a:lnTo>
                    <a:pt x="279" y="335"/>
                  </a:lnTo>
                  <a:lnTo>
                    <a:pt x="269" y="335"/>
                  </a:lnTo>
                  <a:lnTo>
                    <a:pt x="279" y="328"/>
                  </a:lnTo>
                  <a:lnTo>
                    <a:pt x="269" y="319"/>
                  </a:lnTo>
                  <a:lnTo>
                    <a:pt x="253" y="328"/>
                  </a:lnTo>
                  <a:lnTo>
                    <a:pt x="231" y="319"/>
                  </a:lnTo>
                  <a:lnTo>
                    <a:pt x="248" y="312"/>
                  </a:lnTo>
                  <a:lnTo>
                    <a:pt x="198" y="328"/>
                  </a:lnTo>
                  <a:lnTo>
                    <a:pt x="123" y="328"/>
                  </a:lnTo>
                  <a:lnTo>
                    <a:pt x="127" y="295"/>
                  </a:lnTo>
                  <a:lnTo>
                    <a:pt x="139" y="307"/>
                  </a:lnTo>
                  <a:lnTo>
                    <a:pt x="177" y="295"/>
                  </a:lnTo>
                  <a:lnTo>
                    <a:pt x="182" y="295"/>
                  </a:lnTo>
                  <a:lnTo>
                    <a:pt x="177" y="290"/>
                  </a:lnTo>
                  <a:lnTo>
                    <a:pt x="198" y="279"/>
                  </a:lnTo>
                  <a:lnTo>
                    <a:pt x="182" y="279"/>
                  </a:lnTo>
                  <a:lnTo>
                    <a:pt x="194" y="262"/>
                  </a:lnTo>
                  <a:lnTo>
                    <a:pt x="227" y="262"/>
                  </a:lnTo>
                  <a:lnTo>
                    <a:pt x="172" y="274"/>
                  </a:lnTo>
                  <a:lnTo>
                    <a:pt x="177" y="257"/>
                  </a:lnTo>
                  <a:lnTo>
                    <a:pt x="177" y="257"/>
                  </a:lnTo>
                  <a:lnTo>
                    <a:pt x="177" y="257"/>
                  </a:lnTo>
                  <a:close/>
                </a:path>
              </a:pathLst>
            </a:custGeom>
            <a:solidFill>
              <a:schemeClr val="bg2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25" name="Freeform 467">
              <a:extLst>
                <a:ext uri="{FF2B5EF4-FFF2-40B4-BE49-F238E27FC236}">
                  <a16:creationId xmlns:a16="http://schemas.microsoft.com/office/drawing/2014/main" id="{DF62705D-1476-4230-B01A-0A7633953D17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186679" y="2676405"/>
              <a:ext cx="493115" cy="186800"/>
            </a:xfrm>
            <a:custGeom>
              <a:avLst/>
              <a:gdLst>
                <a:gd name="T0" fmla="*/ 647 w 3213"/>
                <a:gd name="T1" fmla="*/ 629 h 1217"/>
                <a:gd name="T2" fmla="*/ 392 w 3213"/>
                <a:gd name="T3" fmla="*/ 600 h 1217"/>
                <a:gd name="T4" fmla="*/ 123 w 3213"/>
                <a:gd name="T5" fmla="*/ 52 h 1217"/>
                <a:gd name="T6" fmla="*/ 2213 w 3213"/>
                <a:gd name="T7" fmla="*/ 123 h 1217"/>
                <a:gd name="T8" fmla="*/ 1403 w 3213"/>
                <a:gd name="T9" fmla="*/ 206 h 1217"/>
                <a:gd name="T10" fmla="*/ 1592 w 3213"/>
                <a:gd name="T11" fmla="*/ 345 h 1217"/>
                <a:gd name="T12" fmla="*/ 1365 w 3213"/>
                <a:gd name="T13" fmla="*/ 733 h 1217"/>
                <a:gd name="T14" fmla="*/ 1042 w 3213"/>
                <a:gd name="T15" fmla="*/ 527 h 1217"/>
                <a:gd name="T16" fmla="*/ 895 w 3213"/>
                <a:gd name="T17" fmla="*/ 152 h 1217"/>
                <a:gd name="T18" fmla="*/ 1545 w 3213"/>
                <a:gd name="T19" fmla="*/ 180 h 1217"/>
                <a:gd name="T20" fmla="*/ 735 w 3213"/>
                <a:gd name="T21" fmla="*/ 222 h 1217"/>
                <a:gd name="T22" fmla="*/ 2332 w 3213"/>
                <a:gd name="T23" fmla="*/ 279 h 1217"/>
                <a:gd name="T24" fmla="*/ 2284 w 3213"/>
                <a:gd name="T25" fmla="*/ 456 h 1217"/>
                <a:gd name="T26" fmla="*/ 1852 w 3213"/>
                <a:gd name="T27" fmla="*/ 723 h 1217"/>
                <a:gd name="T28" fmla="*/ 1651 w 3213"/>
                <a:gd name="T29" fmla="*/ 629 h 1217"/>
                <a:gd name="T30" fmla="*/ 1906 w 3213"/>
                <a:gd name="T31" fmla="*/ 362 h 1217"/>
                <a:gd name="T32" fmla="*/ 1781 w 3213"/>
                <a:gd name="T33" fmla="*/ 527 h 1217"/>
                <a:gd name="T34" fmla="*/ 1890 w 3213"/>
                <a:gd name="T35" fmla="*/ 666 h 1217"/>
                <a:gd name="T36" fmla="*/ 2105 w 3213"/>
                <a:gd name="T37" fmla="*/ 317 h 1217"/>
                <a:gd name="T38" fmla="*/ 610 w 3213"/>
                <a:gd name="T39" fmla="*/ 350 h 1217"/>
                <a:gd name="T40" fmla="*/ 605 w 3213"/>
                <a:gd name="T41" fmla="*/ 350 h 1217"/>
                <a:gd name="T42" fmla="*/ 555 w 3213"/>
                <a:gd name="T43" fmla="*/ 378 h 1217"/>
                <a:gd name="T44" fmla="*/ 232 w 3213"/>
                <a:gd name="T45" fmla="*/ 456 h 1217"/>
                <a:gd name="T46" fmla="*/ 593 w 3213"/>
                <a:gd name="T47" fmla="*/ 444 h 1217"/>
                <a:gd name="T48" fmla="*/ 2284 w 3213"/>
                <a:gd name="T49" fmla="*/ 478 h 1217"/>
                <a:gd name="T50" fmla="*/ 3149 w 3213"/>
                <a:gd name="T51" fmla="*/ 995 h 1217"/>
                <a:gd name="T52" fmla="*/ 2787 w 3213"/>
                <a:gd name="T53" fmla="*/ 711 h 1217"/>
                <a:gd name="T54" fmla="*/ 2575 w 3213"/>
                <a:gd name="T55" fmla="*/ 629 h 1217"/>
                <a:gd name="T56" fmla="*/ 2587 w 3213"/>
                <a:gd name="T57" fmla="*/ 461 h 1217"/>
                <a:gd name="T58" fmla="*/ 3149 w 3213"/>
                <a:gd name="T59" fmla="*/ 600 h 1217"/>
                <a:gd name="T60" fmla="*/ 2872 w 3213"/>
                <a:gd name="T61" fmla="*/ 518 h 1217"/>
                <a:gd name="T62" fmla="*/ 236 w 3213"/>
                <a:gd name="T63" fmla="*/ 494 h 1217"/>
                <a:gd name="T64" fmla="*/ 1954 w 3213"/>
                <a:gd name="T65" fmla="*/ 527 h 1217"/>
                <a:gd name="T66" fmla="*/ 749 w 3213"/>
                <a:gd name="T67" fmla="*/ 629 h 1217"/>
                <a:gd name="T68" fmla="*/ 2894 w 3213"/>
                <a:gd name="T69" fmla="*/ 567 h 1217"/>
                <a:gd name="T70" fmla="*/ 2117 w 3213"/>
                <a:gd name="T71" fmla="*/ 555 h 1217"/>
                <a:gd name="T72" fmla="*/ 345 w 3213"/>
                <a:gd name="T73" fmla="*/ 629 h 1217"/>
                <a:gd name="T74" fmla="*/ 2461 w 3213"/>
                <a:gd name="T75" fmla="*/ 645 h 1217"/>
                <a:gd name="T76" fmla="*/ 810 w 3213"/>
                <a:gd name="T77" fmla="*/ 638 h 1217"/>
                <a:gd name="T78" fmla="*/ 1474 w 3213"/>
                <a:gd name="T79" fmla="*/ 711 h 1217"/>
                <a:gd name="T80" fmla="*/ 2306 w 3213"/>
                <a:gd name="T81" fmla="*/ 695 h 1217"/>
                <a:gd name="T82" fmla="*/ 1970 w 3213"/>
                <a:gd name="T83" fmla="*/ 723 h 1217"/>
                <a:gd name="T84" fmla="*/ 1923 w 3213"/>
                <a:gd name="T85" fmla="*/ 806 h 1217"/>
                <a:gd name="T86" fmla="*/ 2662 w 3213"/>
                <a:gd name="T87" fmla="*/ 811 h 1217"/>
                <a:gd name="T88" fmla="*/ 1765 w 3213"/>
                <a:gd name="T89" fmla="*/ 844 h 1217"/>
                <a:gd name="T90" fmla="*/ 739 w 3213"/>
                <a:gd name="T91" fmla="*/ 889 h 1217"/>
                <a:gd name="T92" fmla="*/ 1214 w 3213"/>
                <a:gd name="T93" fmla="*/ 933 h 1217"/>
                <a:gd name="T94" fmla="*/ 2733 w 3213"/>
                <a:gd name="T95" fmla="*/ 860 h 1217"/>
                <a:gd name="T96" fmla="*/ 697 w 3213"/>
                <a:gd name="T97" fmla="*/ 905 h 1217"/>
                <a:gd name="T98" fmla="*/ 1781 w 3213"/>
                <a:gd name="T99" fmla="*/ 938 h 1217"/>
                <a:gd name="T100" fmla="*/ 2523 w 3213"/>
                <a:gd name="T101" fmla="*/ 971 h 1217"/>
                <a:gd name="T102" fmla="*/ 2511 w 3213"/>
                <a:gd name="T103" fmla="*/ 962 h 1217"/>
                <a:gd name="T104" fmla="*/ 1349 w 3213"/>
                <a:gd name="T105" fmla="*/ 1011 h 1217"/>
                <a:gd name="T106" fmla="*/ 1944 w 3213"/>
                <a:gd name="T107" fmla="*/ 1016 h 1217"/>
                <a:gd name="T108" fmla="*/ 1559 w 3213"/>
                <a:gd name="T109" fmla="*/ 1044 h 1217"/>
                <a:gd name="T110" fmla="*/ 2301 w 3213"/>
                <a:gd name="T111" fmla="*/ 1028 h 1217"/>
                <a:gd name="T112" fmla="*/ 3061 w 3213"/>
                <a:gd name="T113" fmla="*/ 1033 h 1217"/>
                <a:gd name="T114" fmla="*/ 2306 w 3213"/>
                <a:gd name="T115" fmla="*/ 1016 h 1217"/>
                <a:gd name="T116" fmla="*/ 2230 w 3213"/>
                <a:gd name="T117" fmla="*/ 1028 h 1217"/>
                <a:gd name="T118" fmla="*/ 1961 w 3213"/>
                <a:gd name="T119" fmla="*/ 1044 h 1217"/>
                <a:gd name="T120" fmla="*/ 1755 w 3213"/>
                <a:gd name="T121" fmla="*/ 1127 h 1217"/>
                <a:gd name="T122" fmla="*/ 1939 w 3213"/>
                <a:gd name="T123" fmla="*/ 1210 h 1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213" h="1217">
                  <a:moveTo>
                    <a:pt x="10" y="12"/>
                  </a:moveTo>
                  <a:lnTo>
                    <a:pt x="0" y="12"/>
                  </a:lnTo>
                  <a:lnTo>
                    <a:pt x="0" y="0"/>
                  </a:lnTo>
                  <a:lnTo>
                    <a:pt x="10" y="12"/>
                  </a:lnTo>
                  <a:lnTo>
                    <a:pt x="10" y="12"/>
                  </a:lnTo>
                  <a:lnTo>
                    <a:pt x="10" y="12"/>
                  </a:lnTo>
                  <a:close/>
                  <a:moveTo>
                    <a:pt x="539" y="383"/>
                  </a:moveTo>
                  <a:lnTo>
                    <a:pt x="550" y="400"/>
                  </a:lnTo>
                  <a:lnTo>
                    <a:pt x="517" y="418"/>
                  </a:lnTo>
                  <a:lnTo>
                    <a:pt x="501" y="407"/>
                  </a:lnTo>
                  <a:lnTo>
                    <a:pt x="517" y="418"/>
                  </a:lnTo>
                  <a:lnTo>
                    <a:pt x="572" y="390"/>
                  </a:lnTo>
                  <a:lnTo>
                    <a:pt x="593" y="407"/>
                  </a:lnTo>
                  <a:lnTo>
                    <a:pt x="605" y="435"/>
                  </a:lnTo>
                  <a:lnTo>
                    <a:pt x="588" y="435"/>
                  </a:lnTo>
                  <a:lnTo>
                    <a:pt x="560" y="444"/>
                  </a:lnTo>
                  <a:lnTo>
                    <a:pt x="576" y="444"/>
                  </a:lnTo>
                  <a:lnTo>
                    <a:pt x="560" y="456"/>
                  </a:lnTo>
                  <a:lnTo>
                    <a:pt x="588" y="461"/>
                  </a:lnTo>
                  <a:lnTo>
                    <a:pt x="572" y="478"/>
                  </a:lnTo>
                  <a:lnTo>
                    <a:pt x="593" y="501"/>
                  </a:lnTo>
                  <a:lnTo>
                    <a:pt x="643" y="501"/>
                  </a:lnTo>
                  <a:lnTo>
                    <a:pt x="647" y="555"/>
                  </a:lnTo>
                  <a:lnTo>
                    <a:pt x="647" y="567"/>
                  </a:lnTo>
                  <a:lnTo>
                    <a:pt x="659" y="567"/>
                  </a:lnTo>
                  <a:lnTo>
                    <a:pt x="669" y="572"/>
                  </a:lnTo>
                  <a:lnTo>
                    <a:pt x="669" y="584"/>
                  </a:lnTo>
                  <a:lnTo>
                    <a:pt x="664" y="600"/>
                  </a:lnTo>
                  <a:lnTo>
                    <a:pt x="664" y="612"/>
                  </a:lnTo>
                  <a:lnTo>
                    <a:pt x="647" y="629"/>
                  </a:lnTo>
                  <a:lnTo>
                    <a:pt x="664" y="612"/>
                  </a:lnTo>
                  <a:lnTo>
                    <a:pt x="669" y="589"/>
                  </a:lnTo>
                  <a:lnTo>
                    <a:pt x="685" y="600"/>
                  </a:lnTo>
                  <a:lnTo>
                    <a:pt x="723" y="600"/>
                  </a:lnTo>
                  <a:lnTo>
                    <a:pt x="723" y="612"/>
                  </a:lnTo>
                  <a:lnTo>
                    <a:pt x="739" y="622"/>
                  </a:lnTo>
                  <a:lnTo>
                    <a:pt x="739" y="638"/>
                  </a:lnTo>
                  <a:lnTo>
                    <a:pt x="756" y="645"/>
                  </a:lnTo>
                  <a:lnTo>
                    <a:pt x="756" y="662"/>
                  </a:lnTo>
                  <a:lnTo>
                    <a:pt x="749" y="678"/>
                  </a:lnTo>
                  <a:lnTo>
                    <a:pt x="739" y="695"/>
                  </a:lnTo>
                  <a:lnTo>
                    <a:pt x="749" y="711"/>
                  </a:lnTo>
                  <a:lnTo>
                    <a:pt x="739" y="733"/>
                  </a:lnTo>
                  <a:lnTo>
                    <a:pt x="749" y="756"/>
                  </a:lnTo>
                  <a:lnTo>
                    <a:pt x="739" y="834"/>
                  </a:lnTo>
                  <a:lnTo>
                    <a:pt x="735" y="851"/>
                  </a:lnTo>
                  <a:lnTo>
                    <a:pt x="702" y="822"/>
                  </a:lnTo>
                  <a:lnTo>
                    <a:pt x="697" y="834"/>
                  </a:lnTo>
                  <a:lnTo>
                    <a:pt x="702" y="844"/>
                  </a:lnTo>
                  <a:lnTo>
                    <a:pt x="697" y="844"/>
                  </a:lnTo>
                  <a:lnTo>
                    <a:pt x="664" y="827"/>
                  </a:lnTo>
                  <a:lnTo>
                    <a:pt x="647" y="827"/>
                  </a:lnTo>
                  <a:lnTo>
                    <a:pt x="664" y="851"/>
                  </a:lnTo>
                  <a:lnTo>
                    <a:pt x="659" y="860"/>
                  </a:lnTo>
                  <a:lnTo>
                    <a:pt x="605" y="794"/>
                  </a:lnTo>
                  <a:lnTo>
                    <a:pt x="496" y="716"/>
                  </a:lnTo>
                  <a:lnTo>
                    <a:pt x="484" y="695"/>
                  </a:lnTo>
                  <a:lnTo>
                    <a:pt x="447" y="662"/>
                  </a:lnTo>
                  <a:lnTo>
                    <a:pt x="425" y="622"/>
                  </a:lnTo>
                  <a:lnTo>
                    <a:pt x="392" y="600"/>
                  </a:lnTo>
                  <a:lnTo>
                    <a:pt x="392" y="584"/>
                  </a:lnTo>
                  <a:lnTo>
                    <a:pt x="392" y="567"/>
                  </a:lnTo>
                  <a:lnTo>
                    <a:pt x="378" y="546"/>
                  </a:lnTo>
                  <a:lnTo>
                    <a:pt x="371" y="527"/>
                  </a:lnTo>
                  <a:lnTo>
                    <a:pt x="361" y="518"/>
                  </a:lnTo>
                  <a:lnTo>
                    <a:pt x="354" y="489"/>
                  </a:lnTo>
                  <a:lnTo>
                    <a:pt x="317" y="444"/>
                  </a:lnTo>
                  <a:lnTo>
                    <a:pt x="317" y="435"/>
                  </a:lnTo>
                  <a:lnTo>
                    <a:pt x="307" y="423"/>
                  </a:lnTo>
                  <a:lnTo>
                    <a:pt x="269" y="407"/>
                  </a:lnTo>
                  <a:lnTo>
                    <a:pt x="269" y="383"/>
                  </a:lnTo>
                  <a:lnTo>
                    <a:pt x="236" y="312"/>
                  </a:lnTo>
                  <a:lnTo>
                    <a:pt x="248" y="312"/>
                  </a:lnTo>
                  <a:lnTo>
                    <a:pt x="248" y="307"/>
                  </a:lnTo>
                  <a:lnTo>
                    <a:pt x="182" y="263"/>
                  </a:lnTo>
                  <a:lnTo>
                    <a:pt x="177" y="263"/>
                  </a:lnTo>
                  <a:lnTo>
                    <a:pt x="173" y="255"/>
                  </a:lnTo>
                  <a:lnTo>
                    <a:pt x="161" y="222"/>
                  </a:lnTo>
                  <a:lnTo>
                    <a:pt x="144" y="218"/>
                  </a:lnTo>
                  <a:lnTo>
                    <a:pt x="118" y="163"/>
                  </a:lnTo>
                  <a:lnTo>
                    <a:pt x="85" y="152"/>
                  </a:lnTo>
                  <a:lnTo>
                    <a:pt x="14" y="90"/>
                  </a:lnTo>
                  <a:lnTo>
                    <a:pt x="0" y="57"/>
                  </a:lnTo>
                  <a:lnTo>
                    <a:pt x="0" y="29"/>
                  </a:lnTo>
                  <a:lnTo>
                    <a:pt x="10" y="19"/>
                  </a:lnTo>
                  <a:lnTo>
                    <a:pt x="21" y="19"/>
                  </a:lnTo>
                  <a:lnTo>
                    <a:pt x="47" y="36"/>
                  </a:lnTo>
                  <a:lnTo>
                    <a:pt x="52" y="41"/>
                  </a:lnTo>
                  <a:lnTo>
                    <a:pt x="76" y="52"/>
                  </a:lnTo>
                  <a:lnTo>
                    <a:pt x="123" y="52"/>
                  </a:lnTo>
                  <a:lnTo>
                    <a:pt x="139" y="57"/>
                  </a:lnTo>
                  <a:lnTo>
                    <a:pt x="156" y="52"/>
                  </a:lnTo>
                  <a:lnTo>
                    <a:pt x="182" y="74"/>
                  </a:lnTo>
                  <a:lnTo>
                    <a:pt x="194" y="95"/>
                  </a:lnTo>
                  <a:lnTo>
                    <a:pt x="210" y="107"/>
                  </a:lnTo>
                  <a:lnTo>
                    <a:pt x="210" y="128"/>
                  </a:lnTo>
                  <a:lnTo>
                    <a:pt x="333" y="218"/>
                  </a:lnTo>
                  <a:lnTo>
                    <a:pt x="333" y="239"/>
                  </a:lnTo>
                  <a:lnTo>
                    <a:pt x="333" y="234"/>
                  </a:lnTo>
                  <a:lnTo>
                    <a:pt x="340" y="234"/>
                  </a:lnTo>
                  <a:lnTo>
                    <a:pt x="340" y="251"/>
                  </a:lnTo>
                  <a:lnTo>
                    <a:pt x="340" y="234"/>
                  </a:lnTo>
                  <a:lnTo>
                    <a:pt x="345" y="234"/>
                  </a:lnTo>
                  <a:lnTo>
                    <a:pt x="361" y="263"/>
                  </a:lnTo>
                  <a:lnTo>
                    <a:pt x="392" y="279"/>
                  </a:lnTo>
                  <a:lnTo>
                    <a:pt x="399" y="296"/>
                  </a:lnTo>
                  <a:lnTo>
                    <a:pt x="387" y="263"/>
                  </a:lnTo>
                  <a:lnTo>
                    <a:pt x="409" y="263"/>
                  </a:lnTo>
                  <a:lnTo>
                    <a:pt x="425" y="279"/>
                  </a:lnTo>
                  <a:lnTo>
                    <a:pt x="430" y="307"/>
                  </a:lnTo>
                  <a:lnTo>
                    <a:pt x="454" y="312"/>
                  </a:lnTo>
                  <a:lnTo>
                    <a:pt x="484" y="329"/>
                  </a:lnTo>
                  <a:lnTo>
                    <a:pt x="484" y="350"/>
                  </a:lnTo>
                  <a:lnTo>
                    <a:pt x="501" y="366"/>
                  </a:lnTo>
                  <a:lnTo>
                    <a:pt x="534" y="378"/>
                  </a:lnTo>
                  <a:lnTo>
                    <a:pt x="539" y="383"/>
                  </a:lnTo>
                  <a:lnTo>
                    <a:pt x="539" y="383"/>
                  </a:lnTo>
                  <a:lnTo>
                    <a:pt x="539" y="383"/>
                  </a:lnTo>
                  <a:close/>
                  <a:moveTo>
                    <a:pt x="2209" y="140"/>
                  </a:moveTo>
                  <a:lnTo>
                    <a:pt x="2213" y="123"/>
                  </a:lnTo>
                  <a:lnTo>
                    <a:pt x="2209" y="111"/>
                  </a:lnTo>
                  <a:lnTo>
                    <a:pt x="2209" y="95"/>
                  </a:lnTo>
                  <a:lnTo>
                    <a:pt x="2213" y="107"/>
                  </a:lnTo>
                  <a:lnTo>
                    <a:pt x="2225" y="123"/>
                  </a:lnTo>
                  <a:lnTo>
                    <a:pt x="2209" y="140"/>
                  </a:lnTo>
                  <a:lnTo>
                    <a:pt x="2209" y="140"/>
                  </a:lnTo>
                  <a:lnTo>
                    <a:pt x="2209" y="140"/>
                  </a:lnTo>
                  <a:close/>
                  <a:moveTo>
                    <a:pt x="1009" y="279"/>
                  </a:moveTo>
                  <a:lnTo>
                    <a:pt x="1004" y="291"/>
                  </a:lnTo>
                  <a:lnTo>
                    <a:pt x="1009" y="312"/>
                  </a:lnTo>
                  <a:lnTo>
                    <a:pt x="1075" y="366"/>
                  </a:lnTo>
                  <a:lnTo>
                    <a:pt x="1117" y="350"/>
                  </a:lnTo>
                  <a:lnTo>
                    <a:pt x="1167" y="362"/>
                  </a:lnTo>
                  <a:lnTo>
                    <a:pt x="1172" y="345"/>
                  </a:lnTo>
                  <a:lnTo>
                    <a:pt x="1181" y="345"/>
                  </a:lnTo>
                  <a:lnTo>
                    <a:pt x="1188" y="317"/>
                  </a:lnTo>
                  <a:lnTo>
                    <a:pt x="1205" y="312"/>
                  </a:lnTo>
                  <a:lnTo>
                    <a:pt x="1243" y="312"/>
                  </a:lnTo>
                  <a:lnTo>
                    <a:pt x="1252" y="329"/>
                  </a:lnTo>
                  <a:lnTo>
                    <a:pt x="1290" y="333"/>
                  </a:lnTo>
                  <a:lnTo>
                    <a:pt x="1311" y="317"/>
                  </a:lnTo>
                  <a:lnTo>
                    <a:pt x="1344" y="317"/>
                  </a:lnTo>
                  <a:lnTo>
                    <a:pt x="1361" y="329"/>
                  </a:lnTo>
                  <a:lnTo>
                    <a:pt x="1365" y="307"/>
                  </a:lnTo>
                  <a:lnTo>
                    <a:pt x="1377" y="291"/>
                  </a:lnTo>
                  <a:lnTo>
                    <a:pt x="1377" y="263"/>
                  </a:lnTo>
                  <a:lnTo>
                    <a:pt x="1403" y="251"/>
                  </a:lnTo>
                  <a:lnTo>
                    <a:pt x="1387" y="239"/>
                  </a:lnTo>
                  <a:lnTo>
                    <a:pt x="1398" y="218"/>
                  </a:lnTo>
                  <a:lnTo>
                    <a:pt x="1403" y="206"/>
                  </a:lnTo>
                  <a:lnTo>
                    <a:pt x="1420" y="206"/>
                  </a:lnTo>
                  <a:lnTo>
                    <a:pt x="1432" y="180"/>
                  </a:lnTo>
                  <a:lnTo>
                    <a:pt x="1432" y="163"/>
                  </a:lnTo>
                  <a:lnTo>
                    <a:pt x="1432" y="128"/>
                  </a:lnTo>
                  <a:lnTo>
                    <a:pt x="1441" y="111"/>
                  </a:lnTo>
                  <a:lnTo>
                    <a:pt x="1458" y="123"/>
                  </a:lnTo>
                  <a:lnTo>
                    <a:pt x="1469" y="111"/>
                  </a:lnTo>
                  <a:lnTo>
                    <a:pt x="1491" y="123"/>
                  </a:lnTo>
                  <a:lnTo>
                    <a:pt x="1545" y="111"/>
                  </a:lnTo>
                  <a:lnTo>
                    <a:pt x="1566" y="128"/>
                  </a:lnTo>
                  <a:lnTo>
                    <a:pt x="1550" y="128"/>
                  </a:lnTo>
                  <a:lnTo>
                    <a:pt x="1583" y="163"/>
                  </a:lnTo>
                  <a:lnTo>
                    <a:pt x="1576" y="168"/>
                  </a:lnTo>
                  <a:lnTo>
                    <a:pt x="1528" y="168"/>
                  </a:lnTo>
                  <a:lnTo>
                    <a:pt x="1538" y="168"/>
                  </a:lnTo>
                  <a:lnTo>
                    <a:pt x="1545" y="180"/>
                  </a:lnTo>
                  <a:lnTo>
                    <a:pt x="1559" y="180"/>
                  </a:lnTo>
                  <a:lnTo>
                    <a:pt x="1545" y="196"/>
                  </a:lnTo>
                  <a:lnTo>
                    <a:pt x="1566" y="206"/>
                  </a:lnTo>
                  <a:lnTo>
                    <a:pt x="1576" y="222"/>
                  </a:lnTo>
                  <a:lnTo>
                    <a:pt x="1583" y="222"/>
                  </a:lnTo>
                  <a:lnTo>
                    <a:pt x="1604" y="263"/>
                  </a:lnTo>
                  <a:lnTo>
                    <a:pt x="1592" y="279"/>
                  </a:lnTo>
                  <a:lnTo>
                    <a:pt x="1583" y="272"/>
                  </a:lnTo>
                  <a:lnTo>
                    <a:pt x="1592" y="296"/>
                  </a:lnTo>
                  <a:lnTo>
                    <a:pt x="1668" y="362"/>
                  </a:lnTo>
                  <a:lnTo>
                    <a:pt x="1651" y="366"/>
                  </a:lnTo>
                  <a:lnTo>
                    <a:pt x="1621" y="366"/>
                  </a:lnTo>
                  <a:lnTo>
                    <a:pt x="1597" y="362"/>
                  </a:lnTo>
                  <a:lnTo>
                    <a:pt x="1592" y="345"/>
                  </a:lnTo>
                  <a:lnTo>
                    <a:pt x="1597" y="366"/>
                  </a:lnTo>
                  <a:lnTo>
                    <a:pt x="1592" y="366"/>
                  </a:lnTo>
                  <a:lnTo>
                    <a:pt x="1576" y="378"/>
                  </a:lnTo>
                  <a:lnTo>
                    <a:pt x="1559" y="423"/>
                  </a:lnTo>
                  <a:lnTo>
                    <a:pt x="1559" y="435"/>
                  </a:lnTo>
                  <a:lnTo>
                    <a:pt x="1559" y="444"/>
                  </a:lnTo>
                  <a:lnTo>
                    <a:pt x="1559" y="461"/>
                  </a:lnTo>
                  <a:lnTo>
                    <a:pt x="1566" y="456"/>
                  </a:lnTo>
                  <a:lnTo>
                    <a:pt x="1566" y="489"/>
                  </a:lnTo>
                  <a:lnTo>
                    <a:pt x="1559" y="489"/>
                  </a:lnTo>
                  <a:lnTo>
                    <a:pt x="1545" y="489"/>
                  </a:lnTo>
                  <a:lnTo>
                    <a:pt x="1521" y="518"/>
                  </a:lnTo>
                  <a:lnTo>
                    <a:pt x="1512" y="518"/>
                  </a:lnTo>
                  <a:lnTo>
                    <a:pt x="1507" y="501"/>
                  </a:lnTo>
                  <a:lnTo>
                    <a:pt x="1507" y="527"/>
                  </a:lnTo>
                  <a:lnTo>
                    <a:pt x="1491" y="534"/>
                  </a:lnTo>
                  <a:lnTo>
                    <a:pt x="1491" y="546"/>
                  </a:lnTo>
                  <a:lnTo>
                    <a:pt x="1474" y="555"/>
                  </a:lnTo>
                  <a:lnTo>
                    <a:pt x="1491" y="555"/>
                  </a:lnTo>
                  <a:lnTo>
                    <a:pt x="1491" y="572"/>
                  </a:lnTo>
                  <a:lnTo>
                    <a:pt x="1484" y="584"/>
                  </a:lnTo>
                  <a:lnTo>
                    <a:pt x="1495" y="589"/>
                  </a:lnTo>
                  <a:lnTo>
                    <a:pt x="1491" y="612"/>
                  </a:lnTo>
                  <a:lnTo>
                    <a:pt x="1474" y="612"/>
                  </a:lnTo>
                  <a:lnTo>
                    <a:pt x="1484" y="629"/>
                  </a:lnTo>
                  <a:lnTo>
                    <a:pt x="1474" y="645"/>
                  </a:lnTo>
                  <a:lnTo>
                    <a:pt x="1469" y="629"/>
                  </a:lnTo>
                  <a:lnTo>
                    <a:pt x="1474" y="655"/>
                  </a:lnTo>
                  <a:lnTo>
                    <a:pt x="1453" y="683"/>
                  </a:lnTo>
                  <a:lnTo>
                    <a:pt x="1365" y="733"/>
                  </a:lnTo>
                  <a:lnTo>
                    <a:pt x="1361" y="723"/>
                  </a:lnTo>
                  <a:lnTo>
                    <a:pt x="1361" y="695"/>
                  </a:lnTo>
                  <a:lnTo>
                    <a:pt x="1349" y="678"/>
                  </a:lnTo>
                  <a:lnTo>
                    <a:pt x="1323" y="666"/>
                  </a:lnTo>
                  <a:lnTo>
                    <a:pt x="1290" y="678"/>
                  </a:lnTo>
                  <a:lnTo>
                    <a:pt x="1290" y="655"/>
                  </a:lnTo>
                  <a:lnTo>
                    <a:pt x="1273" y="662"/>
                  </a:lnTo>
                  <a:lnTo>
                    <a:pt x="1252" y="645"/>
                  </a:lnTo>
                  <a:lnTo>
                    <a:pt x="1243" y="655"/>
                  </a:lnTo>
                  <a:lnTo>
                    <a:pt x="1243" y="662"/>
                  </a:lnTo>
                  <a:lnTo>
                    <a:pt x="1219" y="678"/>
                  </a:lnTo>
                  <a:lnTo>
                    <a:pt x="1214" y="678"/>
                  </a:lnTo>
                  <a:lnTo>
                    <a:pt x="1188" y="666"/>
                  </a:lnTo>
                  <a:lnTo>
                    <a:pt x="1167" y="683"/>
                  </a:lnTo>
                  <a:lnTo>
                    <a:pt x="1160" y="683"/>
                  </a:lnTo>
                  <a:lnTo>
                    <a:pt x="1167" y="645"/>
                  </a:lnTo>
                  <a:lnTo>
                    <a:pt x="1160" y="629"/>
                  </a:lnTo>
                  <a:lnTo>
                    <a:pt x="1150" y="638"/>
                  </a:lnTo>
                  <a:lnTo>
                    <a:pt x="1143" y="645"/>
                  </a:lnTo>
                  <a:lnTo>
                    <a:pt x="1127" y="638"/>
                  </a:lnTo>
                  <a:lnTo>
                    <a:pt x="1106" y="655"/>
                  </a:lnTo>
                  <a:lnTo>
                    <a:pt x="1089" y="645"/>
                  </a:lnTo>
                  <a:lnTo>
                    <a:pt x="1096" y="638"/>
                  </a:lnTo>
                  <a:lnTo>
                    <a:pt x="1080" y="655"/>
                  </a:lnTo>
                  <a:lnTo>
                    <a:pt x="1075" y="638"/>
                  </a:lnTo>
                  <a:lnTo>
                    <a:pt x="1051" y="645"/>
                  </a:lnTo>
                  <a:lnTo>
                    <a:pt x="1042" y="572"/>
                  </a:lnTo>
                  <a:lnTo>
                    <a:pt x="1025" y="555"/>
                  </a:lnTo>
                  <a:lnTo>
                    <a:pt x="1037" y="551"/>
                  </a:lnTo>
                  <a:lnTo>
                    <a:pt x="1042" y="527"/>
                  </a:lnTo>
                  <a:lnTo>
                    <a:pt x="1021" y="494"/>
                  </a:lnTo>
                  <a:lnTo>
                    <a:pt x="983" y="489"/>
                  </a:lnTo>
                  <a:lnTo>
                    <a:pt x="983" y="478"/>
                  </a:lnTo>
                  <a:lnTo>
                    <a:pt x="1004" y="478"/>
                  </a:lnTo>
                  <a:lnTo>
                    <a:pt x="971" y="461"/>
                  </a:lnTo>
                  <a:lnTo>
                    <a:pt x="966" y="444"/>
                  </a:lnTo>
                  <a:lnTo>
                    <a:pt x="983" y="440"/>
                  </a:lnTo>
                  <a:lnTo>
                    <a:pt x="971" y="423"/>
                  </a:lnTo>
                  <a:lnTo>
                    <a:pt x="966" y="407"/>
                  </a:lnTo>
                  <a:lnTo>
                    <a:pt x="954" y="407"/>
                  </a:lnTo>
                  <a:lnTo>
                    <a:pt x="954" y="383"/>
                  </a:lnTo>
                  <a:lnTo>
                    <a:pt x="954" y="366"/>
                  </a:lnTo>
                  <a:lnTo>
                    <a:pt x="966" y="362"/>
                  </a:lnTo>
                  <a:lnTo>
                    <a:pt x="966" y="345"/>
                  </a:lnTo>
                  <a:lnTo>
                    <a:pt x="983" y="329"/>
                  </a:lnTo>
                  <a:lnTo>
                    <a:pt x="966" y="345"/>
                  </a:lnTo>
                  <a:lnTo>
                    <a:pt x="971" y="317"/>
                  </a:lnTo>
                  <a:lnTo>
                    <a:pt x="983" y="307"/>
                  </a:lnTo>
                  <a:lnTo>
                    <a:pt x="987" y="291"/>
                  </a:lnTo>
                  <a:lnTo>
                    <a:pt x="1009" y="279"/>
                  </a:lnTo>
                  <a:lnTo>
                    <a:pt x="1009" y="279"/>
                  </a:lnTo>
                  <a:lnTo>
                    <a:pt x="1009" y="279"/>
                  </a:lnTo>
                  <a:close/>
                  <a:moveTo>
                    <a:pt x="895" y="152"/>
                  </a:moveTo>
                  <a:lnTo>
                    <a:pt x="895" y="140"/>
                  </a:lnTo>
                  <a:lnTo>
                    <a:pt x="912" y="128"/>
                  </a:lnTo>
                  <a:lnTo>
                    <a:pt x="917" y="140"/>
                  </a:lnTo>
                  <a:lnTo>
                    <a:pt x="917" y="163"/>
                  </a:lnTo>
                  <a:lnTo>
                    <a:pt x="900" y="163"/>
                  </a:lnTo>
                  <a:lnTo>
                    <a:pt x="912" y="152"/>
                  </a:lnTo>
                  <a:lnTo>
                    <a:pt x="895" y="152"/>
                  </a:lnTo>
                  <a:lnTo>
                    <a:pt x="895" y="152"/>
                  </a:lnTo>
                  <a:lnTo>
                    <a:pt x="895" y="152"/>
                  </a:lnTo>
                  <a:close/>
                  <a:moveTo>
                    <a:pt x="1576" y="128"/>
                  </a:moveTo>
                  <a:lnTo>
                    <a:pt x="1592" y="128"/>
                  </a:lnTo>
                  <a:lnTo>
                    <a:pt x="1592" y="140"/>
                  </a:lnTo>
                  <a:lnTo>
                    <a:pt x="1576" y="128"/>
                  </a:lnTo>
                  <a:lnTo>
                    <a:pt x="1576" y="128"/>
                  </a:lnTo>
                  <a:lnTo>
                    <a:pt x="1576" y="128"/>
                  </a:lnTo>
                  <a:close/>
                  <a:moveTo>
                    <a:pt x="1566" y="128"/>
                  </a:moveTo>
                  <a:lnTo>
                    <a:pt x="1576" y="140"/>
                  </a:lnTo>
                  <a:lnTo>
                    <a:pt x="1566" y="140"/>
                  </a:lnTo>
                  <a:lnTo>
                    <a:pt x="1566" y="128"/>
                  </a:lnTo>
                  <a:lnTo>
                    <a:pt x="1566" y="128"/>
                  </a:lnTo>
                  <a:lnTo>
                    <a:pt x="1566" y="128"/>
                  </a:lnTo>
                  <a:close/>
                  <a:moveTo>
                    <a:pt x="2209" y="152"/>
                  </a:moveTo>
                  <a:lnTo>
                    <a:pt x="2197" y="140"/>
                  </a:lnTo>
                  <a:lnTo>
                    <a:pt x="2209" y="147"/>
                  </a:lnTo>
                  <a:lnTo>
                    <a:pt x="2209" y="152"/>
                  </a:lnTo>
                  <a:lnTo>
                    <a:pt x="2209" y="152"/>
                  </a:lnTo>
                  <a:lnTo>
                    <a:pt x="2209" y="152"/>
                  </a:lnTo>
                  <a:close/>
                  <a:moveTo>
                    <a:pt x="2143" y="185"/>
                  </a:moveTo>
                  <a:lnTo>
                    <a:pt x="2133" y="163"/>
                  </a:lnTo>
                  <a:lnTo>
                    <a:pt x="2143" y="163"/>
                  </a:lnTo>
                  <a:lnTo>
                    <a:pt x="2154" y="180"/>
                  </a:lnTo>
                  <a:lnTo>
                    <a:pt x="2143" y="185"/>
                  </a:lnTo>
                  <a:lnTo>
                    <a:pt x="2143" y="185"/>
                  </a:lnTo>
                  <a:lnTo>
                    <a:pt x="2143" y="185"/>
                  </a:lnTo>
                  <a:close/>
                  <a:moveTo>
                    <a:pt x="1545" y="168"/>
                  </a:moveTo>
                  <a:lnTo>
                    <a:pt x="1559" y="180"/>
                  </a:lnTo>
                  <a:lnTo>
                    <a:pt x="1545" y="180"/>
                  </a:lnTo>
                  <a:lnTo>
                    <a:pt x="1545" y="168"/>
                  </a:lnTo>
                  <a:lnTo>
                    <a:pt x="1545" y="168"/>
                  </a:lnTo>
                  <a:lnTo>
                    <a:pt x="1545" y="168"/>
                  </a:lnTo>
                  <a:close/>
                  <a:moveTo>
                    <a:pt x="1566" y="180"/>
                  </a:moveTo>
                  <a:lnTo>
                    <a:pt x="1576" y="185"/>
                  </a:lnTo>
                  <a:lnTo>
                    <a:pt x="1566" y="196"/>
                  </a:lnTo>
                  <a:lnTo>
                    <a:pt x="1566" y="180"/>
                  </a:lnTo>
                  <a:lnTo>
                    <a:pt x="1566" y="180"/>
                  </a:lnTo>
                  <a:lnTo>
                    <a:pt x="1566" y="180"/>
                  </a:lnTo>
                  <a:close/>
                  <a:moveTo>
                    <a:pt x="773" y="196"/>
                  </a:moveTo>
                  <a:lnTo>
                    <a:pt x="773" y="185"/>
                  </a:lnTo>
                  <a:lnTo>
                    <a:pt x="773" y="196"/>
                  </a:lnTo>
                  <a:lnTo>
                    <a:pt x="773" y="196"/>
                  </a:lnTo>
                  <a:lnTo>
                    <a:pt x="773" y="196"/>
                  </a:lnTo>
                  <a:close/>
                  <a:moveTo>
                    <a:pt x="1559" y="185"/>
                  </a:moveTo>
                  <a:lnTo>
                    <a:pt x="1559" y="196"/>
                  </a:lnTo>
                  <a:lnTo>
                    <a:pt x="1559" y="185"/>
                  </a:lnTo>
                  <a:lnTo>
                    <a:pt x="1559" y="185"/>
                  </a:lnTo>
                  <a:lnTo>
                    <a:pt x="1559" y="185"/>
                  </a:lnTo>
                  <a:close/>
                  <a:moveTo>
                    <a:pt x="773" y="201"/>
                  </a:moveTo>
                  <a:lnTo>
                    <a:pt x="773" y="196"/>
                  </a:lnTo>
                  <a:lnTo>
                    <a:pt x="773" y="201"/>
                  </a:lnTo>
                  <a:lnTo>
                    <a:pt x="773" y="201"/>
                  </a:lnTo>
                  <a:lnTo>
                    <a:pt x="773" y="201"/>
                  </a:lnTo>
                  <a:close/>
                  <a:moveTo>
                    <a:pt x="735" y="222"/>
                  </a:moveTo>
                  <a:lnTo>
                    <a:pt x="735" y="206"/>
                  </a:lnTo>
                  <a:lnTo>
                    <a:pt x="739" y="218"/>
                  </a:lnTo>
                  <a:lnTo>
                    <a:pt x="735" y="222"/>
                  </a:lnTo>
                  <a:lnTo>
                    <a:pt x="735" y="222"/>
                  </a:lnTo>
                  <a:lnTo>
                    <a:pt x="735" y="222"/>
                  </a:lnTo>
                  <a:close/>
                  <a:moveTo>
                    <a:pt x="950" y="218"/>
                  </a:moveTo>
                  <a:lnTo>
                    <a:pt x="954" y="206"/>
                  </a:lnTo>
                  <a:lnTo>
                    <a:pt x="954" y="218"/>
                  </a:lnTo>
                  <a:lnTo>
                    <a:pt x="950" y="218"/>
                  </a:lnTo>
                  <a:lnTo>
                    <a:pt x="950" y="218"/>
                  </a:lnTo>
                  <a:lnTo>
                    <a:pt x="950" y="218"/>
                  </a:lnTo>
                  <a:close/>
                  <a:moveTo>
                    <a:pt x="85" y="255"/>
                  </a:moveTo>
                  <a:lnTo>
                    <a:pt x="76" y="255"/>
                  </a:lnTo>
                  <a:lnTo>
                    <a:pt x="52" y="239"/>
                  </a:lnTo>
                  <a:lnTo>
                    <a:pt x="38" y="234"/>
                  </a:lnTo>
                  <a:lnTo>
                    <a:pt x="31" y="222"/>
                  </a:lnTo>
                  <a:lnTo>
                    <a:pt x="38" y="218"/>
                  </a:lnTo>
                  <a:lnTo>
                    <a:pt x="47" y="218"/>
                  </a:lnTo>
                  <a:lnTo>
                    <a:pt x="85" y="251"/>
                  </a:lnTo>
                  <a:lnTo>
                    <a:pt x="85" y="255"/>
                  </a:lnTo>
                  <a:lnTo>
                    <a:pt x="85" y="255"/>
                  </a:lnTo>
                  <a:lnTo>
                    <a:pt x="85" y="255"/>
                  </a:lnTo>
                  <a:close/>
                  <a:moveTo>
                    <a:pt x="2117" y="234"/>
                  </a:moveTo>
                  <a:lnTo>
                    <a:pt x="2117" y="239"/>
                  </a:lnTo>
                  <a:lnTo>
                    <a:pt x="2117" y="222"/>
                  </a:lnTo>
                  <a:lnTo>
                    <a:pt x="2117" y="234"/>
                  </a:lnTo>
                  <a:lnTo>
                    <a:pt x="2117" y="234"/>
                  </a:lnTo>
                  <a:lnTo>
                    <a:pt x="2117" y="234"/>
                  </a:lnTo>
                  <a:close/>
                  <a:moveTo>
                    <a:pt x="2317" y="279"/>
                  </a:moveTo>
                  <a:lnTo>
                    <a:pt x="2317" y="263"/>
                  </a:lnTo>
                  <a:lnTo>
                    <a:pt x="2332" y="239"/>
                  </a:lnTo>
                  <a:lnTo>
                    <a:pt x="2339" y="239"/>
                  </a:lnTo>
                  <a:lnTo>
                    <a:pt x="2348" y="251"/>
                  </a:lnTo>
                  <a:lnTo>
                    <a:pt x="2339" y="263"/>
                  </a:lnTo>
                  <a:lnTo>
                    <a:pt x="2332" y="279"/>
                  </a:lnTo>
                  <a:lnTo>
                    <a:pt x="2317" y="279"/>
                  </a:lnTo>
                  <a:lnTo>
                    <a:pt x="2317" y="279"/>
                  </a:lnTo>
                  <a:lnTo>
                    <a:pt x="2317" y="279"/>
                  </a:lnTo>
                  <a:close/>
                  <a:moveTo>
                    <a:pt x="144" y="279"/>
                  </a:moveTo>
                  <a:lnTo>
                    <a:pt x="128" y="263"/>
                  </a:lnTo>
                  <a:lnTo>
                    <a:pt x="139" y="263"/>
                  </a:lnTo>
                  <a:lnTo>
                    <a:pt x="144" y="279"/>
                  </a:lnTo>
                  <a:lnTo>
                    <a:pt x="144" y="279"/>
                  </a:lnTo>
                  <a:lnTo>
                    <a:pt x="144" y="279"/>
                  </a:lnTo>
                  <a:close/>
                  <a:moveTo>
                    <a:pt x="2284" y="366"/>
                  </a:moveTo>
                  <a:lnTo>
                    <a:pt x="2294" y="366"/>
                  </a:lnTo>
                  <a:lnTo>
                    <a:pt x="2294" y="350"/>
                  </a:lnTo>
                  <a:lnTo>
                    <a:pt x="2306" y="345"/>
                  </a:lnTo>
                  <a:lnTo>
                    <a:pt x="2306" y="329"/>
                  </a:lnTo>
                  <a:lnTo>
                    <a:pt x="2332" y="317"/>
                  </a:lnTo>
                  <a:lnTo>
                    <a:pt x="2348" y="312"/>
                  </a:lnTo>
                  <a:lnTo>
                    <a:pt x="2348" y="350"/>
                  </a:lnTo>
                  <a:lnTo>
                    <a:pt x="2317" y="366"/>
                  </a:lnTo>
                  <a:lnTo>
                    <a:pt x="2322" y="383"/>
                  </a:lnTo>
                  <a:lnTo>
                    <a:pt x="2348" y="390"/>
                  </a:lnTo>
                  <a:lnTo>
                    <a:pt x="2348" y="400"/>
                  </a:lnTo>
                  <a:lnTo>
                    <a:pt x="2360" y="418"/>
                  </a:lnTo>
                  <a:lnTo>
                    <a:pt x="2301" y="390"/>
                  </a:lnTo>
                  <a:lnTo>
                    <a:pt x="2294" y="400"/>
                  </a:lnTo>
                  <a:lnTo>
                    <a:pt x="2294" y="407"/>
                  </a:lnTo>
                  <a:lnTo>
                    <a:pt x="2294" y="435"/>
                  </a:lnTo>
                  <a:lnTo>
                    <a:pt x="2301" y="456"/>
                  </a:lnTo>
                  <a:lnTo>
                    <a:pt x="2322" y="494"/>
                  </a:lnTo>
                  <a:lnTo>
                    <a:pt x="2301" y="478"/>
                  </a:lnTo>
                  <a:lnTo>
                    <a:pt x="2284" y="456"/>
                  </a:lnTo>
                  <a:lnTo>
                    <a:pt x="2280" y="444"/>
                  </a:lnTo>
                  <a:lnTo>
                    <a:pt x="2280" y="418"/>
                  </a:lnTo>
                  <a:lnTo>
                    <a:pt x="2263" y="383"/>
                  </a:lnTo>
                  <a:lnTo>
                    <a:pt x="2268" y="366"/>
                  </a:lnTo>
                  <a:lnTo>
                    <a:pt x="2263" y="366"/>
                  </a:lnTo>
                  <a:lnTo>
                    <a:pt x="2263" y="350"/>
                  </a:lnTo>
                  <a:lnTo>
                    <a:pt x="2251" y="350"/>
                  </a:lnTo>
                  <a:lnTo>
                    <a:pt x="2268" y="307"/>
                  </a:lnTo>
                  <a:lnTo>
                    <a:pt x="2294" y="272"/>
                  </a:lnTo>
                  <a:lnTo>
                    <a:pt x="2301" y="272"/>
                  </a:lnTo>
                  <a:lnTo>
                    <a:pt x="2284" y="291"/>
                  </a:lnTo>
                  <a:lnTo>
                    <a:pt x="2301" y="307"/>
                  </a:lnTo>
                  <a:lnTo>
                    <a:pt x="2301" y="329"/>
                  </a:lnTo>
                  <a:lnTo>
                    <a:pt x="2268" y="362"/>
                  </a:lnTo>
                  <a:lnTo>
                    <a:pt x="2284" y="366"/>
                  </a:lnTo>
                  <a:lnTo>
                    <a:pt x="2284" y="366"/>
                  </a:lnTo>
                  <a:lnTo>
                    <a:pt x="2284" y="366"/>
                  </a:lnTo>
                  <a:close/>
                  <a:moveTo>
                    <a:pt x="454" y="291"/>
                  </a:moveTo>
                  <a:lnTo>
                    <a:pt x="447" y="307"/>
                  </a:lnTo>
                  <a:lnTo>
                    <a:pt x="430" y="307"/>
                  </a:lnTo>
                  <a:lnTo>
                    <a:pt x="430" y="291"/>
                  </a:lnTo>
                  <a:lnTo>
                    <a:pt x="430" y="279"/>
                  </a:lnTo>
                  <a:lnTo>
                    <a:pt x="447" y="272"/>
                  </a:lnTo>
                  <a:lnTo>
                    <a:pt x="454" y="291"/>
                  </a:lnTo>
                  <a:lnTo>
                    <a:pt x="454" y="291"/>
                  </a:lnTo>
                  <a:lnTo>
                    <a:pt x="454" y="291"/>
                  </a:lnTo>
                  <a:close/>
                  <a:moveTo>
                    <a:pt x="1873" y="778"/>
                  </a:moveTo>
                  <a:lnTo>
                    <a:pt x="1852" y="778"/>
                  </a:lnTo>
                  <a:lnTo>
                    <a:pt x="1835" y="766"/>
                  </a:lnTo>
                  <a:lnTo>
                    <a:pt x="1852" y="723"/>
                  </a:lnTo>
                  <a:lnTo>
                    <a:pt x="1831" y="716"/>
                  </a:lnTo>
                  <a:lnTo>
                    <a:pt x="1798" y="683"/>
                  </a:lnTo>
                  <a:lnTo>
                    <a:pt x="1798" y="666"/>
                  </a:lnTo>
                  <a:lnTo>
                    <a:pt x="1814" y="662"/>
                  </a:lnTo>
                  <a:lnTo>
                    <a:pt x="1814" y="629"/>
                  </a:lnTo>
                  <a:lnTo>
                    <a:pt x="1809" y="622"/>
                  </a:lnTo>
                  <a:lnTo>
                    <a:pt x="1793" y="612"/>
                  </a:lnTo>
                  <a:lnTo>
                    <a:pt x="1755" y="645"/>
                  </a:lnTo>
                  <a:lnTo>
                    <a:pt x="1765" y="662"/>
                  </a:lnTo>
                  <a:lnTo>
                    <a:pt x="1765" y="695"/>
                  </a:lnTo>
                  <a:lnTo>
                    <a:pt x="1760" y="723"/>
                  </a:lnTo>
                  <a:lnTo>
                    <a:pt x="1765" y="766"/>
                  </a:lnTo>
                  <a:lnTo>
                    <a:pt x="1755" y="794"/>
                  </a:lnTo>
                  <a:lnTo>
                    <a:pt x="1765" y="834"/>
                  </a:lnTo>
                  <a:lnTo>
                    <a:pt x="1760" y="827"/>
                  </a:lnTo>
                  <a:lnTo>
                    <a:pt x="1743" y="834"/>
                  </a:lnTo>
                  <a:lnTo>
                    <a:pt x="1727" y="827"/>
                  </a:lnTo>
                  <a:lnTo>
                    <a:pt x="1722" y="844"/>
                  </a:lnTo>
                  <a:lnTo>
                    <a:pt x="1710" y="844"/>
                  </a:lnTo>
                  <a:lnTo>
                    <a:pt x="1689" y="822"/>
                  </a:lnTo>
                  <a:lnTo>
                    <a:pt x="1706" y="740"/>
                  </a:lnTo>
                  <a:lnTo>
                    <a:pt x="1706" y="716"/>
                  </a:lnTo>
                  <a:lnTo>
                    <a:pt x="1701" y="695"/>
                  </a:lnTo>
                  <a:lnTo>
                    <a:pt x="1706" y="683"/>
                  </a:lnTo>
                  <a:lnTo>
                    <a:pt x="1689" y="678"/>
                  </a:lnTo>
                  <a:lnTo>
                    <a:pt x="1658" y="683"/>
                  </a:lnTo>
                  <a:lnTo>
                    <a:pt x="1651" y="666"/>
                  </a:lnTo>
                  <a:lnTo>
                    <a:pt x="1658" y="638"/>
                  </a:lnTo>
                  <a:lnTo>
                    <a:pt x="1651" y="638"/>
                  </a:lnTo>
                  <a:lnTo>
                    <a:pt x="1651" y="629"/>
                  </a:lnTo>
                  <a:lnTo>
                    <a:pt x="1651" y="612"/>
                  </a:lnTo>
                  <a:lnTo>
                    <a:pt x="1658" y="622"/>
                  </a:lnTo>
                  <a:lnTo>
                    <a:pt x="1672" y="605"/>
                  </a:lnTo>
                  <a:lnTo>
                    <a:pt x="1684" y="572"/>
                  </a:lnTo>
                  <a:lnTo>
                    <a:pt x="1689" y="567"/>
                  </a:lnTo>
                  <a:lnTo>
                    <a:pt x="1689" y="518"/>
                  </a:lnTo>
                  <a:lnTo>
                    <a:pt x="1706" y="494"/>
                  </a:lnTo>
                  <a:lnTo>
                    <a:pt x="1710" y="478"/>
                  </a:lnTo>
                  <a:lnTo>
                    <a:pt x="1727" y="489"/>
                  </a:lnTo>
                  <a:lnTo>
                    <a:pt x="1722" y="461"/>
                  </a:lnTo>
                  <a:lnTo>
                    <a:pt x="1722" y="440"/>
                  </a:lnTo>
                  <a:lnTo>
                    <a:pt x="1710" y="440"/>
                  </a:lnTo>
                  <a:lnTo>
                    <a:pt x="1706" y="435"/>
                  </a:lnTo>
                  <a:lnTo>
                    <a:pt x="1722" y="440"/>
                  </a:lnTo>
                  <a:lnTo>
                    <a:pt x="1727" y="423"/>
                  </a:lnTo>
                  <a:lnTo>
                    <a:pt x="1722" y="418"/>
                  </a:lnTo>
                  <a:lnTo>
                    <a:pt x="1727" y="390"/>
                  </a:lnTo>
                  <a:lnTo>
                    <a:pt x="1739" y="390"/>
                  </a:lnTo>
                  <a:lnTo>
                    <a:pt x="1739" y="378"/>
                  </a:lnTo>
                  <a:lnTo>
                    <a:pt x="1755" y="366"/>
                  </a:lnTo>
                  <a:lnTo>
                    <a:pt x="1760" y="362"/>
                  </a:lnTo>
                  <a:lnTo>
                    <a:pt x="1760" y="366"/>
                  </a:lnTo>
                  <a:lnTo>
                    <a:pt x="1776" y="378"/>
                  </a:lnTo>
                  <a:lnTo>
                    <a:pt x="1793" y="350"/>
                  </a:lnTo>
                  <a:lnTo>
                    <a:pt x="1793" y="333"/>
                  </a:lnTo>
                  <a:lnTo>
                    <a:pt x="1835" y="333"/>
                  </a:lnTo>
                  <a:lnTo>
                    <a:pt x="1847" y="350"/>
                  </a:lnTo>
                  <a:lnTo>
                    <a:pt x="1869" y="350"/>
                  </a:lnTo>
                  <a:lnTo>
                    <a:pt x="1873" y="350"/>
                  </a:lnTo>
                  <a:lnTo>
                    <a:pt x="1906" y="362"/>
                  </a:lnTo>
                  <a:lnTo>
                    <a:pt x="1939" y="366"/>
                  </a:lnTo>
                  <a:lnTo>
                    <a:pt x="1944" y="362"/>
                  </a:lnTo>
                  <a:lnTo>
                    <a:pt x="1961" y="362"/>
                  </a:lnTo>
                  <a:lnTo>
                    <a:pt x="2015" y="366"/>
                  </a:lnTo>
                  <a:lnTo>
                    <a:pt x="2036" y="350"/>
                  </a:lnTo>
                  <a:lnTo>
                    <a:pt x="2046" y="345"/>
                  </a:lnTo>
                  <a:lnTo>
                    <a:pt x="2062" y="345"/>
                  </a:lnTo>
                  <a:lnTo>
                    <a:pt x="2053" y="329"/>
                  </a:lnTo>
                  <a:lnTo>
                    <a:pt x="2079" y="317"/>
                  </a:lnTo>
                  <a:lnTo>
                    <a:pt x="2079" y="312"/>
                  </a:lnTo>
                  <a:lnTo>
                    <a:pt x="2084" y="307"/>
                  </a:lnTo>
                  <a:lnTo>
                    <a:pt x="2100" y="307"/>
                  </a:lnTo>
                  <a:lnTo>
                    <a:pt x="2105" y="317"/>
                  </a:lnTo>
                  <a:lnTo>
                    <a:pt x="2091" y="329"/>
                  </a:lnTo>
                  <a:lnTo>
                    <a:pt x="2079" y="362"/>
                  </a:lnTo>
                  <a:lnTo>
                    <a:pt x="2036" y="400"/>
                  </a:lnTo>
                  <a:lnTo>
                    <a:pt x="1991" y="407"/>
                  </a:lnTo>
                  <a:lnTo>
                    <a:pt x="1970" y="407"/>
                  </a:lnTo>
                  <a:lnTo>
                    <a:pt x="1954" y="390"/>
                  </a:lnTo>
                  <a:lnTo>
                    <a:pt x="1864" y="400"/>
                  </a:lnTo>
                  <a:lnTo>
                    <a:pt x="1847" y="390"/>
                  </a:lnTo>
                  <a:lnTo>
                    <a:pt x="1814" y="400"/>
                  </a:lnTo>
                  <a:lnTo>
                    <a:pt x="1776" y="390"/>
                  </a:lnTo>
                  <a:lnTo>
                    <a:pt x="1760" y="390"/>
                  </a:lnTo>
                  <a:lnTo>
                    <a:pt x="1743" y="418"/>
                  </a:lnTo>
                  <a:lnTo>
                    <a:pt x="1739" y="440"/>
                  </a:lnTo>
                  <a:lnTo>
                    <a:pt x="1743" y="473"/>
                  </a:lnTo>
                  <a:lnTo>
                    <a:pt x="1755" y="494"/>
                  </a:lnTo>
                  <a:lnTo>
                    <a:pt x="1776" y="501"/>
                  </a:lnTo>
                  <a:lnTo>
                    <a:pt x="1781" y="527"/>
                  </a:lnTo>
                  <a:lnTo>
                    <a:pt x="1793" y="527"/>
                  </a:lnTo>
                  <a:lnTo>
                    <a:pt x="1814" y="534"/>
                  </a:lnTo>
                  <a:lnTo>
                    <a:pt x="1835" y="494"/>
                  </a:lnTo>
                  <a:lnTo>
                    <a:pt x="1852" y="489"/>
                  </a:lnTo>
                  <a:lnTo>
                    <a:pt x="1852" y="494"/>
                  </a:lnTo>
                  <a:lnTo>
                    <a:pt x="1869" y="494"/>
                  </a:lnTo>
                  <a:lnTo>
                    <a:pt x="1885" y="494"/>
                  </a:lnTo>
                  <a:lnTo>
                    <a:pt x="1890" y="489"/>
                  </a:lnTo>
                  <a:lnTo>
                    <a:pt x="1939" y="489"/>
                  </a:lnTo>
                  <a:lnTo>
                    <a:pt x="1944" y="478"/>
                  </a:lnTo>
                  <a:lnTo>
                    <a:pt x="1928" y="478"/>
                  </a:lnTo>
                  <a:lnTo>
                    <a:pt x="1954" y="473"/>
                  </a:lnTo>
                  <a:lnTo>
                    <a:pt x="1970" y="473"/>
                  </a:lnTo>
                  <a:lnTo>
                    <a:pt x="1977" y="489"/>
                  </a:lnTo>
                  <a:lnTo>
                    <a:pt x="1970" y="501"/>
                  </a:lnTo>
                  <a:lnTo>
                    <a:pt x="1961" y="494"/>
                  </a:lnTo>
                  <a:lnTo>
                    <a:pt x="1939" y="494"/>
                  </a:lnTo>
                  <a:lnTo>
                    <a:pt x="1906" y="534"/>
                  </a:lnTo>
                  <a:lnTo>
                    <a:pt x="1869" y="551"/>
                  </a:lnTo>
                  <a:lnTo>
                    <a:pt x="1852" y="567"/>
                  </a:lnTo>
                  <a:lnTo>
                    <a:pt x="1831" y="555"/>
                  </a:lnTo>
                  <a:lnTo>
                    <a:pt x="1831" y="572"/>
                  </a:lnTo>
                  <a:lnTo>
                    <a:pt x="1835" y="572"/>
                  </a:lnTo>
                  <a:lnTo>
                    <a:pt x="1847" y="584"/>
                  </a:lnTo>
                  <a:lnTo>
                    <a:pt x="1869" y="600"/>
                  </a:lnTo>
                  <a:lnTo>
                    <a:pt x="1873" y="622"/>
                  </a:lnTo>
                  <a:lnTo>
                    <a:pt x="1902" y="638"/>
                  </a:lnTo>
                  <a:lnTo>
                    <a:pt x="1902" y="645"/>
                  </a:lnTo>
                  <a:lnTo>
                    <a:pt x="1906" y="655"/>
                  </a:lnTo>
                  <a:lnTo>
                    <a:pt x="1890" y="666"/>
                  </a:lnTo>
                  <a:lnTo>
                    <a:pt x="1890" y="695"/>
                  </a:lnTo>
                  <a:lnTo>
                    <a:pt x="1923" y="711"/>
                  </a:lnTo>
                  <a:lnTo>
                    <a:pt x="1923" y="723"/>
                  </a:lnTo>
                  <a:lnTo>
                    <a:pt x="1939" y="723"/>
                  </a:lnTo>
                  <a:lnTo>
                    <a:pt x="1928" y="716"/>
                  </a:lnTo>
                  <a:lnTo>
                    <a:pt x="1939" y="733"/>
                  </a:lnTo>
                  <a:lnTo>
                    <a:pt x="1939" y="749"/>
                  </a:lnTo>
                  <a:lnTo>
                    <a:pt x="1928" y="749"/>
                  </a:lnTo>
                  <a:lnTo>
                    <a:pt x="1916" y="749"/>
                  </a:lnTo>
                  <a:lnTo>
                    <a:pt x="1885" y="756"/>
                  </a:lnTo>
                  <a:lnTo>
                    <a:pt x="1873" y="766"/>
                  </a:lnTo>
                  <a:lnTo>
                    <a:pt x="1885" y="773"/>
                  </a:lnTo>
                  <a:lnTo>
                    <a:pt x="1873" y="778"/>
                  </a:lnTo>
                  <a:lnTo>
                    <a:pt x="1873" y="778"/>
                  </a:lnTo>
                  <a:lnTo>
                    <a:pt x="1873" y="778"/>
                  </a:lnTo>
                  <a:close/>
                  <a:moveTo>
                    <a:pt x="508" y="329"/>
                  </a:moveTo>
                  <a:lnTo>
                    <a:pt x="508" y="333"/>
                  </a:lnTo>
                  <a:lnTo>
                    <a:pt x="496" y="329"/>
                  </a:lnTo>
                  <a:lnTo>
                    <a:pt x="480" y="317"/>
                  </a:lnTo>
                  <a:lnTo>
                    <a:pt x="470" y="312"/>
                  </a:lnTo>
                  <a:lnTo>
                    <a:pt x="501" y="317"/>
                  </a:lnTo>
                  <a:lnTo>
                    <a:pt x="508" y="329"/>
                  </a:lnTo>
                  <a:lnTo>
                    <a:pt x="508" y="329"/>
                  </a:lnTo>
                  <a:lnTo>
                    <a:pt x="508" y="329"/>
                  </a:lnTo>
                  <a:close/>
                  <a:moveTo>
                    <a:pt x="2105" y="317"/>
                  </a:moveTo>
                  <a:lnTo>
                    <a:pt x="2105" y="329"/>
                  </a:lnTo>
                  <a:lnTo>
                    <a:pt x="2100" y="329"/>
                  </a:lnTo>
                  <a:lnTo>
                    <a:pt x="2105" y="317"/>
                  </a:lnTo>
                  <a:lnTo>
                    <a:pt x="2105" y="317"/>
                  </a:lnTo>
                  <a:lnTo>
                    <a:pt x="2105" y="317"/>
                  </a:lnTo>
                  <a:close/>
                  <a:moveTo>
                    <a:pt x="177" y="390"/>
                  </a:moveTo>
                  <a:lnTo>
                    <a:pt x="173" y="383"/>
                  </a:lnTo>
                  <a:lnTo>
                    <a:pt x="161" y="366"/>
                  </a:lnTo>
                  <a:lnTo>
                    <a:pt x="128" y="329"/>
                  </a:lnTo>
                  <a:lnTo>
                    <a:pt x="144" y="317"/>
                  </a:lnTo>
                  <a:lnTo>
                    <a:pt x="156" y="317"/>
                  </a:lnTo>
                  <a:lnTo>
                    <a:pt x="173" y="345"/>
                  </a:lnTo>
                  <a:lnTo>
                    <a:pt x="182" y="350"/>
                  </a:lnTo>
                  <a:lnTo>
                    <a:pt x="182" y="383"/>
                  </a:lnTo>
                  <a:lnTo>
                    <a:pt x="177" y="390"/>
                  </a:lnTo>
                  <a:lnTo>
                    <a:pt x="177" y="390"/>
                  </a:lnTo>
                  <a:lnTo>
                    <a:pt x="177" y="390"/>
                  </a:lnTo>
                  <a:close/>
                  <a:moveTo>
                    <a:pt x="508" y="345"/>
                  </a:moveTo>
                  <a:lnTo>
                    <a:pt x="508" y="362"/>
                  </a:lnTo>
                  <a:lnTo>
                    <a:pt x="501" y="362"/>
                  </a:lnTo>
                  <a:lnTo>
                    <a:pt x="484" y="350"/>
                  </a:lnTo>
                  <a:lnTo>
                    <a:pt x="484" y="329"/>
                  </a:lnTo>
                  <a:lnTo>
                    <a:pt x="508" y="345"/>
                  </a:lnTo>
                  <a:lnTo>
                    <a:pt x="508" y="345"/>
                  </a:lnTo>
                  <a:lnTo>
                    <a:pt x="508" y="345"/>
                  </a:lnTo>
                  <a:close/>
                  <a:moveTo>
                    <a:pt x="664" y="350"/>
                  </a:moveTo>
                  <a:lnTo>
                    <a:pt x="659" y="366"/>
                  </a:lnTo>
                  <a:lnTo>
                    <a:pt x="631" y="350"/>
                  </a:lnTo>
                  <a:lnTo>
                    <a:pt x="643" y="345"/>
                  </a:lnTo>
                  <a:lnTo>
                    <a:pt x="664" y="350"/>
                  </a:lnTo>
                  <a:lnTo>
                    <a:pt x="664" y="350"/>
                  </a:lnTo>
                  <a:lnTo>
                    <a:pt x="664" y="350"/>
                  </a:lnTo>
                  <a:close/>
                  <a:moveTo>
                    <a:pt x="626" y="345"/>
                  </a:moveTo>
                  <a:lnTo>
                    <a:pt x="614" y="362"/>
                  </a:lnTo>
                  <a:lnTo>
                    <a:pt x="610" y="350"/>
                  </a:lnTo>
                  <a:lnTo>
                    <a:pt x="614" y="345"/>
                  </a:lnTo>
                  <a:lnTo>
                    <a:pt x="626" y="345"/>
                  </a:lnTo>
                  <a:lnTo>
                    <a:pt x="626" y="345"/>
                  </a:lnTo>
                  <a:lnTo>
                    <a:pt x="626" y="345"/>
                  </a:lnTo>
                  <a:close/>
                  <a:moveTo>
                    <a:pt x="550" y="366"/>
                  </a:moveTo>
                  <a:lnTo>
                    <a:pt x="522" y="350"/>
                  </a:lnTo>
                  <a:lnTo>
                    <a:pt x="522" y="345"/>
                  </a:lnTo>
                  <a:lnTo>
                    <a:pt x="550" y="350"/>
                  </a:lnTo>
                  <a:lnTo>
                    <a:pt x="555" y="366"/>
                  </a:lnTo>
                  <a:lnTo>
                    <a:pt x="550" y="366"/>
                  </a:lnTo>
                  <a:lnTo>
                    <a:pt x="550" y="366"/>
                  </a:lnTo>
                  <a:lnTo>
                    <a:pt x="550" y="366"/>
                  </a:lnTo>
                  <a:close/>
                  <a:moveTo>
                    <a:pt x="539" y="378"/>
                  </a:moveTo>
                  <a:lnTo>
                    <a:pt x="534" y="366"/>
                  </a:lnTo>
                  <a:lnTo>
                    <a:pt x="508" y="366"/>
                  </a:lnTo>
                  <a:lnTo>
                    <a:pt x="501" y="366"/>
                  </a:lnTo>
                  <a:lnTo>
                    <a:pt x="508" y="362"/>
                  </a:lnTo>
                  <a:lnTo>
                    <a:pt x="508" y="345"/>
                  </a:lnTo>
                  <a:lnTo>
                    <a:pt x="550" y="366"/>
                  </a:lnTo>
                  <a:lnTo>
                    <a:pt x="539" y="378"/>
                  </a:lnTo>
                  <a:lnTo>
                    <a:pt x="539" y="378"/>
                  </a:lnTo>
                  <a:lnTo>
                    <a:pt x="539" y="378"/>
                  </a:lnTo>
                  <a:close/>
                  <a:moveTo>
                    <a:pt x="572" y="350"/>
                  </a:moveTo>
                  <a:lnTo>
                    <a:pt x="572" y="362"/>
                  </a:lnTo>
                  <a:lnTo>
                    <a:pt x="560" y="345"/>
                  </a:lnTo>
                  <a:lnTo>
                    <a:pt x="572" y="350"/>
                  </a:lnTo>
                  <a:lnTo>
                    <a:pt x="572" y="350"/>
                  </a:lnTo>
                  <a:lnTo>
                    <a:pt x="572" y="350"/>
                  </a:lnTo>
                  <a:close/>
                  <a:moveTo>
                    <a:pt x="610" y="362"/>
                  </a:moveTo>
                  <a:lnTo>
                    <a:pt x="605" y="350"/>
                  </a:lnTo>
                  <a:lnTo>
                    <a:pt x="610" y="362"/>
                  </a:lnTo>
                  <a:lnTo>
                    <a:pt x="610" y="362"/>
                  </a:lnTo>
                  <a:lnTo>
                    <a:pt x="610" y="362"/>
                  </a:lnTo>
                  <a:close/>
                  <a:moveTo>
                    <a:pt x="626" y="366"/>
                  </a:moveTo>
                  <a:lnTo>
                    <a:pt x="614" y="362"/>
                  </a:lnTo>
                  <a:lnTo>
                    <a:pt x="631" y="366"/>
                  </a:lnTo>
                  <a:lnTo>
                    <a:pt x="626" y="366"/>
                  </a:lnTo>
                  <a:lnTo>
                    <a:pt x="626" y="366"/>
                  </a:lnTo>
                  <a:lnTo>
                    <a:pt x="626" y="366"/>
                  </a:lnTo>
                  <a:close/>
                  <a:moveTo>
                    <a:pt x="576" y="378"/>
                  </a:moveTo>
                  <a:lnTo>
                    <a:pt x="572" y="383"/>
                  </a:lnTo>
                  <a:lnTo>
                    <a:pt x="572" y="366"/>
                  </a:lnTo>
                  <a:lnTo>
                    <a:pt x="576" y="378"/>
                  </a:lnTo>
                  <a:lnTo>
                    <a:pt x="576" y="378"/>
                  </a:lnTo>
                  <a:lnTo>
                    <a:pt x="576" y="378"/>
                  </a:lnTo>
                  <a:close/>
                  <a:moveTo>
                    <a:pt x="631" y="378"/>
                  </a:moveTo>
                  <a:lnTo>
                    <a:pt x="626" y="378"/>
                  </a:lnTo>
                  <a:lnTo>
                    <a:pt x="631" y="366"/>
                  </a:lnTo>
                  <a:lnTo>
                    <a:pt x="631" y="378"/>
                  </a:lnTo>
                  <a:lnTo>
                    <a:pt x="631" y="378"/>
                  </a:lnTo>
                  <a:lnTo>
                    <a:pt x="631" y="378"/>
                  </a:lnTo>
                  <a:close/>
                  <a:moveTo>
                    <a:pt x="2263" y="378"/>
                  </a:moveTo>
                  <a:lnTo>
                    <a:pt x="2251" y="383"/>
                  </a:lnTo>
                  <a:lnTo>
                    <a:pt x="2251" y="378"/>
                  </a:lnTo>
                  <a:lnTo>
                    <a:pt x="2263" y="378"/>
                  </a:lnTo>
                  <a:lnTo>
                    <a:pt x="2263" y="378"/>
                  </a:lnTo>
                  <a:lnTo>
                    <a:pt x="2263" y="378"/>
                  </a:lnTo>
                  <a:close/>
                  <a:moveTo>
                    <a:pt x="560" y="383"/>
                  </a:moveTo>
                  <a:lnTo>
                    <a:pt x="555" y="390"/>
                  </a:lnTo>
                  <a:lnTo>
                    <a:pt x="555" y="378"/>
                  </a:lnTo>
                  <a:lnTo>
                    <a:pt x="560" y="383"/>
                  </a:lnTo>
                  <a:lnTo>
                    <a:pt x="560" y="383"/>
                  </a:lnTo>
                  <a:lnTo>
                    <a:pt x="560" y="383"/>
                  </a:lnTo>
                  <a:close/>
                  <a:moveTo>
                    <a:pt x="2251" y="400"/>
                  </a:moveTo>
                  <a:lnTo>
                    <a:pt x="2251" y="407"/>
                  </a:lnTo>
                  <a:lnTo>
                    <a:pt x="2251" y="400"/>
                  </a:lnTo>
                  <a:lnTo>
                    <a:pt x="2251" y="400"/>
                  </a:lnTo>
                  <a:lnTo>
                    <a:pt x="2251" y="400"/>
                  </a:lnTo>
                  <a:close/>
                  <a:moveTo>
                    <a:pt x="248" y="423"/>
                  </a:moveTo>
                  <a:lnTo>
                    <a:pt x="232" y="418"/>
                  </a:lnTo>
                  <a:lnTo>
                    <a:pt x="248" y="418"/>
                  </a:lnTo>
                  <a:lnTo>
                    <a:pt x="248" y="423"/>
                  </a:lnTo>
                  <a:lnTo>
                    <a:pt x="248" y="423"/>
                  </a:lnTo>
                  <a:lnTo>
                    <a:pt x="248" y="423"/>
                  </a:lnTo>
                  <a:close/>
                  <a:moveTo>
                    <a:pt x="2407" y="444"/>
                  </a:moveTo>
                  <a:lnTo>
                    <a:pt x="2386" y="423"/>
                  </a:lnTo>
                  <a:lnTo>
                    <a:pt x="2407" y="440"/>
                  </a:lnTo>
                  <a:lnTo>
                    <a:pt x="2407" y="444"/>
                  </a:lnTo>
                  <a:lnTo>
                    <a:pt x="2407" y="444"/>
                  </a:lnTo>
                  <a:lnTo>
                    <a:pt x="2407" y="444"/>
                  </a:lnTo>
                  <a:close/>
                  <a:moveTo>
                    <a:pt x="680" y="456"/>
                  </a:moveTo>
                  <a:lnTo>
                    <a:pt x="664" y="444"/>
                  </a:lnTo>
                  <a:lnTo>
                    <a:pt x="647" y="444"/>
                  </a:lnTo>
                  <a:lnTo>
                    <a:pt x="643" y="444"/>
                  </a:lnTo>
                  <a:lnTo>
                    <a:pt x="647" y="435"/>
                  </a:lnTo>
                  <a:lnTo>
                    <a:pt x="680" y="440"/>
                  </a:lnTo>
                  <a:lnTo>
                    <a:pt x="680" y="456"/>
                  </a:lnTo>
                  <a:lnTo>
                    <a:pt x="680" y="456"/>
                  </a:lnTo>
                  <a:lnTo>
                    <a:pt x="680" y="456"/>
                  </a:lnTo>
                  <a:close/>
                  <a:moveTo>
                    <a:pt x="232" y="456"/>
                  </a:moveTo>
                  <a:lnTo>
                    <a:pt x="215" y="435"/>
                  </a:lnTo>
                  <a:lnTo>
                    <a:pt x="227" y="435"/>
                  </a:lnTo>
                  <a:lnTo>
                    <a:pt x="232" y="456"/>
                  </a:lnTo>
                  <a:lnTo>
                    <a:pt x="232" y="456"/>
                  </a:lnTo>
                  <a:lnTo>
                    <a:pt x="232" y="456"/>
                  </a:lnTo>
                  <a:close/>
                  <a:moveTo>
                    <a:pt x="2485" y="435"/>
                  </a:moveTo>
                  <a:lnTo>
                    <a:pt x="2516" y="435"/>
                  </a:lnTo>
                  <a:lnTo>
                    <a:pt x="2532" y="440"/>
                  </a:lnTo>
                  <a:lnTo>
                    <a:pt x="2532" y="444"/>
                  </a:lnTo>
                  <a:lnTo>
                    <a:pt x="2523" y="456"/>
                  </a:lnTo>
                  <a:lnTo>
                    <a:pt x="2511" y="456"/>
                  </a:lnTo>
                  <a:lnTo>
                    <a:pt x="2478" y="435"/>
                  </a:lnTo>
                  <a:lnTo>
                    <a:pt x="2499" y="456"/>
                  </a:lnTo>
                  <a:lnTo>
                    <a:pt x="2495" y="461"/>
                  </a:lnTo>
                  <a:lnTo>
                    <a:pt x="2485" y="444"/>
                  </a:lnTo>
                  <a:lnTo>
                    <a:pt x="2478" y="456"/>
                  </a:lnTo>
                  <a:lnTo>
                    <a:pt x="2478" y="444"/>
                  </a:lnTo>
                  <a:lnTo>
                    <a:pt x="2457" y="444"/>
                  </a:lnTo>
                  <a:lnTo>
                    <a:pt x="2469" y="440"/>
                  </a:lnTo>
                  <a:lnTo>
                    <a:pt x="2461" y="440"/>
                  </a:lnTo>
                  <a:lnTo>
                    <a:pt x="2457" y="440"/>
                  </a:lnTo>
                  <a:lnTo>
                    <a:pt x="2485" y="435"/>
                  </a:lnTo>
                  <a:lnTo>
                    <a:pt x="2485" y="435"/>
                  </a:lnTo>
                  <a:lnTo>
                    <a:pt x="2485" y="435"/>
                  </a:lnTo>
                  <a:close/>
                  <a:moveTo>
                    <a:pt x="1890" y="444"/>
                  </a:moveTo>
                  <a:lnTo>
                    <a:pt x="1885" y="444"/>
                  </a:lnTo>
                  <a:lnTo>
                    <a:pt x="1890" y="444"/>
                  </a:lnTo>
                  <a:lnTo>
                    <a:pt x="1890" y="444"/>
                  </a:lnTo>
                  <a:lnTo>
                    <a:pt x="1890" y="444"/>
                  </a:lnTo>
                  <a:close/>
                  <a:moveTo>
                    <a:pt x="593" y="444"/>
                  </a:moveTo>
                  <a:lnTo>
                    <a:pt x="593" y="456"/>
                  </a:lnTo>
                  <a:lnTo>
                    <a:pt x="572" y="456"/>
                  </a:lnTo>
                  <a:lnTo>
                    <a:pt x="576" y="444"/>
                  </a:lnTo>
                  <a:lnTo>
                    <a:pt x="593" y="444"/>
                  </a:lnTo>
                  <a:lnTo>
                    <a:pt x="593" y="444"/>
                  </a:lnTo>
                  <a:lnTo>
                    <a:pt x="593" y="444"/>
                  </a:lnTo>
                  <a:close/>
                  <a:moveTo>
                    <a:pt x="227" y="461"/>
                  </a:moveTo>
                  <a:lnTo>
                    <a:pt x="227" y="473"/>
                  </a:lnTo>
                  <a:lnTo>
                    <a:pt x="215" y="473"/>
                  </a:lnTo>
                  <a:lnTo>
                    <a:pt x="227" y="444"/>
                  </a:lnTo>
                  <a:lnTo>
                    <a:pt x="227" y="461"/>
                  </a:lnTo>
                  <a:lnTo>
                    <a:pt x="227" y="461"/>
                  </a:lnTo>
                  <a:lnTo>
                    <a:pt x="227" y="461"/>
                  </a:lnTo>
                  <a:close/>
                  <a:moveTo>
                    <a:pt x="2246" y="444"/>
                  </a:moveTo>
                  <a:lnTo>
                    <a:pt x="2246" y="461"/>
                  </a:lnTo>
                  <a:lnTo>
                    <a:pt x="2242" y="461"/>
                  </a:lnTo>
                  <a:lnTo>
                    <a:pt x="2242" y="444"/>
                  </a:lnTo>
                  <a:lnTo>
                    <a:pt x="2246" y="444"/>
                  </a:lnTo>
                  <a:lnTo>
                    <a:pt x="2246" y="444"/>
                  </a:lnTo>
                  <a:lnTo>
                    <a:pt x="2246" y="444"/>
                  </a:lnTo>
                  <a:close/>
                  <a:moveTo>
                    <a:pt x="1885" y="456"/>
                  </a:moveTo>
                  <a:lnTo>
                    <a:pt x="1885" y="444"/>
                  </a:lnTo>
                  <a:lnTo>
                    <a:pt x="1885" y="456"/>
                  </a:lnTo>
                  <a:lnTo>
                    <a:pt x="1885" y="456"/>
                  </a:lnTo>
                  <a:lnTo>
                    <a:pt x="1885" y="456"/>
                  </a:lnTo>
                  <a:close/>
                  <a:moveTo>
                    <a:pt x="2263" y="444"/>
                  </a:moveTo>
                  <a:lnTo>
                    <a:pt x="2280" y="461"/>
                  </a:lnTo>
                  <a:lnTo>
                    <a:pt x="2268" y="473"/>
                  </a:lnTo>
                  <a:lnTo>
                    <a:pt x="2280" y="478"/>
                  </a:lnTo>
                  <a:lnTo>
                    <a:pt x="2284" y="478"/>
                  </a:lnTo>
                  <a:lnTo>
                    <a:pt x="2294" y="489"/>
                  </a:lnTo>
                  <a:lnTo>
                    <a:pt x="2284" y="494"/>
                  </a:lnTo>
                  <a:lnTo>
                    <a:pt x="2268" y="489"/>
                  </a:lnTo>
                  <a:lnTo>
                    <a:pt x="2263" y="489"/>
                  </a:lnTo>
                  <a:lnTo>
                    <a:pt x="2246" y="461"/>
                  </a:lnTo>
                  <a:lnTo>
                    <a:pt x="2246" y="456"/>
                  </a:lnTo>
                  <a:lnTo>
                    <a:pt x="2263" y="444"/>
                  </a:lnTo>
                  <a:lnTo>
                    <a:pt x="2263" y="444"/>
                  </a:lnTo>
                  <a:lnTo>
                    <a:pt x="2263" y="444"/>
                  </a:lnTo>
                  <a:close/>
                  <a:moveTo>
                    <a:pt x="1885" y="456"/>
                  </a:moveTo>
                  <a:lnTo>
                    <a:pt x="1869" y="456"/>
                  </a:lnTo>
                  <a:lnTo>
                    <a:pt x="1873" y="444"/>
                  </a:lnTo>
                  <a:lnTo>
                    <a:pt x="1885" y="456"/>
                  </a:lnTo>
                  <a:lnTo>
                    <a:pt x="1885" y="456"/>
                  </a:lnTo>
                  <a:lnTo>
                    <a:pt x="1885" y="456"/>
                  </a:lnTo>
                  <a:close/>
                  <a:moveTo>
                    <a:pt x="647" y="456"/>
                  </a:moveTo>
                  <a:lnTo>
                    <a:pt x="659" y="461"/>
                  </a:lnTo>
                  <a:lnTo>
                    <a:pt x="647" y="473"/>
                  </a:lnTo>
                  <a:lnTo>
                    <a:pt x="631" y="461"/>
                  </a:lnTo>
                  <a:lnTo>
                    <a:pt x="647" y="456"/>
                  </a:lnTo>
                  <a:lnTo>
                    <a:pt x="647" y="456"/>
                  </a:lnTo>
                  <a:lnTo>
                    <a:pt x="647" y="456"/>
                  </a:lnTo>
                  <a:close/>
                  <a:moveTo>
                    <a:pt x="3213" y="612"/>
                  </a:moveTo>
                  <a:lnTo>
                    <a:pt x="3213" y="884"/>
                  </a:lnTo>
                  <a:lnTo>
                    <a:pt x="3203" y="905"/>
                  </a:lnTo>
                  <a:lnTo>
                    <a:pt x="3203" y="922"/>
                  </a:lnTo>
                  <a:lnTo>
                    <a:pt x="3213" y="922"/>
                  </a:lnTo>
                  <a:lnTo>
                    <a:pt x="3213" y="1089"/>
                  </a:lnTo>
                  <a:lnTo>
                    <a:pt x="3142" y="1016"/>
                  </a:lnTo>
                  <a:lnTo>
                    <a:pt x="3149" y="995"/>
                  </a:lnTo>
                  <a:lnTo>
                    <a:pt x="3132" y="1016"/>
                  </a:lnTo>
                  <a:lnTo>
                    <a:pt x="3095" y="1016"/>
                  </a:lnTo>
                  <a:lnTo>
                    <a:pt x="3090" y="1011"/>
                  </a:lnTo>
                  <a:lnTo>
                    <a:pt x="3061" y="1028"/>
                  </a:lnTo>
                  <a:lnTo>
                    <a:pt x="3057" y="1016"/>
                  </a:lnTo>
                  <a:lnTo>
                    <a:pt x="3078" y="978"/>
                  </a:lnTo>
                  <a:lnTo>
                    <a:pt x="3052" y="945"/>
                  </a:lnTo>
                  <a:lnTo>
                    <a:pt x="3073" y="955"/>
                  </a:lnTo>
                  <a:lnTo>
                    <a:pt x="3090" y="945"/>
                  </a:lnTo>
                  <a:lnTo>
                    <a:pt x="3073" y="945"/>
                  </a:lnTo>
                  <a:lnTo>
                    <a:pt x="3057" y="945"/>
                  </a:lnTo>
                  <a:lnTo>
                    <a:pt x="3040" y="933"/>
                  </a:lnTo>
                  <a:lnTo>
                    <a:pt x="3061" y="922"/>
                  </a:lnTo>
                  <a:lnTo>
                    <a:pt x="3078" y="933"/>
                  </a:lnTo>
                  <a:lnTo>
                    <a:pt x="3052" y="917"/>
                  </a:lnTo>
                  <a:lnTo>
                    <a:pt x="3052" y="905"/>
                  </a:lnTo>
                  <a:lnTo>
                    <a:pt x="3024" y="884"/>
                  </a:lnTo>
                  <a:lnTo>
                    <a:pt x="3019" y="851"/>
                  </a:lnTo>
                  <a:lnTo>
                    <a:pt x="3007" y="844"/>
                  </a:lnTo>
                  <a:lnTo>
                    <a:pt x="3024" y="834"/>
                  </a:lnTo>
                  <a:lnTo>
                    <a:pt x="3002" y="844"/>
                  </a:lnTo>
                  <a:lnTo>
                    <a:pt x="3002" y="822"/>
                  </a:lnTo>
                  <a:lnTo>
                    <a:pt x="2998" y="822"/>
                  </a:lnTo>
                  <a:lnTo>
                    <a:pt x="2948" y="789"/>
                  </a:lnTo>
                  <a:lnTo>
                    <a:pt x="2915" y="778"/>
                  </a:lnTo>
                  <a:lnTo>
                    <a:pt x="2856" y="756"/>
                  </a:lnTo>
                  <a:lnTo>
                    <a:pt x="2802" y="749"/>
                  </a:lnTo>
                  <a:lnTo>
                    <a:pt x="2764" y="723"/>
                  </a:lnTo>
                  <a:lnTo>
                    <a:pt x="2771" y="711"/>
                  </a:lnTo>
                  <a:lnTo>
                    <a:pt x="2787" y="711"/>
                  </a:lnTo>
                  <a:lnTo>
                    <a:pt x="2764" y="711"/>
                  </a:lnTo>
                  <a:lnTo>
                    <a:pt x="2754" y="716"/>
                  </a:lnTo>
                  <a:lnTo>
                    <a:pt x="2750" y="711"/>
                  </a:lnTo>
                  <a:lnTo>
                    <a:pt x="2738" y="716"/>
                  </a:lnTo>
                  <a:lnTo>
                    <a:pt x="2733" y="716"/>
                  </a:lnTo>
                  <a:lnTo>
                    <a:pt x="2733" y="700"/>
                  </a:lnTo>
                  <a:lnTo>
                    <a:pt x="2717" y="700"/>
                  </a:lnTo>
                  <a:lnTo>
                    <a:pt x="2712" y="683"/>
                  </a:lnTo>
                  <a:lnTo>
                    <a:pt x="2700" y="695"/>
                  </a:lnTo>
                  <a:lnTo>
                    <a:pt x="2695" y="678"/>
                  </a:lnTo>
                  <a:lnTo>
                    <a:pt x="2700" y="662"/>
                  </a:lnTo>
                  <a:lnTo>
                    <a:pt x="2712" y="655"/>
                  </a:lnTo>
                  <a:lnTo>
                    <a:pt x="2712" y="645"/>
                  </a:lnTo>
                  <a:lnTo>
                    <a:pt x="2695" y="655"/>
                  </a:lnTo>
                  <a:lnTo>
                    <a:pt x="2695" y="678"/>
                  </a:lnTo>
                  <a:lnTo>
                    <a:pt x="2683" y="678"/>
                  </a:lnTo>
                  <a:lnTo>
                    <a:pt x="2683" y="683"/>
                  </a:lnTo>
                  <a:lnTo>
                    <a:pt x="2679" y="700"/>
                  </a:lnTo>
                  <a:lnTo>
                    <a:pt x="2679" y="711"/>
                  </a:lnTo>
                  <a:lnTo>
                    <a:pt x="2662" y="723"/>
                  </a:lnTo>
                  <a:lnTo>
                    <a:pt x="2641" y="723"/>
                  </a:lnTo>
                  <a:lnTo>
                    <a:pt x="2629" y="695"/>
                  </a:lnTo>
                  <a:lnTo>
                    <a:pt x="2641" y="683"/>
                  </a:lnTo>
                  <a:lnTo>
                    <a:pt x="2641" y="678"/>
                  </a:lnTo>
                  <a:lnTo>
                    <a:pt x="2629" y="666"/>
                  </a:lnTo>
                  <a:lnTo>
                    <a:pt x="2624" y="666"/>
                  </a:lnTo>
                  <a:lnTo>
                    <a:pt x="2620" y="655"/>
                  </a:lnTo>
                  <a:lnTo>
                    <a:pt x="2603" y="638"/>
                  </a:lnTo>
                  <a:lnTo>
                    <a:pt x="2587" y="645"/>
                  </a:lnTo>
                  <a:lnTo>
                    <a:pt x="2575" y="629"/>
                  </a:lnTo>
                  <a:lnTo>
                    <a:pt x="2603" y="622"/>
                  </a:lnTo>
                  <a:lnTo>
                    <a:pt x="2629" y="629"/>
                  </a:lnTo>
                  <a:lnTo>
                    <a:pt x="2646" y="605"/>
                  </a:lnTo>
                  <a:lnTo>
                    <a:pt x="2662" y="605"/>
                  </a:lnTo>
                  <a:lnTo>
                    <a:pt x="2683" y="612"/>
                  </a:lnTo>
                  <a:lnTo>
                    <a:pt x="2695" y="612"/>
                  </a:lnTo>
                  <a:lnTo>
                    <a:pt x="2695" y="622"/>
                  </a:lnTo>
                  <a:lnTo>
                    <a:pt x="2700" y="605"/>
                  </a:lnTo>
                  <a:lnTo>
                    <a:pt x="2712" y="622"/>
                  </a:lnTo>
                  <a:lnTo>
                    <a:pt x="2700" y="605"/>
                  </a:lnTo>
                  <a:lnTo>
                    <a:pt x="2717" y="600"/>
                  </a:lnTo>
                  <a:lnTo>
                    <a:pt x="2717" y="589"/>
                  </a:lnTo>
                  <a:lnTo>
                    <a:pt x="2712" y="600"/>
                  </a:lnTo>
                  <a:lnTo>
                    <a:pt x="2700" y="589"/>
                  </a:lnTo>
                  <a:lnTo>
                    <a:pt x="2717" y="584"/>
                  </a:lnTo>
                  <a:lnTo>
                    <a:pt x="2695" y="589"/>
                  </a:lnTo>
                  <a:lnTo>
                    <a:pt x="2674" y="589"/>
                  </a:lnTo>
                  <a:lnTo>
                    <a:pt x="2624" y="600"/>
                  </a:lnTo>
                  <a:lnTo>
                    <a:pt x="2620" y="589"/>
                  </a:lnTo>
                  <a:lnTo>
                    <a:pt x="2603" y="589"/>
                  </a:lnTo>
                  <a:lnTo>
                    <a:pt x="2575" y="584"/>
                  </a:lnTo>
                  <a:lnTo>
                    <a:pt x="2570" y="551"/>
                  </a:lnTo>
                  <a:lnTo>
                    <a:pt x="2523" y="527"/>
                  </a:lnTo>
                  <a:lnTo>
                    <a:pt x="2532" y="534"/>
                  </a:lnTo>
                  <a:lnTo>
                    <a:pt x="2523" y="534"/>
                  </a:lnTo>
                  <a:lnTo>
                    <a:pt x="2511" y="527"/>
                  </a:lnTo>
                  <a:lnTo>
                    <a:pt x="2523" y="511"/>
                  </a:lnTo>
                  <a:lnTo>
                    <a:pt x="2523" y="489"/>
                  </a:lnTo>
                  <a:lnTo>
                    <a:pt x="2570" y="478"/>
                  </a:lnTo>
                  <a:lnTo>
                    <a:pt x="2587" y="461"/>
                  </a:lnTo>
                  <a:lnTo>
                    <a:pt x="2608" y="456"/>
                  </a:lnTo>
                  <a:lnTo>
                    <a:pt x="2662" y="473"/>
                  </a:lnTo>
                  <a:lnTo>
                    <a:pt x="2679" y="478"/>
                  </a:lnTo>
                  <a:lnTo>
                    <a:pt x="2717" y="478"/>
                  </a:lnTo>
                  <a:lnTo>
                    <a:pt x="2726" y="489"/>
                  </a:lnTo>
                  <a:lnTo>
                    <a:pt x="2717" y="494"/>
                  </a:lnTo>
                  <a:lnTo>
                    <a:pt x="2738" y="527"/>
                  </a:lnTo>
                  <a:lnTo>
                    <a:pt x="2726" y="551"/>
                  </a:lnTo>
                  <a:lnTo>
                    <a:pt x="2733" y="600"/>
                  </a:lnTo>
                  <a:lnTo>
                    <a:pt x="2750" y="638"/>
                  </a:lnTo>
                  <a:lnTo>
                    <a:pt x="2754" y="629"/>
                  </a:lnTo>
                  <a:lnTo>
                    <a:pt x="2754" y="612"/>
                  </a:lnTo>
                  <a:lnTo>
                    <a:pt x="2754" y="605"/>
                  </a:lnTo>
                  <a:lnTo>
                    <a:pt x="2764" y="605"/>
                  </a:lnTo>
                  <a:lnTo>
                    <a:pt x="2771" y="645"/>
                  </a:lnTo>
                  <a:lnTo>
                    <a:pt x="2780" y="638"/>
                  </a:lnTo>
                  <a:lnTo>
                    <a:pt x="2780" y="655"/>
                  </a:lnTo>
                  <a:lnTo>
                    <a:pt x="2780" y="662"/>
                  </a:lnTo>
                  <a:lnTo>
                    <a:pt x="2792" y="666"/>
                  </a:lnTo>
                  <a:lnTo>
                    <a:pt x="2825" y="666"/>
                  </a:lnTo>
                  <a:lnTo>
                    <a:pt x="2856" y="645"/>
                  </a:lnTo>
                  <a:lnTo>
                    <a:pt x="2863" y="622"/>
                  </a:lnTo>
                  <a:lnTo>
                    <a:pt x="2877" y="612"/>
                  </a:lnTo>
                  <a:lnTo>
                    <a:pt x="2889" y="589"/>
                  </a:lnTo>
                  <a:lnTo>
                    <a:pt x="2910" y="589"/>
                  </a:lnTo>
                  <a:lnTo>
                    <a:pt x="2943" y="584"/>
                  </a:lnTo>
                  <a:lnTo>
                    <a:pt x="2943" y="555"/>
                  </a:lnTo>
                  <a:lnTo>
                    <a:pt x="2986" y="534"/>
                  </a:lnTo>
                  <a:lnTo>
                    <a:pt x="3128" y="600"/>
                  </a:lnTo>
                  <a:lnTo>
                    <a:pt x="3149" y="600"/>
                  </a:lnTo>
                  <a:lnTo>
                    <a:pt x="3165" y="605"/>
                  </a:lnTo>
                  <a:lnTo>
                    <a:pt x="3187" y="605"/>
                  </a:lnTo>
                  <a:lnTo>
                    <a:pt x="3187" y="622"/>
                  </a:lnTo>
                  <a:lnTo>
                    <a:pt x="3213" y="612"/>
                  </a:lnTo>
                  <a:lnTo>
                    <a:pt x="3213" y="612"/>
                  </a:lnTo>
                  <a:lnTo>
                    <a:pt x="3213" y="612"/>
                  </a:lnTo>
                  <a:close/>
                  <a:moveTo>
                    <a:pt x="1869" y="461"/>
                  </a:moveTo>
                  <a:lnTo>
                    <a:pt x="1852" y="473"/>
                  </a:lnTo>
                  <a:lnTo>
                    <a:pt x="1864" y="456"/>
                  </a:lnTo>
                  <a:lnTo>
                    <a:pt x="1869" y="461"/>
                  </a:lnTo>
                  <a:lnTo>
                    <a:pt x="1869" y="461"/>
                  </a:lnTo>
                  <a:lnTo>
                    <a:pt x="1869" y="461"/>
                  </a:lnTo>
                  <a:close/>
                  <a:moveTo>
                    <a:pt x="2485" y="456"/>
                  </a:moveTo>
                  <a:lnTo>
                    <a:pt x="2485" y="461"/>
                  </a:lnTo>
                  <a:lnTo>
                    <a:pt x="2469" y="461"/>
                  </a:lnTo>
                  <a:lnTo>
                    <a:pt x="2485" y="456"/>
                  </a:lnTo>
                  <a:lnTo>
                    <a:pt x="2485" y="456"/>
                  </a:lnTo>
                  <a:lnTo>
                    <a:pt x="2485" y="456"/>
                  </a:lnTo>
                  <a:close/>
                  <a:moveTo>
                    <a:pt x="2246" y="473"/>
                  </a:moveTo>
                  <a:lnTo>
                    <a:pt x="2246" y="489"/>
                  </a:lnTo>
                  <a:lnTo>
                    <a:pt x="2242" y="489"/>
                  </a:lnTo>
                  <a:lnTo>
                    <a:pt x="2246" y="473"/>
                  </a:lnTo>
                  <a:lnTo>
                    <a:pt x="2246" y="473"/>
                  </a:lnTo>
                  <a:lnTo>
                    <a:pt x="2246" y="473"/>
                  </a:lnTo>
                  <a:close/>
                  <a:moveTo>
                    <a:pt x="2818" y="478"/>
                  </a:moveTo>
                  <a:lnTo>
                    <a:pt x="2839" y="478"/>
                  </a:lnTo>
                  <a:lnTo>
                    <a:pt x="2846" y="478"/>
                  </a:lnTo>
                  <a:lnTo>
                    <a:pt x="2872" y="501"/>
                  </a:lnTo>
                  <a:lnTo>
                    <a:pt x="2889" y="511"/>
                  </a:lnTo>
                  <a:lnTo>
                    <a:pt x="2872" y="518"/>
                  </a:lnTo>
                  <a:lnTo>
                    <a:pt x="2846" y="511"/>
                  </a:lnTo>
                  <a:lnTo>
                    <a:pt x="2839" y="489"/>
                  </a:lnTo>
                  <a:lnTo>
                    <a:pt x="2835" y="494"/>
                  </a:lnTo>
                  <a:lnTo>
                    <a:pt x="2825" y="489"/>
                  </a:lnTo>
                  <a:lnTo>
                    <a:pt x="2818" y="478"/>
                  </a:lnTo>
                  <a:lnTo>
                    <a:pt x="2818" y="478"/>
                  </a:lnTo>
                  <a:lnTo>
                    <a:pt x="2818" y="478"/>
                  </a:lnTo>
                  <a:close/>
                  <a:moveTo>
                    <a:pt x="2495" y="489"/>
                  </a:moveTo>
                  <a:lnTo>
                    <a:pt x="2499" y="489"/>
                  </a:lnTo>
                  <a:lnTo>
                    <a:pt x="2495" y="489"/>
                  </a:lnTo>
                  <a:lnTo>
                    <a:pt x="2461" y="494"/>
                  </a:lnTo>
                  <a:lnTo>
                    <a:pt x="2469" y="489"/>
                  </a:lnTo>
                  <a:lnTo>
                    <a:pt x="2495" y="489"/>
                  </a:lnTo>
                  <a:lnTo>
                    <a:pt x="2495" y="489"/>
                  </a:lnTo>
                  <a:lnTo>
                    <a:pt x="2495" y="489"/>
                  </a:lnTo>
                  <a:close/>
                  <a:moveTo>
                    <a:pt x="2499" y="494"/>
                  </a:moveTo>
                  <a:lnTo>
                    <a:pt x="2516" y="494"/>
                  </a:lnTo>
                  <a:lnTo>
                    <a:pt x="2511" y="527"/>
                  </a:lnTo>
                  <a:lnTo>
                    <a:pt x="2495" y="518"/>
                  </a:lnTo>
                  <a:lnTo>
                    <a:pt x="2485" y="501"/>
                  </a:lnTo>
                  <a:lnTo>
                    <a:pt x="2499" y="494"/>
                  </a:lnTo>
                  <a:lnTo>
                    <a:pt x="2499" y="494"/>
                  </a:lnTo>
                  <a:lnTo>
                    <a:pt x="2499" y="494"/>
                  </a:lnTo>
                  <a:close/>
                  <a:moveTo>
                    <a:pt x="286" y="551"/>
                  </a:moveTo>
                  <a:lnTo>
                    <a:pt x="279" y="546"/>
                  </a:lnTo>
                  <a:lnTo>
                    <a:pt x="279" y="555"/>
                  </a:lnTo>
                  <a:lnTo>
                    <a:pt x="269" y="555"/>
                  </a:lnTo>
                  <a:lnTo>
                    <a:pt x="248" y="546"/>
                  </a:lnTo>
                  <a:lnTo>
                    <a:pt x="232" y="511"/>
                  </a:lnTo>
                  <a:lnTo>
                    <a:pt x="236" y="494"/>
                  </a:lnTo>
                  <a:lnTo>
                    <a:pt x="253" y="494"/>
                  </a:lnTo>
                  <a:lnTo>
                    <a:pt x="286" y="551"/>
                  </a:lnTo>
                  <a:lnTo>
                    <a:pt x="286" y="551"/>
                  </a:lnTo>
                  <a:lnTo>
                    <a:pt x="286" y="551"/>
                  </a:lnTo>
                  <a:close/>
                  <a:moveTo>
                    <a:pt x="2780" y="494"/>
                  </a:moveTo>
                  <a:lnTo>
                    <a:pt x="2787" y="501"/>
                  </a:lnTo>
                  <a:lnTo>
                    <a:pt x="2780" y="511"/>
                  </a:lnTo>
                  <a:lnTo>
                    <a:pt x="2771" y="501"/>
                  </a:lnTo>
                  <a:lnTo>
                    <a:pt x="2780" y="494"/>
                  </a:lnTo>
                  <a:lnTo>
                    <a:pt x="2780" y="494"/>
                  </a:lnTo>
                  <a:lnTo>
                    <a:pt x="2780" y="494"/>
                  </a:lnTo>
                  <a:close/>
                  <a:moveTo>
                    <a:pt x="1021" y="501"/>
                  </a:moveTo>
                  <a:lnTo>
                    <a:pt x="1021" y="511"/>
                  </a:lnTo>
                  <a:lnTo>
                    <a:pt x="999" y="518"/>
                  </a:lnTo>
                  <a:lnTo>
                    <a:pt x="999" y="501"/>
                  </a:lnTo>
                  <a:lnTo>
                    <a:pt x="1021" y="501"/>
                  </a:lnTo>
                  <a:lnTo>
                    <a:pt x="1021" y="501"/>
                  </a:lnTo>
                  <a:lnTo>
                    <a:pt x="1021" y="501"/>
                  </a:lnTo>
                  <a:close/>
                  <a:moveTo>
                    <a:pt x="2431" y="511"/>
                  </a:moveTo>
                  <a:lnTo>
                    <a:pt x="2414" y="518"/>
                  </a:lnTo>
                  <a:lnTo>
                    <a:pt x="2431" y="511"/>
                  </a:lnTo>
                  <a:lnTo>
                    <a:pt x="2431" y="511"/>
                  </a:lnTo>
                  <a:lnTo>
                    <a:pt x="2431" y="511"/>
                  </a:lnTo>
                  <a:close/>
                  <a:moveTo>
                    <a:pt x="1982" y="518"/>
                  </a:moveTo>
                  <a:lnTo>
                    <a:pt x="1977" y="534"/>
                  </a:lnTo>
                  <a:lnTo>
                    <a:pt x="1970" y="534"/>
                  </a:lnTo>
                  <a:lnTo>
                    <a:pt x="1961" y="546"/>
                  </a:lnTo>
                  <a:lnTo>
                    <a:pt x="1954" y="546"/>
                  </a:lnTo>
                  <a:lnTo>
                    <a:pt x="1961" y="534"/>
                  </a:lnTo>
                  <a:lnTo>
                    <a:pt x="1954" y="527"/>
                  </a:lnTo>
                  <a:lnTo>
                    <a:pt x="1939" y="546"/>
                  </a:lnTo>
                  <a:lnTo>
                    <a:pt x="1928" y="534"/>
                  </a:lnTo>
                  <a:lnTo>
                    <a:pt x="1939" y="511"/>
                  </a:lnTo>
                  <a:lnTo>
                    <a:pt x="1961" y="511"/>
                  </a:lnTo>
                  <a:lnTo>
                    <a:pt x="1961" y="527"/>
                  </a:lnTo>
                  <a:lnTo>
                    <a:pt x="1977" y="518"/>
                  </a:lnTo>
                  <a:lnTo>
                    <a:pt x="1982" y="518"/>
                  </a:lnTo>
                  <a:lnTo>
                    <a:pt x="1982" y="518"/>
                  </a:lnTo>
                  <a:lnTo>
                    <a:pt x="1982" y="518"/>
                  </a:lnTo>
                  <a:close/>
                  <a:moveTo>
                    <a:pt x="2268" y="511"/>
                  </a:moveTo>
                  <a:lnTo>
                    <a:pt x="2268" y="518"/>
                  </a:lnTo>
                  <a:lnTo>
                    <a:pt x="2263" y="518"/>
                  </a:lnTo>
                  <a:lnTo>
                    <a:pt x="2268" y="511"/>
                  </a:lnTo>
                  <a:lnTo>
                    <a:pt x="2268" y="511"/>
                  </a:lnTo>
                  <a:lnTo>
                    <a:pt x="2268" y="511"/>
                  </a:lnTo>
                  <a:close/>
                  <a:moveTo>
                    <a:pt x="2251" y="546"/>
                  </a:moveTo>
                  <a:lnTo>
                    <a:pt x="2263" y="534"/>
                  </a:lnTo>
                  <a:lnTo>
                    <a:pt x="2268" y="527"/>
                  </a:lnTo>
                  <a:lnTo>
                    <a:pt x="2306" y="551"/>
                  </a:lnTo>
                  <a:lnTo>
                    <a:pt x="2301" y="551"/>
                  </a:lnTo>
                  <a:lnTo>
                    <a:pt x="2268" y="551"/>
                  </a:lnTo>
                  <a:lnTo>
                    <a:pt x="2251" y="551"/>
                  </a:lnTo>
                  <a:lnTo>
                    <a:pt x="2251" y="546"/>
                  </a:lnTo>
                  <a:lnTo>
                    <a:pt x="2251" y="546"/>
                  </a:lnTo>
                  <a:lnTo>
                    <a:pt x="2251" y="546"/>
                  </a:lnTo>
                  <a:close/>
                  <a:moveTo>
                    <a:pt x="803" y="645"/>
                  </a:moveTo>
                  <a:lnTo>
                    <a:pt x="803" y="655"/>
                  </a:lnTo>
                  <a:lnTo>
                    <a:pt x="787" y="655"/>
                  </a:lnTo>
                  <a:lnTo>
                    <a:pt x="787" y="645"/>
                  </a:lnTo>
                  <a:lnTo>
                    <a:pt x="749" y="629"/>
                  </a:lnTo>
                  <a:lnTo>
                    <a:pt x="749" y="622"/>
                  </a:lnTo>
                  <a:lnTo>
                    <a:pt x="749" y="605"/>
                  </a:lnTo>
                  <a:lnTo>
                    <a:pt x="739" y="600"/>
                  </a:lnTo>
                  <a:lnTo>
                    <a:pt x="735" y="584"/>
                  </a:lnTo>
                  <a:lnTo>
                    <a:pt x="697" y="572"/>
                  </a:lnTo>
                  <a:lnTo>
                    <a:pt x="697" y="567"/>
                  </a:lnTo>
                  <a:lnTo>
                    <a:pt x="711" y="555"/>
                  </a:lnTo>
                  <a:lnTo>
                    <a:pt x="711" y="551"/>
                  </a:lnTo>
                  <a:lnTo>
                    <a:pt x="711" y="546"/>
                  </a:lnTo>
                  <a:lnTo>
                    <a:pt x="723" y="546"/>
                  </a:lnTo>
                  <a:lnTo>
                    <a:pt x="735" y="551"/>
                  </a:lnTo>
                  <a:lnTo>
                    <a:pt x="739" y="555"/>
                  </a:lnTo>
                  <a:lnTo>
                    <a:pt x="735" y="546"/>
                  </a:lnTo>
                  <a:lnTo>
                    <a:pt x="749" y="534"/>
                  </a:lnTo>
                  <a:lnTo>
                    <a:pt x="756" y="546"/>
                  </a:lnTo>
                  <a:lnTo>
                    <a:pt x="773" y="600"/>
                  </a:lnTo>
                  <a:lnTo>
                    <a:pt x="810" y="612"/>
                  </a:lnTo>
                  <a:lnTo>
                    <a:pt x="794" y="638"/>
                  </a:lnTo>
                  <a:lnTo>
                    <a:pt x="803" y="645"/>
                  </a:lnTo>
                  <a:lnTo>
                    <a:pt x="803" y="645"/>
                  </a:lnTo>
                  <a:lnTo>
                    <a:pt x="803" y="645"/>
                  </a:lnTo>
                  <a:close/>
                  <a:moveTo>
                    <a:pt x="966" y="546"/>
                  </a:moveTo>
                  <a:lnTo>
                    <a:pt x="954" y="551"/>
                  </a:lnTo>
                  <a:lnTo>
                    <a:pt x="950" y="546"/>
                  </a:lnTo>
                  <a:lnTo>
                    <a:pt x="966" y="546"/>
                  </a:lnTo>
                  <a:lnTo>
                    <a:pt x="966" y="546"/>
                  </a:lnTo>
                  <a:lnTo>
                    <a:pt x="966" y="546"/>
                  </a:lnTo>
                  <a:close/>
                  <a:moveTo>
                    <a:pt x="2825" y="546"/>
                  </a:moveTo>
                  <a:lnTo>
                    <a:pt x="2927" y="555"/>
                  </a:lnTo>
                  <a:lnTo>
                    <a:pt x="2894" y="567"/>
                  </a:lnTo>
                  <a:lnTo>
                    <a:pt x="2872" y="567"/>
                  </a:lnTo>
                  <a:lnTo>
                    <a:pt x="2818" y="546"/>
                  </a:lnTo>
                  <a:lnTo>
                    <a:pt x="2825" y="546"/>
                  </a:lnTo>
                  <a:lnTo>
                    <a:pt x="2825" y="546"/>
                  </a:lnTo>
                  <a:lnTo>
                    <a:pt x="2825" y="546"/>
                  </a:lnTo>
                  <a:close/>
                  <a:moveTo>
                    <a:pt x="2046" y="551"/>
                  </a:moveTo>
                  <a:lnTo>
                    <a:pt x="2100" y="551"/>
                  </a:lnTo>
                  <a:lnTo>
                    <a:pt x="2105" y="551"/>
                  </a:lnTo>
                  <a:lnTo>
                    <a:pt x="2105" y="567"/>
                  </a:lnTo>
                  <a:lnTo>
                    <a:pt x="2079" y="567"/>
                  </a:lnTo>
                  <a:lnTo>
                    <a:pt x="2046" y="572"/>
                  </a:lnTo>
                  <a:lnTo>
                    <a:pt x="2036" y="555"/>
                  </a:lnTo>
                  <a:lnTo>
                    <a:pt x="2046" y="551"/>
                  </a:lnTo>
                  <a:lnTo>
                    <a:pt x="2046" y="551"/>
                  </a:lnTo>
                  <a:lnTo>
                    <a:pt x="2046" y="551"/>
                  </a:lnTo>
                  <a:close/>
                  <a:moveTo>
                    <a:pt x="2461" y="551"/>
                  </a:moveTo>
                  <a:lnTo>
                    <a:pt x="2469" y="555"/>
                  </a:lnTo>
                  <a:lnTo>
                    <a:pt x="2461" y="572"/>
                  </a:lnTo>
                  <a:lnTo>
                    <a:pt x="2445" y="572"/>
                  </a:lnTo>
                  <a:lnTo>
                    <a:pt x="2414" y="567"/>
                  </a:lnTo>
                  <a:lnTo>
                    <a:pt x="2461" y="551"/>
                  </a:lnTo>
                  <a:lnTo>
                    <a:pt x="2461" y="551"/>
                  </a:lnTo>
                  <a:lnTo>
                    <a:pt x="2461" y="551"/>
                  </a:lnTo>
                  <a:close/>
                  <a:moveTo>
                    <a:pt x="1961" y="555"/>
                  </a:moveTo>
                  <a:lnTo>
                    <a:pt x="1954" y="567"/>
                  </a:lnTo>
                  <a:lnTo>
                    <a:pt x="1954" y="555"/>
                  </a:lnTo>
                  <a:lnTo>
                    <a:pt x="1961" y="555"/>
                  </a:lnTo>
                  <a:lnTo>
                    <a:pt x="1961" y="555"/>
                  </a:lnTo>
                  <a:lnTo>
                    <a:pt x="1961" y="555"/>
                  </a:lnTo>
                  <a:close/>
                  <a:moveTo>
                    <a:pt x="2117" y="555"/>
                  </a:moveTo>
                  <a:lnTo>
                    <a:pt x="2187" y="555"/>
                  </a:lnTo>
                  <a:lnTo>
                    <a:pt x="2121" y="567"/>
                  </a:lnTo>
                  <a:lnTo>
                    <a:pt x="2105" y="567"/>
                  </a:lnTo>
                  <a:lnTo>
                    <a:pt x="2117" y="555"/>
                  </a:lnTo>
                  <a:lnTo>
                    <a:pt x="2117" y="555"/>
                  </a:lnTo>
                  <a:lnTo>
                    <a:pt x="2117" y="555"/>
                  </a:lnTo>
                  <a:close/>
                  <a:moveTo>
                    <a:pt x="2008" y="567"/>
                  </a:moveTo>
                  <a:lnTo>
                    <a:pt x="2008" y="572"/>
                  </a:lnTo>
                  <a:lnTo>
                    <a:pt x="1998" y="567"/>
                  </a:lnTo>
                  <a:lnTo>
                    <a:pt x="2008" y="567"/>
                  </a:lnTo>
                  <a:lnTo>
                    <a:pt x="2008" y="567"/>
                  </a:lnTo>
                  <a:lnTo>
                    <a:pt x="2008" y="567"/>
                  </a:lnTo>
                  <a:close/>
                  <a:moveTo>
                    <a:pt x="2154" y="572"/>
                  </a:moveTo>
                  <a:lnTo>
                    <a:pt x="2159" y="605"/>
                  </a:lnTo>
                  <a:lnTo>
                    <a:pt x="2143" y="584"/>
                  </a:lnTo>
                  <a:lnTo>
                    <a:pt x="2154" y="572"/>
                  </a:lnTo>
                  <a:lnTo>
                    <a:pt x="2154" y="572"/>
                  </a:lnTo>
                  <a:lnTo>
                    <a:pt x="2154" y="572"/>
                  </a:lnTo>
                  <a:close/>
                  <a:moveTo>
                    <a:pt x="324" y="600"/>
                  </a:moveTo>
                  <a:lnTo>
                    <a:pt x="302" y="589"/>
                  </a:lnTo>
                  <a:lnTo>
                    <a:pt x="302" y="572"/>
                  </a:lnTo>
                  <a:lnTo>
                    <a:pt x="307" y="572"/>
                  </a:lnTo>
                  <a:lnTo>
                    <a:pt x="324" y="600"/>
                  </a:lnTo>
                  <a:lnTo>
                    <a:pt x="324" y="600"/>
                  </a:lnTo>
                  <a:lnTo>
                    <a:pt x="324" y="600"/>
                  </a:lnTo>
                  <a:close/>
                  <a:moveTo>
                    <a:pt x="345" y="629"/>
                  </a:moveTo>
                  <a:lnTo>
                    <a:pt x="333" y="629"/>
                  </a:lnTo>
                  <a:lnTo>
                    <a:pt x="333" y="605"/>
                  </a:lnTo>
                  <a:lnTo>
                    <a:pt x="345" y="629"/>
                  </a:lnTo>
                  <a:lnTo>
                    <a:pt x="345" y="629"/>
                  </a:lnTo>
                  <a:lnTo>
                    <a:pt x="345" y="629"/>
                  </a:lnTo>
                  <a:close/>
                  <a:moveTo>
                    <a:pt x="862" y="629"/>
                  </a:moveTo>
                  <a:lnTo>
                    <a:pt x="874" y="612"/>
                  </a:lnTo>
                  <a:lnTo>
                    <a:pt x="879" y="612"/>
                  </a:lnTo>
                  <a:lnTo>
                    <a:pt x="900" y="612"/>
                  </a:lnTo>
                  <a:lnTo>
                    <a:pt x="917" y="638"/>
                  </a:lnTo>
                  <a:lnTo>
                    <a:pt x="900" y="662"/>
                  </a:lnTo>
                  <a:lnTo>
                    <a:pt x="895" y="662"/>
                  </a:lnTo>
                  <a:lnTo>
                    <a:pt x="891" y="645"/>
                  </a:lnTo>
                  <a:lnTo>
                    <a:pt x="879" y="655"/>
                  </a:lnTo>
                  <a:lnTo>
                    <a:pt x="862" y="662"/>
                  </a:lnTo>
                  <a:lnTo>
                    <a:pt x="862" y="629"/>
                  </a:lnTo>
                  <a:lnTo>
                    <a:pt x="862" y="629"/>
                  </a:lnTo>
                  <a:lnTo>
                    <a:pt x="862" y="629"/>
                  </a:lnTo>
                  <a:close/>
                  <a:moveTo>
                    <a:pt x="361" y="666"/>
                  </a:moveTo>
                  <a:lnTo>
                    <a:pt x="345" y="645"/>
                  </a:lnTo>
                  <a:lnTo>
                    <a:pt x="345" y="629"/>
                  </a:lnTo>
                  <a:lnTo>
                    <a:pt x="361" y="645"/>
                  </a:lnTo>
                  <a:lnTo>
                    <a:pt x="361" y="655"/>
                  </a:lnTo>
                  <a:lnTo>
                    <a:pt x="361" y="666"/>
                  </a:lnTo>
                  <a:lnTo>
                    <a:pt x="361" y="666"/>
                  </a:lnTo>
                  <a:lnTo>
                    <a:pt x="361" y="666"/>
                  </a:lnTo>
                  <a:close/>
                  <a:moveTo>
                    <a:pt x="2294" y="683"/>
                  </a:moveTo>
                  <a:lnTo>
                    <a:pt x="2284" y="662"/>
                  </a:lnTo>
                  <a:lnTo>
                    <a:pt x="2306" y="638"/>
                  </a:lnTo>
                  <a:lnTo>
                    <a:pt x="2360" y="638"/>
                  </a:lnTo>
                  <a:lnTo>
                    <a:pt x="2376" y="645"/>
                  </a:lnTo>
                  <a:lnTo>
                    <a:pt x="2407" y="629"/>
                  </a:lnTo>
                  <a:lnTo>
                    <a:pt x="2440" y="645"/>
                  </a:lnTo>
                  <a:lnTo>
                    <a:pt x="2461" y="645"/>
                  </a:lnTo>
                  <a:lnTo>
                    <a:pt x="2478" y="655"/>
                  </a:lnTo>
                  <a:lnTo>
                    <a:pt x="2485" y="666"/>
                  </a:lnTo>
                  <a:lnTo>
                    <a:pt x="2495" y="678"/>
                  </a:lnTo>
                  <a:lnTo>
                    <a:pt x="2499" y="683"/>
                  </a:lnTo>
                  <a:lnTo>
                    <a:pt x="2495" y="711"/>
                  </a:lnTo>
                  <a:lnTo>
                    <a:pt x="2440" y="678"/>
                  </a:lnTo>
                  <a:lnTo>
                    <a:pt x="2431" y="666"/>
                  </a:lnTo>
                  <a:lnTo>
                    <a:pt x="2402" y="666"/>
                  </a:lnTo>
                  <a:lnTo>
                    <a:pt x="2402" y="678"/>
                  </a:lnTo>
                  <a:lnTo>
                    <a:pt x="2360" y="666"/>
                  </a:lnTo>
                  <a:lnTo>
                    <a:pt x="2369" y="662"/>
                  </a:lnTo>
                  <a:lnTo>
                    <a:pt x="2360" y="662"/>
                  </a:lnTo>
                  <a:lnTo>
                    <a:pt x="2332" y="678"/>
                  </a:lnTo>
                  <a:lnTo>
                    <a:pt x="2306" y="655"/>
                  </a:lnTo>
                  <a:lnTo>
                    <a:pt x="2294" y="683"/>
                  </a:lnTo>
                  <a:lnTo>
                    <a:pt x="2294" y="683"/>
                  </a:lnTo>
                  <a:lnTo>
                    <a:pt x="2294" y="683"/>
                  </a:lnTo>
                  <a:close/>
                  <a:moveTo>
                    <a:pt x="858" y="629"/>
                  </a:moveTo>
                  <a:lnTo>
                    <a:pt x="858" y="638"/>
                  </a:lnTo>
                  <a:lnTo>
                    <a:pt x="848" y="638"/>
                  </a:lnTo>
                  <a:lnTo>
                    <a:pt x="858" y="629"/>
                  </a:lnTo>
                  <a:lnTo>
                    <a:pt x="858" y="629"/>
                  </a:lnTo>
                  <a:lnTo>
                    <a:pt x="858" y="629"/>
                  </a:lnTo>
                  <a:close/>
                  <a:moveTo>
                    <a:pt x="810" y="638"/>
                  </a:moveTo>
                  <a:lnTo>
                    <a:pt x="820" y="638"/>
                  </a:lnTo>
                  <a:lnTo>
                    <a:pt x="820" y="645"/>
                  </a:lnTo>
                  <a:lnTo>
                    <a:pt x="803" y="645"/>
                  </a:lnTo>
                  <a:lnTo>
                    <a:pt x="810" y="638"/>
                  </a:lnTo>
                  <a:lnTo>
                    <a:pt x="810" y="638"/>
                  </a:lnTo>
                  <a:lnTo>
                    <a:pt x="810" y="638"/>
                  </a:lnTo>
                  <a:close/>
                  <a:moveTo>
                    <a:pt x="2294" y="638"/>
                  </a:moveTo>
                  <a:lnTo>
                    <a:pt x="2294" y="645"/>
                  </a:lnTo>
                  <a:lnTo>
                    <a:pt x="2284" y="645"/>
                  </a:lnTo>
                  <a:lnTo>
                    <a:pt x="2294" y="638"/>
                  </a:lnTo>
                  <a:lnTo>
                    <a:pt x="2294" y="638"/>
                  </a:lnTo>
                  <a:lnTo>
                    <a:pt x="2294" y="638"/>
                  </a:lnTo>
                  <a:close/>
                  <a:moveTo>
                    <a:pt x="2171" y="655"/>
                  </a:moveTo>
                  <a:lnTo>
                    <a:pt x="2171" y="662"/>
                  </a:lnTo>
                  <a:lnTo>
                    <a:pt x="2187" y="655"/>
                  </a:lnTo>
                  <a:lnTo>
                    <a:pt x="2209" y="645"/>
                  </a:lnTo>
                  <a:lnTo>
                    <a:pt x="2230" y="655"/>
                  </a:lnTo>
                  <a:lnTo>
                    <a:pt x="2242" y="662"/>
                  </a:lnTo>
                  <a:lnTo>
                    <a:pt x="2230" y="666"/>
                  </a:lnTo>
                  <a:lnTo>
                    <a:pt x="2246" y="666"/>
                  </a:lnTo>
                  <a:lnTo>
                    <a:pt x="2246" y="695"/>
                  </a:lnTo>
                  <a:lnTo>
                    <a:pt x="2209" y="700"/>
                  </a:lnTo>
                  <a:lnTo>
                    <a:pt x="2192" y="700"/>
                  </a:lnTo>
                  <a:lnTo>
                    <a:pt x="2159" y="678"/>
                  </a:lnTo>
                  <a:lnTo>
                    <a:pt x="2159" y="662"/>
                  </a:lnTo>
                  <a:lnTo>
                    <a:pt x="2171" y="655"/>
                  </a:lnTo>
                  <a:lnTo>
                    <a:pt x="2171" y="655"/>
                  </a:lnTo>
                  <a:lnTo>
                    <a:pt x="2171" y="655"/>
                  </a:lnTo>
                  <a:close/>
                  <a:moveTo>
                    <a:pt x="2280" y="655"/>
                  </a:moveTo>
                  <a:lnTo>
                    <a:pt x="2284" y="662"/>
                  </a:lnTo>
                  <a:lnTo>
                    <a:pt x="2268" y="662"/>
                  </a:lnTo>
                  <a:lnTo>
                    <a:pt x="2280" y="655"/>
                  </a:lnTo>
                  <a:lnTo>
                    <a:pt x="2280" y="655"/>
                  </a:lnTo>
                  <a:lnTo>
                    <a:pt x="2280" y="655"/>
                  </a:lnTo>
                  <a:close/>
                  <a:moveTo>
                    <a:pt x="1474" y="662"/>
                  </a:moveTo>
                  <a:lnTo>
                    <a:pt x="1474" y="711"/>
                  </a:lnTo>
                  <a:lnTo>
                    <a:pt x="1458" y="716"/>
                  </a:lnTo>
                  <a:lnTo>
                    <a:pt x="1458" y="695"/>
                  </a:lnTo>
                  <a:lnTo>
                    <a:pt x="1469" y="666"/>
                  </a:lnTo>
                  <a:lnTo>
                    <a:pt x="1474" y="662"/>
                  </a:lnTo>
                  <a:lnTo>
                    <a:pt x="1474" y="662"/>
                  </a:lnTo>
                  <a:lnTo>
                    <a:pt x="1474" y="662"/>
                  </a:lnTo>
                  <a:close/>
                  <a:moveTo>
                    <a:pt x="2268" y="662"/>
                  </a:moveTo>
                  <a:lnTo>
                    <a:pt x="2268" y="666"/>
                  </a:lnTo>
                  <a:lnTo>
                    <a:pt x="2263" y="666"/>
                  </a:lnTo>
                  <a:lnTo>
                    <a:pt x="2268" y="662"/>
                  </a:lnTo>
                  <a:lnTo>
                    <a:pt x="2268" y="662"/>
                  </a:lnTo>
                  <a:lnTo>
                    <a:pt x="2268" y="662"/>
                  </a:lnTo>
                  <a:close/>
                  <a:moveTo>
                    <a:pt x="1484" y="678"/>
                  </a:moveTo>
                  <a:lnTo>
                    <a:pt x="1484" y="695"/>
                  </a:lnTo>
                  <a:lnTo>
                    <a:pt x="1474" y="683"/>
                  </a:lnTo>
                  <a:lnTo>
                    <a:pt x="1484" y="678"/>
                  </a:lnTo>
                  <a:lnTo>
                    <a:pt x="1484" y="678"/>
                  </a:lnTo>
                  <a:lnTo>
                    <a:pt x="1484" y="678"/>
                  </a:lnTo>
                  <a:close/>
                  <a:moveTo>
                    <a:pt x="2339" y="678"/>
                  </a:moveTo>
                  <a:lnTo>
                    <a:pt x="2348" y="678"/>
                  </a:lnTo>
                  <a:lnTo>
                    <a:pt x="2348" y="683"/>
                  </a:lnTo>
                  <a:lnTo>
                    <a:pt x="2339" y="695"/>
                  </a:lnTo>
                  <a:lnTo>
                    <a:pt x="2339" y="678"/>
                  </a:lnTo>
                  <a:lnTo>
                    <a:pt x="2339" y="678"/>
                  </a:lnTo>
                  <a:lnTo>
                    <a:pt x="2339" y="678"/>
                  </a:lnTo>
                  <a:close/>
                  <a:moveTo>
                    <a:pt x="2301" y="683"/>
                  </a:moveTo>
                  <a:lnTo>
                    <a:pt x="2322" y="683"/>
                  </a:lnTo>
                  <a:lnTo>
                    <a:pt x="2317" y="700"/>
                  </a:lnTo>
                  <a:lnTo>
                    <a:pt x="2306" y="700"/>
                  </a:lnTo>
                  <a:lnTo>
                    <a:pt x="2306" y="695"/>
                  </a:lnTo>
                  <a:lnTo>
                    <a:pt x="2294" y="700"/>
                  </a:lnTo>
                  <a:lnTo>
                    <a:pt x="2294" y="695"/>
                  </a:lnTo>
                  <a:lnTo>
                    <a:pt x="2301" y="683"/>
                  </a:lnTo>
                  <a:lnTo>
                    <a:pt x="2301" y="683"/>
                  </a:lnTo>
                  <a:lnTo>
                    <a:pt x="2301" y="683"/>
                  </a:lnTo>
                  <a:close/>
                  <a:moveTo>
                    <a:pt x="2332" y="683"/>
                  </a:moveTo>
                  <a:lnTo>
                    <a:pt x="2339" y="683"/>
                  </a:lnTo>
                  <a:lnTo>
                    <a:pt x="2322" y="695"/>
                  </a:lnTo>
                  <a:lnTo>
                    <a:pt x="2332" y="683"/>
                  </a:lnTo>
                  <a:lnTo>
                    <a:pt x="2332" y="683"/>
                  </a:lnTo>
                  <a:lnTo>
                    <a:pt x="2332" y="683"/>
                  </a:lnTo>
                  <a:close/>
                  <a:moveTo>
                    <a:pt x="1954" y="683"/>
                  </a:moveTo>
                  <a:lnTo>
                    <a:pt x="1961" y="683"/>
                  </a:lnTo>
                  <a:lnTo>
                    <a:pt x="1954" y="695"/>
                  </a:lnTo>
                  <a:lnTo>
                    <a:pt x="1954" y="683"/>
                  </a:lnTo>
                  <a:lnTo>
                    <a:pt x="1954" y="683"/>
                  </a:lnTo>
                  <a:lnTo>
                    <a:pt x="1954" y="683"/>
                  </a:lnTo>
                  <a:close/>
                  <a:moveTo>
                    <a:pt x="2246" y="700"/>
                  </a:moveTo>
                  <a:lnTo>
                    <a:pt x="2246" y="711"/>
                  </a:lnTo>
                  <a:lnTo>
                    <a:pt x="2242" y="711"/>
                  </a:lnTo>
                  <a:lnTo>
                    <a:pt x="2246" y="700"/>
                  </a:lnTo>
                  <a:lnTo>
                    <a:pt x="2246" y="700"/>
                  </a:lnTo>
                  <a:lnTo>
                    <a:pt x="2246" y="700"/>
                  </a:lnTo>
                  <a:close/>
                  <a:moveTo>
                    <a:pt x="2726" y="711"/>
                  </a:moveTo>
                  <a:lnTo>
                    <a:pt x="2733" y="716"/>
                  </a:lnTo>
                  <a:lnTo>
                    <a:pt x="2726" y="711"/>
                  </a:lnTo>
                  <a:lnTo>
                    <a:pt x="2726" y="711"/>
                  </a:lnTo>
                  <a:lnTo>
                    <a:pt x="2726" y="711"/>
                  </a:lnTo>
                  <a:close/>
                  <a:moveTo>
                    <a:pt x="1954" y="716"/>
                  </a:moveTo>
                  <a:lnTo>
                    <a:pt x="1970" y="723"/>
                  </a:lnTo>
                  <a:lnTo>
                    <a:pt x="1961" y="733"/>
                  </a:lnTo>
                  <a:lnTo>
                    <a:pt x="1944" y="723"/>
                  </a:lnTo>
                  <a:lnTo>
                    <a:pt x="1954" y="716"/>
                  </a:lnTo>
                  <a:lnTo>
                    <a:pt x="1954" y="716"/>
                  </a:lnTo>
                  <a:lnTo>
                    <a:pt x="1954" y="716"/>
                  </a:lnTo>
                  <a:close/>
                  <a:moveTo>
                    <a:pt x="2674" y="723"/>
                  </a:moveTo>
                  <a:lnTo>
                    <a:pt x="2695" y="740"/>
                  </a:lnTo>
                  <a:lnTo>
                    <a:pt x="2674" y="733"/>
                  </a:lnTo>
                  <a:lnTo>
                    <a:pt x="2674" y="723"/>
                  </a:lnTo>
                  <a:lnTo>
                    <a:pt x="2674" y="723"/>
                  </a:lnTo>
                  <a:lnTo>
                    <a:pt x="2674" y="723"/>
                  </a:lnTo>
                  <a:close/>
                  <a:moveTo>
                    <a:pt x="1954" y="749"/>
                  </a:moveTo>
                  <a:lnTo>
                    <a:pt x="1961" y="756"/>
                  </a:lnTo>
                  <a:lnTo>
                    <a:pt x="1961" y="778"/>
                  </a:lnTo>
                  <a:lnTo>
                    <a:pt x="1954" y="766"/>
                  </a:lnTo>
                  <a:lnTo>
                    <a:pt x="1954" y="773"/>
                  </a:lnTo>
                  <a:lnTo>
                    <a:pt x="1944" y="794"/>
                  </a:lnTo>
                  <a:lnTo>
                    <a:pt x="1961" y="811"/>
                  </a:lnTo>
                  <a:lnTo>
                    <a:pt x="1939" y="822"/>
                  </a:lnTo>
                  <a:lnTo>
                    <a:pt x="1939" y="834"/>
                  </a:lnTo>
                  <a:lnTo>
                    <a:pt x="1923" y="834"/>
                  </a:lnTo>
                  <a:lnTo>
                    <a:pt x="1916" y="827"/>
                  </a:lnTo>
                  <a:lnTo>
                    <a:pt x="1928" y="794"/>
                  </a:lnTo>
                  <a:lnTo>
                    <a:pt x="1939" y="756"/>
                  </a:lnTo>
                  <a:lnTo>
                    <a:pt x="1954" y="749"/>
                  </a:lnTo>
                  <a:lnTo>
                    <a:pt x="1954" y="749"/>
                  </a:lnTo>
                  <a:lnTo>
                    <a:pt x="1954" y="749"/>
                  </a:lnTo>
                  <a:close/>
                  <a:moveTo>
                    <a:pt x="1928" y="766"/>
                  </a:moveTo>
                  <a:lnTo>
                    <a:pt x="1928" y="789"/>
                  </a:lnTo>
                  <a:lnTo>
                    <a:pt x="1923" y="806"/>
                  </a:lnTo>
                  <a:lnTo>
                    <a:pt x="1923" y="811"/>
                  </a:lnTo>
                  <a:lnTo>
                    <a:pt x="1916" y="822"/>
                  </a:lnTo>
                  <a:lnTo>
                    <a:pt x="1902" y="822"/>
                  </a:lnTo>
                  <a:lnTo>
                    <a:pt x="1906" y="794"/>
                  </a:lnTo>
                  <a:lnTo>
                    <a:pt x="1902" y="778"/>
                  </a:lnTo>
                  <a:lnTo>
                    <a:pt x="1928" y="766"/>
                  </a:lnTo>
                  <a:lnTo>
                    <a:pt x="1928" y="766"/>
                  </a:lnTo>
                  <a:lnTo>
                    <a:pt x="1928" y="766"/>
                  </a:lnTo>
                  <a:close/>
                  <a:moveTo>
                    <a:pt x="1873" y="794"/>
                  </a:moveTo>
                  <a:lnTo>
                    <a:pt x="1885" y="822"/>
                  </a:lnTo>
                  <a:lnTo>
                    <a:pt x="1873" y="822"/>
                  </a:lnTo>
                  <a:lnTo>
                    <a:pt x="1864" y="811"/>
                  </a:lnTo>
                  <a:lnTo>
                    <a:pt x="1869" y="794"/>
                  </a:lnTo>
                  <a:lnTo>
                    <a:pt x="1873" y="794"/>
                  </a:lnTo>
                  <a:lnTo>
                    <a:pt x="1873" y="794"/>
                  </a:lnTo>
                  <a:lnTo>
                    <a:pt x="1873" y="794"/>
                  </a:lnTo>
                  <a:close/>
                  <a:moveTo>
                    <a:pt x="501" y="827"/>
                  </a:moveTo>
                  <a:lnTo>
                    <a:pt x="480" y="811"/>
                  </a:lnTo>
                  <a:lnTo>
                    <a:pt x="484" y="811"/>
                  </a:lnTo>
                  <a:lnTo>
                    <a:pt x="501" y="822"/>
                  </a:lnTo>
                  <a:lnTo>
                    <a:pt x="501" y="827"/>
                  </a:lnTo>
                  <a:lnTo>
                    <a:pt x="501" y="827"/>
                  </a:lnTo>
                  <a:lnTo>
                    <a:pt x="501" y="827"/>
                  </a:lnTo>
                  <a:close/>
                  <a:moveTo>
                    <a:pt x="2662" y="811"/>
                  </a:moveTo>
                  <a:lnTo>
                    <a:pt x="2658" y="834"/>
                  </a:lnTo>
                  <a:lnTo>
                    <a:pt x="2641" y="860"/>
                  </a:lnTo>
                  <a:lnTo>
                    <a:pt x="2658" y="811"/>
                  </a:lnTo>
                  <a:lnTo>
                    <a:pt x="2662" y="811"/>
                  </a:lnTo>
                  <a:lnTo>
                    <a:pt x="2662" y="811"/>
                  </a:lnTo>
                  <a:lnTo>
                    <a:pt x="2662" y="811"/>
                  </a:lnTo>
                  <a:close/>
                  <a:moveTo>
                    <a:pt x="2754" y="822"/>
                  </a:moveTo>
                  <a:lnTo>
                    <a:pt x="2764" y="827"/>
                  </a:lnTo>
                  <a:lnTo>
                    <a:pt x="2771" y="851"/>
                  </a:lnTo>
                  <a:lnTo>
                    <a:pt x="2771" y="860"/>
                  </a:lnTo>
                  <a:lnTo>
                    <a:pt x="2764" y="860"/>
                  </a:lnTo>
                  <a:lnTo>
                    <a:pt x="2738" y="860"/>
                  </a:lnTo>
                  <a:lnTo>
                    <a:pt x="2750" y="844"/>
                  </a:lnTo>
                  <a:lnTo>
                    <a:pt x="2733" y="844"/>
                  </a:lnTo>
                  <a:lnTo>
                    <a:pt x="2738" y="844"/>
                  </a:lnTo>
                  <a:lnTo>
                    <a:pt x="2754" y="822"/>
                  </a:lnTo>
                  <a:lnTo>
                    <a:pt x="2754" y="822"/>
                  </a:lnTo>
                  <a:lnTo>
                    <a:pt x="2754" y="822"/>
                  </a:lnTo>
                  <a:close/>
                  <a:moveTo>
                    <a:pt x="2629" y="834"/>
                  </a:moveTo>
                  <a:lnTo>
                    <a:pt x="2629" y="851"/>
                  </a:lnTo>
                  <a:lnTo>
                    <a:pt x="2629" y="860"/>
                  </a:lnTo>
                  <a:lnTo>
                    <a:pt x="2624" y="834"/>
                  </a:lnTo>
                  <a:lnTo>
                    <a:pt x="2629" y="834"/>
                  </a:lnTo>
                  <a:lnTo>
                    <a:pt x="2629" y="834"/>
                  </a:lnTo>
                  <a:lnTo>
                    <a:pt x="2629" y="834"/>
                  </a:lnTo>
                  <a:close/>
                  <a:moveTo>
                    <a:pt x="1226" y="844"/>
                  </a:moveTo>
                  <a:lnTo>
                    <a:pt x="1226" y="851"/>
                  </a:lnTo>
                  <a:lnTo>
                    <a:pt x="1219" y="851"/>
                  </a:lnTo>
                  <a:lnTo>
                    <a:pt x="1226" y="844"/>
                  </a:lnTo>
                  <a:lnTo>
                    <a:pt x="1226" y="844"/>
                  </a:lnTo>
                  <a:lnTo>
                    <a:pt x="1226" y="844"/>
                  </a:lnTo>
                  <a:close/>
                  <a:moveTo>
                    <a:pt x="1765" y="844"/>
                  </a:moveTo>
                  <a:lnTo>
                    <a:pt x="1776" y="867"/>
                  </a:lnTo>
                  <a:lnTo>
                    <a:pt x="1765" y="900"/>
                  </a:lnTo>
                  <a:lnTo>
                    <a:pt x="1765" y="844"/>
                  </a:lnTo>
                  <a:lnTo>
                    <a:pt x="1765" y="844"/>
                  </a:lnTo>
                  <a:lnTo>
                    <a:pt x="1765" y="844"/>
                  </a:lnTo>
                  <a:close/>
                  <a:moveTo>
                    <a:pt x="1361" y="1066"/>
                  </a:moveTo>
                  <a:lnTo>
                    <a:pt x="1332" y="1049"/>
                  </a:lnTo>
                  <a:lnTo>
                    <a:pt x="1323" y="1049"/>
                  </a:lnTo>
                  <a:lnTo>
                    <a:pt x="1295" y="1044"/>
                  </a:lnTo>
                  <a:lnTo>
                    <a:pt x="1257" y="1028"/>
                  </a:lnTo>
                  <a:lnTo>
                    <a:pt x="1219" y="1033"/>
                  </a:lnTo>
                  <a:lnTo>
                    <a:pt x="1160" y="1028"/>
                  </a:lnTo>
                  <a:lnTo>
                    <a:pt x="1150" y="1033"/>
                  </a:lnTo>
                  <a:lnTo>
                    <a:pt x="1080" y="1016"/>
                  </a:lnTo>
                  <a:lnTo>
                    <a:pt x="1037" y="995"/>
                  </a:lnTo>
                  <a:lnTo>
                    <a:pt x="987" y="988"/>
                  </a:lnTo>
                  <a:lnTo>
                    <a:pt x="966" y="988"/>
                  </a:lnTo>
                  <a:lnTo>
                    <a:pt x="954" y="978"/>
                  </a:lnTo>
                  <a:lnTo>
                    <a:pt x="933" y="988"/>
                  </a:lnTo>
                  <a:lnTo>
                    <a:pt x="928" y="995"/>
                  </a:lnTo>
                  <a:lnTo>
                    <a:pt x="900" y="995"/>
                  </a:lnTo>
                  <a:lnTo>
                    <a:pt x="858" y="971"/>
                  </a:lnTo>
                  <a:lnTo>
                    <a:pt x="777" y="962"/>
                  </a:lnTo>
                  <a:lnTo>
                    <a:pt x="777" y="955"/>
                  </a:lnTo>
                  <a:lnTo>
                    <a:pt x="794" y="938"/>
                  </a:lnTo>
                  <a:lnTo>
                    <a:pt x="787" y="933"/>
                  </a:lnTo>
                  <a:lnTo>
                    <a:pt x="777" y="933"/>
                  </a:lnTo>
                  <a:lnTo>
                    <a:pt x="756" y="922"/>
                  </a:lnTo>
                  <a:lnTo>
                    <a:pt x="718" y="922"/>
                  </a:lnTo>
                  <a:lnTo>
                    <a:pt x="702" y="917"/>
                  </a:lnTo>
                  <a:lnTo>
                    <a:pt x="718" y="922"/>
                  </a:lnTo>
                  <a:lnTo>
                    <a:pt x="723" y="905"/>
                  </a:lnTo>
                  <a:lnTo>
                    <a:pt x="723" y="900"/>
                  </a:lnTo>
                  <a:lnTo>
                    <a:pt x="739" y="889"/>
                  </a:lnTo>
                  <a:lnTo>
                    <a:pt x="739" y="867"/>
                  </a:lnTo>
                  <a:lnTo>
                    <a:pt x="756" y="851"/>
                  </a:lnTo>
                  <a:lnTo>
                    <a:pt x="765" y="860"/>
                  </a:lnTo>
                  <a:lnTo>
                    <a:pt x="773" y="860"/>
                  </a:lnTo>
                  <a:lnTo>
                    <a:pt x="787" y="867"/>
                  </a:lnTo>
                  <a:lnTo>
                    <a:pt x="803" y="860"/>
                  </a:lnTo>
                  <a:lnTo>
                    <a:pt x="810" y="867"/>
                  </a:lnTo>
                  <a:lnTo>
                    <a:pt x="824" y="867"/>
                  </a:lnTo>
                  <a:lnTo>
                    <a:pt x="824" y="851"/>
                  </a:lnTo>
                  <a:lnTo>
                    <a:pt x="848" y="860"/>
                  </a:lnTo>
                  <a:lnTo>
                    <a:pt x="874" y="884"/>
                  </a:lnTo>
                  <a:lnTo>
                    <a:pt x="891" y="877"/>
                  </a:lnTo>
                  <a:lnTo>
                    <a:pt x="900" y="884"/>
                  </a:lnTo>
                  <a:lnTo>
                    <a:pt x="917" y="884"/>
                  </a:lnTo>
                  <a:lnTo>
                    <a:pt x="933" y="900"/>
                  </a:lnTo>
                  <a:lnTo>
                    <a:pt x="933" y="917"/>
                  </a:lnTo>
                  <a:lnTo>
                    <a:pt x="983" y="922"/>
                  </a:lnTo>
                  <a:lnTo>
                    <a:pt x="1004" y="922"/>
                  </a:lnTo>
                  <a:lnTo>
                    <a:pt x="1063" y="933"/>
                  </a:lnTo>
                  <a:lnTo>
                    <a:pt x="1075" y="922"/>
                  </a:lnTo>
                  <a:lnTo>
                    <a:pt x="1089" y="889"/>
                  </a:lnTo>
                  <a:lnTo>
                    <a:pt x="1096" y="889"/>
                  </a:lnTo>
                  <a:lnTo>
                    <a:pt x="1113" y="889"/>
                  </a:lnTo>
                  <a:lnTo>
                    <a:pt x="1113" y="917"/>
                  </a:lnTo>
                  <a:lnTo>
                    <a:pt x="1134" y="917"/>
                  </a:lnTo>
                  <a:lnTo>
                    <a:pt x="1143" y="905"/>
                  </a:lnTo>
                  <a:lnTo>
                    <a:pt x="1160" y="917"/>
                  </a:lnTo>
                  <a:lnTo>
                    <a:pt x="1172" y="917"/>
                  </a:lnTo>
                  <a:lnTo>
                    <a:pt x="1181" y="933"/>
                  </a:lnTo>
                  <a:lnTo>
                    <a:pt x="1214" y="933"/>
                  </a:lnTo>
                  <a:lnTo>
                    <a:pt x="1219" y="945"/>
                  </a:lnTo>
                  <a:lnTo>
                    <a:pt x="1226" y="945"/>
                  </a:lnTo>
                  <a:lnTo>
                    <a:pt x="1235" y="955"/>
                  </a:lnTo>
                  <a:lnTo>
                    <a:pt x="1226" y="971"/>
                  </a:lnTo>
                  <a:lnTo>
                    <a:pt x="1257" y="988"/>
                  </a:lnTo>
                  <a:lnTo>
                    <a:pt x="1295" y="988"/>
                  </a:lnTo>
                  <a:lnTo>
                    <a:pt x="1323" y="978"/>
                  </a:lnTo>
                  <a:lnTo>
                    <a:pt x="1344" y="995"/>
                  </a:lnTo>
                  <a:lnTo>
                    <a:pt x="1344" y="1033"/>
                  </a:lnTo>
                  <a:lnTo>
                    <a:pt x="1349" y="1049"/>
                  </a:lnTo>
                  <a:lnTo>
                    <a:pt x="1361" y="1056"/>
                  </a:lnTo>
                  <a:lnTo>
                    <a:pt x="1361" y="1066"/>
                  </a:lnTo>
                  <a:lnTo>
                    <a:pt x="1361" y="1066"/>
                  </a:lnTo>
                  <a:lnTo>
                    <a:pt x="1361" y="1066"/>
                  </a:lnTo>
                  <a:close/>
                  <a:moveTo>
                    <a:pt x="2754" y="860"/>
                  </a:moveTo>
                  <a:lnTo>
                    <a:pt x="2764" y="860"/>
                  </a:lnTo>
                  <a:lnTo>
                    <a:pt x="2771" y="867"/>
                  </a:lnTo>
                  <a:lnTo>
                    <a:pt x="2771" y="884"/>
                  </a:lnTo>
                  <a:lnTo>
                    <a:pt x="2764" y="889"/>
                  </a:lnTo>
                  <a:lnTo>
                    <a:pt x="2738" y="867"/>
                  </a:lnTo>
                  <a:lnTo>
                    <a:pt x="2754" y="860"/>
                  </a:lnTo>
                  <a:lnTo>
                    <a:pt x="2754" y="860"/>
                  </a:lnTo>
                  <a:lnTo>
                    <a:pt x="2754" y="860"/>
                  </a:lnTo>
                  <a:close/>
                  <a:moveTo>
                    <a:pt x="2733" y="860"/>
                  </a:moveTo>
                  <a:lnTo>
                    <a:pt x="2733" y="867"/>
                  </a:lnTo>
                  <a:lnTo>
                    <a:pt x="2750" y="884"/>
                  </a:lnTo>
                  <a:lnTo>
                    <a:pt x="2738" y="884"/>
                  </a:lnTo>
                  <a:lnTo>
                    <a:pt x="2726" y="867"/>
                  </a:lnTo>
                  <a:lnTo>
                    <a:pt x="2726" y="860"/>
                  </a:lnTo>
                  <a:lnTo>
                    <a:pt x="2733" y="860"/>
                  </a:lnTo>
                  <a:lnTo>
                    <a:pt x="2733" y="860"/>
                  </a:lnTo>
                  <a:lnTo>
                    <a:pt x="2733" y="860"/>
                  </a:lnTo>
                  <a:close/>
                  <a:moveTo>
                    <a:pt x="2726" y="877"/>
                  </a:moveTo>
                  <a:lnTo>
                    <a:pt x="2754" y="905"/>
                  </a:lnTo>
                  <a:lnTo>
                    <a:pt x="2733" y="933"/>
                  </a:lnTo>
                  <a:lnTo>
                    <a:pt x="2726" y="917"/>
                  </a:lnTo>
                  <a:lnTo>
                    <a:pt x="2726" y="877"/>
                  </a:lnTo>
                  <a:lnTo>
                    <a:pt x="2726" y="877"/>
                  </a:lnTo>
                  <a:lnTo>
                    <a:pt x="2726" y="877"/>
                  </a:lnTo>
                  <a:close/>
                  <a:moveTo>
                    <a:pt x="2750" y="884"/>
                  </a:moveTo>
                  <a:lnTo>
                    <a:pt x="2764" y="889"/>
                  </a:lnTo>
                  <a:lnTo>
                    <a:pt x="2754" y="900"/>
                  </a:lnTo>
                  <a:lnTo>
                    <a:pt x="2738" y="889"/>
                  </a:lnTo>
                  <a:lnTo>
                    <a:pt x="2750" y="884"/>
                  </a:lnTo>
                  <a:lnTo>
                    <a:pt x="2750" y="884"/>
                  </a:lnTo>
                  <a:lnTo>
                    <a:pt x="2750" y="884"/>
                  </a:lnTo>
                  <a:close/>
                  <a:moveTo>
                    <a:pt x="2780" y="884"/>
                  </a:moveTo>
                  <a:lnTo>
                    <a:pt x="2780" y="900"/>
                  </a:lnTo>
                  <a:lnTo>
                    <a:pt x="2771" y="889"/>
                  </a:lnTo>
                  <a:lnTo>
                    <a:pt x="2780" y="884"/>
                  </a:lnTo>
                  <a:lnTo>
                    <a:pt x="2780" y="884"/>
                  </a:lnTo>
                  <a:lnTo>
                    <a:pt x="2780" y="884"/>
                  </a:lnTo>
                  <a:close/>
                  <a:moveTo>
                    <a:pt x="2764" y="889"/>
                  </a:moveTo>
                  <a:lnTo>
                    <a:pt x="2771" y="900"/>
                  </a:lnTo>
                  <a:lnTo>
                    <a:pt x="2764" y="900"/>
                  </a:lnTo>
                  <a:lnTo>
                    <a:pt x="2764" y="889"/>
                  </a:lnTo>
                  <a:lnTo>
                    <a:pt x="2764" y="889"/>
                  </a:lnTo>
                  <a:lnTo>
                    <a:pt x="2764" y="889"/>
                  </a:lnTo>
                  <a:close/>
                  <a:moveTo>
                    <a:pt x="702" y="900"/>
                  </a:moveTo>
                  <a:lnTo>
                    <a:pt x="697" y="905"/>
                  </a:lnTo>
                  <a:lnTo>
                    <a:pt x="702" y="900"/>
                  </a:lnTo>
                  <a:lnTo>
                    <a:pt x="702" y="900"/>
                  </a:lnTo>
                  <a:lnTo>
                    <a:pt x="702" y="900"/>
                  </a:lnTo>
                  <a:close/>
                  <a:moveTo>
                    <a:pt x="3040" y="917"/>
                  </a:moveTo>
                  <a:lnTo>
                    <a:pt x="3057" y="922"/>
                  </a:lnTo>
                  <a:lnTo>
                    <a:pt x="3052" y="922"/>
                  </a:lnTo>
                  <a:lnTo>
                    <a:pt x="3040" y="917"/>
                  </a:lnTo>
                  <a:lnTo>
                    <a:pt x="3040" y="917"/>
                  </a:lnTo>
                  <a:lnTo>
                    <a:pt x="3040" y="917"/>
                  </a:lnTo>
                  <a:close/>
                  <a:moveTo>
                    <a:pt x="1403" y="922"/>
                  </a:moveTo>
                  <a:lnTo>
                    <a:pt x="1432" y="933"/>
                  </a:lnTo>
                  <a:lnTo>
                    <a:pt x="1415" y="933"/>
                  </a:lnTo>
                  <a:lnTo>
                    <a:pt x="1403" y="933"/>
                  </a:lnTo>
                  <a:lnTo>
                    <a:pt x="1398" y="933"/>
                  </a:lnTo>
                  <a:lnTo>
                    <a:pt x="1403" y="922"/>
                  </a:lnTo>
                  <a:lnTo>
                    <a:pt x="1403" y="922"/>
                  </a:lnTo>
                  <a:lnTo>
                    <a:pt x="1403" y="922"/>
                  </a:lnTo>
                  <a:close/>
                  <a:moveTo>
                    <a:pt x="1243" y="922"/>
                  </a:moveTo>
                  <a:lnTo>
                    <a:pt x="1311" y="922"/>
                  </a:lnTo>
                  <a:lnTo>
                    <a:pt x="1328" y="933"/>
                  </a:lnTo>
                  <a:lnTo>
                    <a:pt x="1280" y="945"/>
                  </a:lnTo>
                  <a:lnTo>
                    <a:pt x="1226" y="945"/>
                  </a:lnTo>
                  <a:lnTo>
                    <a:pt x="1219" y="938"/>
                  </a:lnTo>
                  <a:lnTo>
                    <a:pt x="1243" y="922"/>
                  </a:lnTo>
                  <a:lnTo>
                    <a:pt x="1243" y="922"/>
                  </a:lnTo>
                  <a:lnTo>
                    <a:pt x="1243" y="922"/>
                  </a:lnTo>
                  <a:close/>
                  <a:moveTo>
                    <a:pt x="1781" y="938"/>
                  </a:moveTo>
                  <a:lnTo>
                    <a:pt x="1793" y="938"/>
                  </a:lnTo>
                  <a:lnTo>
                    <a:pt x="1793" y="945"/>
                  </a:lnTo>
                  <a:lnTo>
                    <a:pt x="1781" y="938"/>
                  </a:lnTo>
                  <a:lnTo>
                    <a:pt x="1781" y="938"/>
                  </a:lnTo>
                  <a:lnTo>
                    <a:pt x="1781" y="938"/>
                  </a:lnTo>
                  <a:close/>
                  <a:moveTo>
                    <a:pt x="1332" y="938"/>
                  </a:moveTo>
                  <a:lnTo>
                    <a:pt x="1344" y="945"/>
                  </a:lnTo>
                  <a:lnTo>
                    <a:pt x="1332" y="945"/>
                  </a:lnTo>
                  <a:lnTo>
                    <a:pt x="1332" y="938"/>
                  </a:lnTo>
                  <a:lnTo>
                    <a:pt x="1332" y="938"/>
                  </a:lnTo>
                  <a:lnTo>
                    <a:pt x="1332" y="938"/>
                  </a:lnTo>
                  <a:close/>
                  <a:moveTo>
                    <a:pt x="2339" y="938"/>
                  </a:moveTo>
                  <a:lnTo>
                    <a:pt x="2348" y="938"/>
                  </a:lnTo>
                  <a:lnTo>
                    <a:pt x="2339" y="945"/>
                  </a:lnTo>
                  <a:lnTo>
                    <a:pt x="2332" y="945"/>
                  </a:lnTo>
                  <a:lnTo>
                    <a:pt x="2339" y="938"/>
                  </a:lnTo>
                  <a:lnTo>
                    <a:pt x="2339" y="938"/>
                  </a:lnTo>
                  <a:lnTo>
                    <a:pt x="2339" y="938"/>
                  </a:lnTo>
                  <a:close/>
                  <a:moveTo>
                    <a:pt x="2565" y="938"/>
                  </a:moveTo>
                  <a:lnTo>
                    <a:pt x="2570" y="938"/>
                  </a:lnTo>
                  <a:lnTo>
                    <a:pt x="2575" y="955"/>
                  </a:lnTo>
                  <a:lnTo>
                    <a:pt x="2565" y="938"/>
                  </a:lnTo>
                  <a:lnTo>
                    <a:pt x="2565" y="938"/>
                  </a:lnTo>
                  <a:lnTo>
                    <a:pt x="2565" y="938"/>
                  </a:lnTo>
                  <a:close/>
                  <a:moveTo>
                    <a:pt x="2554" y="938"/>
                  </a:moveTo>
                  <a:lnTo>
                    <a:pt x="2565" y="945"/>
                  </a:lnTo>
                  <a:lnTo>
                    <a:pt x="2554" y="955"/>
                  </a:lnTo>
                  <a:lnTo>
                    <a:pt x="2554" y="978"/>
                  </a:lnTo>
                  <a:lnTo>
                    <a:pt x="2537" y="995"/>
                  </a:lnTo>
                  <a:lnTo>
                    <a:pt x="2532" y="1011"/>
                  </a:lnTo>
                  <a:lnTo>
                    <a:pt x="2516" y="1011"/>
                  </a:lnTo>
                  <a:lnTo>
                    <a:pt x="2516" y="995"/>
                  </a:lnTo>
                  <a:lnTo>
                    <a:pt x="2523" y="971"/>
                  </a:lnTo>
                  <a:lnTo>
                    <a:pt x="2554" y="938"/>
                  </a:lnTo>
                  <a:lnTo>
                    <a:pt x="2554" y="938"/>
                  </a:lnTo>
                  <a:lnTo>
                    <a:pt x="2554" y="938"/>
                  </a:lnTo>
                  <a:close/>
                  <a:moveTo>
                    <a:pt x="1814" y="955"/>
                  </a:moveTo>
                  <a:lnTo>
                    <a:pt x="1819" y="962"/>
                  </a:lnTo>
                  <a:lnTo>
                    <a:pt x="1814" y="962"/>
                  </a:lnTo>
                  <a:lnTo>
                    <a:pt x="1814" y="955"/>
                  </a:lnTo>
                  <a:lnTo>
                    <a:pt x="1814" y="955"/>
                  </a:lnTo>
                  <a:lnTo>
                    <a:pt x="1814" y="955"/>
                  </a:lnTo>
                  <a:close/>
                  <a:moveTo>
                    <a:pt x="1864" y="962"/>
                  </a:moveTo>
                  <a:lnTo>
                    <a:pt x="1869" y="962"/>
                  </a:lnTo>
                  <a:lnTo>
                    <a:pt x="1864" y="962"/>
                  </a:lnTo>
                  <a:lnTo>
                    <a:pt x="1864" y="962"/>
                  </a:lnTo>
                  <a:lnTo>
                    <a:pt x="1864" y="962"/>
                  </a:lnTo>
                  <a:close/>
                  <a:moveTo>
                    <a:pt x="3040" y="962"/>
                  </a:moveTo>
                  <a:lnTo>
                    <a:pt x="3057" y="962"/>
                  </a:lnTo>
                  <a:lnTo>
                    <a:pt x="3073" y="978"/>
                  </a:lnTo>
                  <a:lnTo>
                    <a:pt x="3057" y="1011"/>
                  </a:lnTo>
                  <a:lnTo>
                    <a:pt x="3024" y="1033"/>
                  </a:lnTo>
                  <a:lnTo>
                    <a:pt x="2986" y="1033"/>
                  </a:lnTo>
                  <a:lnTo>
                    <a:pt x="2969" y="1033"/>
                  </a:lnTo>
                  <a:lnTo>
                    <a:pt x="3002" y="978"/>
                  </a:lnTo>
                  <a:lnTo>
                    <a:pt x="3040" y="962"/>
                  </a:lnTo>
                  <a:lnTo>
                    <a:pt x="3040" y="962"/>
                  </a:lnTo>
                  <a:lnTo>
                    <a:pt x="3040" y="962"/>
                  </a:lnTo>
                  <a:close/>
                  <a:moveTo>
                    <a:pt x="2511" y="962"/>
                  </a:moveTo>
                  <a:lnTo>
                    <a:pt x="2523" y="962"/>
                  </a:lnTo>
                  <a:lnTo>
                    <a:pt x="2511" y="971"/>
                  </a:lnTo>
                  <a:lnTo>
                    <a:pt x="2511" y="962"/>
                  </a:lnTo>
                  <a:lnTo>
                    <a:pt x="2511" y="962"/>
                  </a:lnTo>
                  <a:lnTo>
                    <a:pt x="2511" y="962"/>
                  </a:lnTo>
                  <a:close/>
                  <a:moveTo>
                    <a:pt x="2251" y="971"/>
                  </a:moveTo>
                  <a:lnTo>
                    <a:pt x="2263" y="978"/>
                  </a:lnTo>
                  <a:lnTo>
                    <a:pt x="2251" y="978"/>
                  </a:lnTo>
                  <a:lnTo>
                    <a:pt x="2251" y="971"/>
                  </a:lnTo>
                  <a:lnTo>
                    <a:pt x="2251" y="971"/>
                  </a:lnTo>
                  <a:lnTo>
                    <a:pt x="2251" y="971"/>
                  </a:lnTo>
                  <a:close/>
                  <a:moveTo>
                    <a:pt x="2154" y="978"/>
                  </a:moveTo>
                  <a:lnTo>
                    <a:pt x="2171" y="988"/>
                  </a:lnTo>
                  <a:lnTo>
                    <a:pt x="2197" y="978"/>
                  </a:lnTo>
                  <a:lnTo>
                    <a:pt x="2213" y="988"/>
                  </a:lnTo>
                  <a:lnTo>
                    <a:pt x="2187" y="1000"/>
                  </a:lnTo>
                  <a:lnTo>
                    <a:pt x="2159" y="995"/>
                  </a:lnTo>
                  <a:lnTo>
                    <a:pt x="2138" y="1011"/>
                  </a:lnTo>
                  <a:lnTo>
                    <a:pt x="2154" y="978"/>
                  </a:lnTo>
                  <a:lnTo>
                    <a:pt x="2154" y="978"/>
                  </a:lnTo>
                  <a:lnTo>
                    <a:pt x="2154" y="978"/>
                  </a:lnTo>
                  <a:close/>
                  <a:moveTo>
                    <a:pt x="2407" y="995"/>
                  </a:moveTo>
                  <a:lnTo>
                    <a:pt x="2424" y="995"/>
                  </a:lnTo>
                  <a:lnTo>
                    <a:pt x="2424" y="1011"/>
                  </a:lnTo>
                  <a:lnTo>
                    <a:pt x="2407" y="1000"/>
                  </a:lnTo>
                  <a:lnTo>
                    <a:pt x="2407" y="995"/>
                  </a:lnTo>
                  <a:lnTo>
                    <a:pt x="2407" y="995"/>
                  </a:lnTo>
                  <a:lnTo>
                    <a:pt x="2407" y="995"/>
                  </a:lnTo>
                  <a:close/>
                  <a:moveTo>
                    <a:pt x="2242" y="1011"/>
                  </a:moveTo>
                  <a:lnTo>
                    <a:pt x="2246" y="1011"/>
                  </a:lnTo>
                  <a:lnTo>
                    <a:pt x="2242" y="1011"/>
                  </a:lnTo>
                  <a:lnTo>
                    <a:pt x="2242" y="1011"/>
                  </a:lnTo>
                  <a:lnTo>
                    <a:pt x="2242" y="1011"/>
                  </a:lnTo>
                  <a:close/>
                  <a:moveTo>
                    <a:pt x="1349" y="1011"/>
                  </a:moveTo>
                  <a:lnTo>
                    <a:pt x="1382" y="1016"/>
                  </a:lnTo>
                  <a:lnTo>
                    <a:pt x="1398" y="1011"/>
                  </a:lnTo>
                  <a:lnTo>
                    <a:pt x="1420" y="1016"/>
                  </a:lnTo>
                  <a:lnTo>
                    <a:pt x="1436" y="1033"/>
                  </a:lnTo>
                  <a:lnTo>
                    <a:pt x="1403" y="1049"/>
                  </a:lnTo>
                  <a:lnTo>
                    <a:pt x="1398" y="1056"/>
                  </a:lnTo>
                  <a:lnTo>
                    <a:pt x="1403" y="1066"/>
                  </a:lnTo>
                  <a:lnTo>
                    <a:pt x="1398" y="1066"/>
                  </a:lnTo>
                  <a:lnTo>
                    <a:pt x="1398" y="1056"/>
                  </a:lnTo>
                  <a:lnTo>
                    <a:pt x="1377" y="1044"/>
                  </a:lnTo>
                  <a:lnTo>
                    <a:pt x="1361" y="1033"/>
                  </a:lnTo>
                  <a:lnTo>
                    <a:pt x="1349" y="1016"/>
                  </a:lnTo>
                  <a:lnTo>
                    <a:pt x="1349" y="1011"/>
                  </a:lnTo>
                  <a:lnTo>
                    <a:pt x="1349" y="1011"/>
                  </a:lnTo>
                  <a:lnTo>
                    <a:pt x="1349" y="1011"/>
                  </a:lnTo>
                  <a:close/>
                  <a:moveTo>
                    <a:pt x="1722" y="1056"/>
                  </a:moveTo>
                  <a:lnTo>
                    <a:pt x="1722" y="1049"/>
                  </a:lnTo>
                  <a:lnTo>
                    <a:pt x="1755" y="1028"/>
                  </a:lnTo>
                  <a:lnTo>
                    <a:pt x="1798" y="1033"/>
                  </a:lnTo>
                  <a:lnTo>
                    <a:pt x="1847" y="1049"/>
                  </a:lnTo>
                  <a:lnTo>
                    <a:pt x="1852" y="1044"/>
                  </a:lnTo>
                  <a:lnTo>
                    <a:pt x="1873" y="1044"/>
                  </a:lnTo>
                  <a:lnTo>
                    <a:pt x="1902" y="1049"/>
                  </a:lnTo>
                  <a:lnTo>
                    <a:pt x="1906" y="1049"/>
                  </a:lnTo>
                  <a:lnTo>
                    <a:pt x="1923" y="1033"/>
                  </a:lnTo>
                  <a:lnTo>
                    <a:pt x="1939" y="1028"/>
                  </a:lnTo>
                  <a:lnTo>
                    <a:pt x="1944" y="1016"/>
                  </a:lnTo>
                  <a:lnTo>
                    <a:pt x="1928" y="1028"/>
                  </a:lnTo>
                  <a:lnTo>
                    <a:pt x="1939" y="1011"/>
                  </a:lnTo>
                  <a:lnTo>
                    <a:pt x="1944" y="1016"/>
                  </a:lnTo>
                  <a:lnTo>
                    <a:pt x="1944" y="1028"/>
                  </a:lnTo>
                  <a:lnTo>
                    <a:pt x="1928" y="1033"/>
                  </a:lnTo>
                  <a:lnTo>
                    <a:pt x="1939" y="1049"/>
                  </a:lnTo>
                  <a:lnTo>
                    <a:pt x="1864" y="1073"/>
                  </a:lnTo>
                  <a:lnTo>
                    <a:pt x="1835" y="1066"/>
                  </a:lnTo>
                  <a:lnTo>
                    <a:pt x="1831" y="1073"/>
                  </a:lnTo>
                  <a:lnTo>
                    <a:pt x="1809" y="1073"/>
                  </a:lnTo>
                  <a:lnTo>
                    <a:pt x="1776" y="1066"/>
                  </a:lnTo>
                  <a:lnTo>
                    <a:pt x="1727" y="1066"/>
                  </a:lnTo>
                  <a:lnTo>
                    <a:pt x="1722" y="1056"/>
                  </a:lnTo>
                  <a:lnTo>
                    <a:pt x="1722" y="1056"/>
                  </a:lnTo>
                  <a:lnTo>
                    <a:pt x="1722" y="1056"/>
                  </a:lnTo>
                  <a:close/>
                  <a:moveTo>
                    <a:pt x="1684" y="1056"/>
                  </a:moveTo>
                  <a:lnTo>
                    <a:pt x="1668" y="1066"/>
                  </a:lnTo>
                  <a:lnTo>
                    <a:pt x="1658" y="1056"/>
                  </a:lnTo>
                  <a:lnTo>
                    <a:pt x="1651" y="1056"/>
                  </a:lnTo>
                  <a:lnTo>
                    <a:pt x="1647" y="1056"/>
                  </a:lnTo>
                  <a:lnTo>
                    <a:pt x="1658" y="1066"/>
                  </a:lnTo>
                  <a:lnTo>
                    <a:pt x="1630" y="1066"/>
                  </a:lnTo>
                  <a:lnTo>
                    <a:pt x="1621" y="1066"/>
                  </a:lnTo>
                  <a:lnTo>
                    <a:pt x="1621" y="1049"/>
                  </a:lnTo>
                  <a:lnTo>
                    <a:pt x="1604" y="1066"/>
                  </a:lnTo>
                  <a:lnTo>
                    <a:pt x="1576" y="1073"/>
                  </a:lnTo>
                  <a:lnTo>
                    <a:pt x="1550" y="1082"/>
                  </a:lnTo>
                  <a:lnTo>
                    <a:pt x="1545" y="1082"/>
                  </a:lnTo>
                  <a:lnTo>
                    <a:pt x="1528" y="1089"/>
                  </a:lnTo>
                  <a:lnTo>
                    <a:pt x="1507" y="1073"/>
                  </a:lnTo>
                  <a:lnTo>
                    <a:pt x="1512" y="1049"/>
                  </a:lnTo>
                  <a:lnTo>
                    <a:pt x="1538" y="1033"/>
                  </a:lnTo>
                  <a:lnTo>
                    <a:pt x="1559" y="1044"/>
                  </a:lnTo>
                  <a:lnTo>
                    <a:pt x="1566" y="1033"/>
                  </a:lnTo>
                  <a:lnTo>
                    <a:pt x="1566" y="1044"/>
                  </a:lnTo>
                  <a:lnTo>
                    <a:pt x="1592" y="1056"/>
                  </a:lnTo>
                  <a:lnTo>
                    <a:pt x="1597" y="1056"/>
                  </a:lnTo>
                  <a:lnTo>
                    <a:pt x="1613" y="1056"/>
                  </a:lnTo>
                  <a:lnTo>
                    <a:pt x="1613" y="1049"/>
                  </a:lnTo>
                  <a:lnTo>
                    <a:pt x="1597" y="1044"/>
                  </a:lnTo>
                  <a:lnTo>
                    <a:pt x="1576" y="1028"/>
                  </a:lnTo>
                  <a:lnTo>
                    <a:pt x="1576" y="1016"/>
                  </a:lnTo>
                  <a:lnTo>
                    <a:pt x="1592" y="1011"/>
                  </a:lnTo>
                  <a:lnTo>
                    <a:pt x="1604" y="1016"/>
                  </a:lnTo>
                  <a:lnTo>
                    <a:pt x="1621" y="1033"/>
                  </a:lnTo>
                  <a:lnTo>
                    <a:pt x="1630" y="1028"/>
                  </a:lnTo>
                  <a:lnTo>
                    <a:pt x="1647" y="1028"/>
                  </a:lnTo>
                  <a:lnTo>
                    <a:pt x="1647" y="1049"/>
                  </a:lnTo>
                  <a:lnTo>
                    <a:pt x="1651" y="1028"/>
                  </a:lnTo>
                  <a:lnTo>
                    <a:pt x="1668" y="1028"/>
                  </a:lnTo>
                  <a:lnTo>
                    <a:pt x="1668" y="1049"/>
                  </a:lnTo>
                  <a:lnTo>
                    <a:pt x="1684" y="1056"/>
                  </a:lnTo>
                  <a:lnTo>
                    <a:pt x="1684" y="1056"/>
                  </a:lnTo>
                  <a:lnTo>
                    <a:pt x="1684" y="1056"/>
                  </a:lnTo>
                  <a:close/>
                  <a:moveTo>
                    <a:pt x="2495" y="1033"/>
                  </a:moveTo>
                  <a:lnTo>
                    <a:pt x="2511" y="1011"/>
                  </a:lnTo>
                  <a:lnTo>
                    <a:pt x="2523" y="1016"/>
                  </a:lnTo>
                  <a:lnTo>
                    <a:pt x="2495" y="1033"/>
                  </a:lnTo>
                  <a:lnTo>
                    <a:pt x="2495" y="1033"/>
                  </a:lnTo>
                  <a:lnTo>
                    <a:pt x="2495" y="1033"/>
                  </a:lnTo>
                  <a:close/>
                  <a:moveTo>
                    <a:pt x="2284" y="1011"/>
                  </a:moveTo>
                  <a:lnTo>
                    <a:pt x="2306" y="1016"/>
                  </a:lnTo>
                  <a:lnTo>
                    <a:pt x="2301" y="1028"/>
                  </a:lnTo>
                  <a:lnTo>
                    <a:pt x="2284" y="1016"/>
                  </a:lnTo>
                  <a:lnTo>
                    <a:pt x="2284" y="1011"/>
                  </a:lnTo>
                  <a:lnTo>
                    <a:pt x="2284" y="1011"/>
                  </a:lnTo>
                  <a:lnTo>
                    <a:pt x="2284" y="1011"/>
                  </a:lnTo>
                  <a:close/>
                  <a:moveTo>
                    <a:pt x="2053" y="1016"/>
                  </a:moveTo>
                  <a:lnTo>
                    <a:pt x="2091" y="1016"/>
                  </a:lnTo>
                  <a:lnTo>
                    <a:pt x="2100" y="1028"/>
                  </a:lnTo>
                  <a:lnTo>
                    <a:pt x="2046" y="1044"/>
                  </a:lnTo>
                  <a:lnTo>
                    <a:pt x="2053" y="1016"/>
                  </a:lnTo>
                  <a:lnTo>
                    <a:pt x="2053" y="1016"/>
                  </a:lnTo>
                  <a:lnTo>
                    <a:pt x="2053" y="1016"/>
                  </a:lnTo>
                  <a:close/>
                  <a:moveTo>
                    <a:pt x="1672" y="1016"/>
                  </a:moveTo>
                  <a:lnTo>
                    <a:pt x="1668" y="1028"/>
                  </a:lnTo>
                  <a:lnTo>
                    <a:pt x="1672" y="1016"/>
                  </a:lnTo>
                  <a:lnTo>
                    <a:pt x="1672" y="1016"/>
                  </a:lnTo>
                  <a:lnTo>
                    <a:pt x="1672" y="1016"/>
                  </a:lnTo>
                  <a:close/>
                  <a:moveTo>
                    <a:pt x="1566" y="1033"/>
                  </a:moveTo>
                  <a:lnTo>
                    <a:pt x="1559" y="1016"/>
                  </a:lnTo>
                  <a:lnTo>
                    <a:pt x="1576" y="1016"/>
                  </a:lnTo>
                  <a:lnTo>
                    <a:pt x="1566" y="1033"/>
                  </a:lnTo>
                  <a:lnTo>
                    <a:pt x="1566" y="1033"/>
                  </a:lnTo>
                  <a:lnTo>
                    <a:pt x="1566" y="1033"/>
                  </a:lnTo>
                  <a:close/>
                  <a:moveTo>
                    <a:pt x="2280" y="1016"/>
                  </a:moveTo>
                  <a:lnTo>
                    <a:pt x="2284" y="1016"/>
                  </a:lnTo>
                  <a:lnTo>
                    <a:pt x="2268" y="1028"/>
                  </a:lnTo>
                  <a:lnTo>
                    <a:pt x="2280" y="1016"/>
                  </a:lnTo>
                  <a:lnTo>
                    <a:pt x="2280" y="1016"/>
                  </a:lnTo>
                  <a:lnTo>
                    <a:pt x="2280" y="1016"/>
                  </a:lnTo>
                  <a:close/>
                  <a:moveTo>
                    <a:pt x="3057" y="1016"/>
                  </a:moveTo>
                  <a:lnTo>
                    <a:pt x="3061" y="1033"/>
                  </a:lnTo>
                  <a:lnTo>
                    <a:pt x="3040" y="1033"/>
                  </a:lnTo>
                  <a:lnTo>
                    <a:pt x="3052" y="1016"/>
                  </a:lnTo>
                  <a:lnTo>
                    <a:pt x="3057" y="1016"/>
                  </a:lnTo>
                  <a:lnTo>
                    <a:pt x="3057" y="1016"/>
                  </a:lnTo>
                  <a:lnTo>
                    <a:pt x="3057" y="1016"/>
                  </a:lnTo>
                  <a:close/>
                  <a:moveTo>
                    <a:pt x="2015" y="1033"/>
                  </a:moveTo>
                  <a:lnTo>
                    <a:pt x="2024" y="1033"/>
                  </a:lnTo>
                  <a:lnTo>
                    <a:pt x="2036" y="1016"/>
                  </a:lnTo>
                  <a:lnTo>
                    <a:pt x="2024" y="1049"/>
                  </a:lnTo>
                  <a:lnTo>
                    <a:pt x="2015" y="1033"/>
                  </a:lnTo>
                  <a:lnTo>
                    <a:pt x="2008" y="1044"/>
                  </a:lnTo>
                  <a:lnTo>
                    <a:pt x="2015" y="1033"/>
                  </a:lnTo>
                  <a:lnTo>
                    <a:pt x="2015" y="1033"/>
                  </a:lnTo>
                  <a:lnTo>
                    <a:pt x="2015" y="1033"/>
                  </a:lnTo>
                  <a:close/>
                  <a:moveTo>
                    <a:pt x="1977" y="1049"/>
                  </a:moveTo>
                  <a:lnTo>
                    <a:pt x="1961" y="1044"/>
                  </a:lnTo>
                  <a:lnTo>
                    <a:pt x="1982" y="1033"/>
                  </a:lnTo>
                  <a:lnTo>
                    <a:pt x="1970" y="1028"/>
                  </a:lnTo>
                  <a:lnTo>
                    <a:pt x="1977" y="1028"/>
                  </a:lnTo>
                  <a:lnTo>
                    <a:pt x="1982" y="1028"/>
                  </a:lnTo>
                  <a:lnTo>
                    <a:pt x="1991" y="1033"/>
                  </a:lnTo>
                  <a:lnTo>
                    <a:pt x="1998" y="1016"/>
                  </a:lnTo>
                  <a:lnTo>
                    <a:pt x="2015" y="1028"/>
                  </a:lnTo>
                  <a:lnTo>
                    <a:pt x="1977" y="1049"/>
                  </a:lnTo>
                  <a:lnTo>
                    <a:pt x="1977" y="1049"/>
                  </a:lnTo>
                  <a:lnTo>
                    <a:pt x="1977" y="1049"/>
                  </a:lnTo>
                  <a:close/>
                  <a:moveTo>
                    <a:pt x="2306" y="1016"/>
                  </a:moveTo>
                  <a:lnTo>
                    <a:pt x="2317" y="1028"/>
                  </a:lnTo>
                  <a:lnTo>
                    <a:pt x="2306" y="1028"/>
                  </a:lnTo>
                  <a:lnTo>
                    <a:pt x="2306" y="1016"/>
                  </a:lnTo>
                  <a:lnTo>
                    <a:pt x="2306" y="1016"/>
                  </a:lnTo>
                  <a:lnTo>
                    <a:pt x="2306" y="1016"/>
                  </a:lnTo>
                  <a:close/>
                  <a:moveTo>
                    <a:pt x="1484" y="1016"/>
                  </a:moveTo>
                  <a:lnTo>
                    <a:pt x="1507" y="1033"/>
                  </a:lnTo>
                  <a:lnTo>
                    <a:pt x="1495" y="1066"/>
                  </a:lnTo>
                  <a:lnTo>
                    <a:pt x="1495" y="1073"/>
                  </a:lnTo>
                  <a:lnTo>
                    <a:pt x="1491" y="1073"/>
                  </a:lnTo>
                  <a:lnTo>
                    <a:pt x="1491" y="1066"/>
                  </a:lnTo>
                  <a:lnTo>
                    <a:pt x="1469" y="1073"/>
                  </a:lnTo>
                  <a:lnTo>
                    <a:pt x="1441" y="1066"/>
                  </a:lnTo>
                  <a:lnTo>
                    <a:pt x="1441" y="1056"/>
                  </a:lnTo>
                  <a:lnTo>
                    <a:pt x="1458" y="1056"/>
                  </a:lnTo>
                  <a:lnTo>
                    <a:pt x="1458" y="1033"/>
                  </a:lnTo>
                  <a:lnTo>
                    <a:pt x="1484" y="1016"/>
                  </a:lnTo>
                  <a:lnTo>
                    <a:pt x="1484" y="1016"/>
                  </a:lnTo>
                  <a:lnTo>
                    <a:pt x="1484" y="1016"/>
                  </a:lnTo>
                  <a:close/>
                  <a:moveTo>
                    <a:pt x="1954" y="1028"/>
                  </a:moveTo>
                  <a:lnTo>
                    <a:pt x="1970" y="1028"/>
                  </a:lnTo>
                  <a:lnTo>
                    <a:pt x="1970" y="1033"/>
                  </a:lnTo>
                  <a:lnTo>
                    <a:pt x="1944" y="1033"/>
                  </a:lnTo>
                  <a:lnTo>
                    <a:pt x="1954" y="1028"/>
                  </a:lnTo>
                  <a:lnTo>
                    <a:pt x="1954" y="1028"/>
                  </a:lnTo>
                  <a:lnTo>
                    <a:pt x="1954" y="1028"/>
                  </a:lnTo>
                  <a:close/>
                  <a:moveTo>
                    <a:pt x="2024" y="1106"/>
                  </a:moveTo>
                  <a:lnTo>
                    <a:pt x="2062" y="1089"/>
                  </a:lnTo>
                  <a:lnTo>
                    <a:pt x="2084" y="1073"/>
                  </a:lnTo>
                  <a:lnTo>
                    <a:pt x="2100" y="1049"/>
                  </a:lnTo>
                  <a:lnTo>
                    <a:pt x="2187" y="1033"/>
                  </a:lnTo>
                  <a:lnTo>
                    <a:pt x="2197" y="1044"/>
                  </a:lnTo>
                  <a:lnTo>
                    <a:pt x="2230" y="1028"/>
                  </a:lnTo>
                  <a:lnTo>
                    <a:pt x="2246" y="1033"/>
                  </a:lnTo>
                  <a:lnTo>
                    <a:pt x="2230" y="1056"/>
                  </a:lnTo>
                  <a:lnTo>
                    <a:pt x="2197" y="1066"/>
                  </a:lnTo>
                  <a:lnTo>
                    <a:pt x="2192" y="1073"/>
                  </a:lnTo>
                  <a:lnTo>
                    <a:pt x="2171" y="1082"/>
                  </a:lnTo>
                  <a:lnTo>
                    <a:pt x="2117" y="1099"/>
                  </a:lnTo>
                  <a:lnTo>
                    <a:pt x="2091" y="1111"/>
                  </a:lnTo>
                  <a:lnTo>
                    <a:pt x="2084" y="1127"/>
                  </a:lnTo>
                  <a:lnTo>
                    <a:pt x="2046" y="1160"/>
                  </a:lnTo>
                  <a:lnTo>
                    <a:pt x="2024" y="1160"/>
                  </a:lnTo>
                  <a:lnTo>
                    <a:pt x="2008" y="1177"/>
                  </a:lnTo>
                  <a:lnTo>
                    <a:pt x="1982" y="1177"/>
                  </a:lnTo>
                  <a:lnTo>
                    <a:pt x="1982" y="1165"/>
                  </a:lnTo>
                  <a:lnTo>
                    <a:pt x="1998" y="1160"/>
                  </a:lnTo>
                  <a:lnTo>
                    <a:pt x="1982" y="1155"/>
                  </a:lnTo>
                  <a:lnTo>
                    <a:pt x="1991" y="1127"/>
                  </a:lnTo>
                  <a:lnTo>
                    <a:pt x="2024" y="1106"/>
                  </a:lnTo>
                  <a:lnTo>
                    <a:pt x="2024" y="1106"/>
                  </a:lnTo>
                  <a:lnTo>
                    <a:pt x="2024" y="1106"/>
                  </a:lnTo>
                  <a:close/>
                  <a:moveTo>
                    <a:pt x="1701" y="1033"/>
                  </a:moveTo>
                  <a:lnTo>
                    <a:pt x="1706" y="1049"/>
                  </a:lnTo>
                  <a:lnTo>
                    <a:pt x="1701" y="1049"/>
                  </a:lnTo>
                  <a:lnTo>
                    <a:pt x="1701" y="1056"/>
                  </a:lnTo>
                  <a:lnTo>
                    <a:pt x="1689" y="1056"/>
                  </a:lnTo>
                  <a:lnTo>
                    <a:pt x="1701" y="1033"/>
                  </a:lnTo>
                  <a:lnTo>
                    <a:pt x="1701" y="1033"/>
                  </a:lnTo>
                  <a:lnTo>
                    <a:pt x="1701" y="1033"/>
                  </a:lnTo>
                  <a:close/>
                  <a:moveTo>
                    <a:pt x="1944" y="1049"/>
                  </a:moveTo>
                  <a:lnTo>
                    <a:pt x="1944" y="1044"/>
                  </a:lnTo>
                  <a:lnTo>
                    <a:pt x="1961" y="1044"/>
                  </a:lnTo>
                  <a:lnTo>
                    <a:pt x="1944" y="1049"/>
                  </a:lnTo>
                  <a:lnTo>
                    <a:pt x="1944" y="1049"/>
                  </a:lnTo>
                  <a:lnTo>
                    <a:pt x="1944" y="1049"/>
                  </a:lnTo>
                  <a:close/>
                  <a:moveTo>
                    <a:pt x="1269" y="1044"/>
                  </a:moveTo>
                  <a:lnTo>
                    <a:pt x="1269" y="1033"/>
                  </a:lnTo>
                  <a:lnTo>
                    <a:pt x="1273" y="1044"/>
                  </a:lnTo>
                  <a:lnTo>
                    <a:pt x="1269" y="1044"/>
                  </a:lnTo>
                  <a:lnTo>
                    <a:pt x="1269" y="1044"/>
                  </a:lnTo>
                  <a:lnTo>
                    <a:pt x="1269" y="1044"/>
                  </a:lnTo>
                  <a:close/>
                  <a:moveTo>
                    <a:pt x="1710" y="1056"/>
                  </a:moveTo>
                  <a:lnTo>
                    <a:pt x="1710" y="1066"/>
                  </a:lnTo>
                  <a:lnTo>
                    <a:pt x="1706" y="1066"/>
                  </a:lnTo>
                  <a:lnTo>
                    <a:pt x="1710" y="1049"/>
                  </a:lnTo>
                  <a:lnTo>
                    <a:pt x="1710" y="1056"/>
                  </a:lnTo>
                  <a:lnTo>
                    <a:pt x="1710" y="1056"/>
                  </a:lnTo>
                  <a:lnTo>
                    <a:pt x="1710" y="1056"/>
                  </a:lnTo>
                  <a:close/>
                  <a:moveTo>
                    <a:pt x="1432" y="1066"/>
                  </a:moveTo>
                  <a:lnTo>
                    <a:pt x="1420" y="1056"/>
                  </a:lnTo>
                  <a:lnTo>
                    <a:pt x="1432" y="1056"/>
                  </a:lnTo>
                  <a:lnTo>
                    <a:pt x="1432" y="1066"/>
                  </a:lnTo>
                  <a:lnTo>
                    <a:pt x="1432" y="1066"/>
                  </a:lnTo>
                  <a:lnTo>
                    <a:pt x="1432" y="1066"/>
                  </a:lnTo>
                  <a:close/>
                  <a:moveTo>
                    <a:pt x="1684" y="1139"/>
                  </a:moveTo>
                  <a:lnTo>
                    <a:pt x="1658" y="1122"/>
                  </a:lnTo>
                  <a:lnTo>
                    <a:pt x="1668" y="1111"/>
                  </a:lnTo>
                  <a:lnTo>
                    <a:pt x="1684" y="1106"/>
                  </a:lnTo>
                  <a:lnTo>
                    <a:pt x="1722" y="1106"/>
                  </a:lnTo>
                  <a:lnTo>
                    <a:pt x="1727" y="1099"/>
                  </a:lnTo>
                  <a:lnTo>
                    <a:pt x="1755" y="1111"/>
                  </a:lnTo>
                  <a:lnTo>
                    <a:pt x="1755" y="1127"/>
                  </a:lnTo>
                  <a:lnTo>
                    <a:pt x="1765" y="1122"/>
                  </a:lnTo>
                  <a:lnTo>
                    <a:pt x="1776" y="1127"/>
                  </a:lnTo>
                  <a:lnTo>
                    <a:pt x="1798" y="1160"/>
                  </a:lnTo>
                  <a:lnTo>
                    <a:pt x="1781" y="1165"/>
                  </a:lnTo>
                  <a:lnTo>
                    <a:pt x="1755" y="1165"/>
                  </a:lnTo>
                  <a:lnTo>
                    <a:pt x="1710" y="1139"/>
                  </a:lnTo>
                  <a:lnTo>
                    <a:pt x="1684" y="1139"/>
                  </a:lnTo>
                  <a:lnTo>
                    <a:pt x="1684" y="1139"/>
                  </a:lnTo>
                  <a:lnTo>
                    <a:pt x="1684" y="1139"/>
                  </a:lnTo>
                  <a:close/>
                  <a:moveTo>
                    <a:pt x="1977" y="1160"/>
                  </a:moveTo>
                  <a:lnTo>
                    <a:pt x="1982" y="1165"/>
                  </a:lnTo>
                  <a:lnTo>
                    <a:pt x="1970" y="1177"/>
                  </a:lnTo>
                  <a:lnTo>
                    <a:pt x="1977" y="1160"/>
                  </a:lnTo>
                  <a:lnTo>
                    <a:pt x="1977" y="1160"/>
                  </a:lnTo>
                  <a:lnTo>
                    <a:pt x="1977" y="1160"/>
                  </a:lnTo>
                  <a:close/>
                  <a:moveTo>
                    <a:pt x="1864" y="1193"/>
                  </a:moveTo>
                  <a:lnTo>
                    <a:pt x="1869" y="1181"/>
                  </a:lnTo>
                  <a:lnTo>
                    <a:pt x="1873" y="1181"/>
                  </a:lnTo>
                  <a:lnTo>
                    <a:pt x="1869" y="1193"/>
                  </a:lnTo>
                  <a:lnTo>
                    <a:pt x="1864" y="1193"/>
                  </a:lnTo>
                  <a:lnTo>
                    <a:pt x="1864" y="1193"/>
                  </a:lnTo>
                  <a:lnTo>
                    <a:pt x="1864" y="1193"/>
                  </a:lnTo>
                  <a:close/>
                  <a:moveTo>
                    <a:pt x="1939" y="1210"/>
                  </a:moveTo>
                  <a:lnTo>
                    <a:pt x="1977" y="1181"/>
                  </a:lnTo>
                  <a:lnTo>
                    <a:pt x="1977" y="1200"/>
                  </a:lnTo>
                  <a:lnTo>
                    <a:pt x="1961" y="1210"/>
                  </a:lnTo>
                  <a:lnTo>
                    <a:pt x="1939" y="1217"/>
                  </a:lnTo>
                  <a:lnTo>
                    <a:pt x="1939" y="1210"/>
                  </a:lnTo>
                  <a:lnTo>
                    <a:pt x="1939" y="1210"/>
                  </a:lnTo>
                  <a:lnTo>
                    <a:pt x="1939" y="1210"/>
                  </a:lnTo>
                  <a:close/>
                </a:path>
              </a:pathLst>
            </a:custGeom>
            <a:solidFill>
              <a:schemeClr val="bg2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26" name="Freeform 468">
              <a:extLst>
                <a:ext uri="{FF2B5EF4-FFF2-40B4-BE49-F238E27FC236}">
                  <a16:creationId xmlns:a16="http://schemas.microsoft.com/office/drawing/2014/main" id="{0B0FA264-39A0-416D-9009-31C3AD80F84A}"/>
                </a:ext>
              </a:extLst>
            </p:cNvPr>
            <p:cNvSpPr>
              <a:spLocks/>
            </p:cNvSpPr>
            <p:nvPr/>
          </p:nvSpPr>
          <p:spPr bwMode="gray">
            <a:xfrm>
              <a:off x="6110360" y="2072721"/>
              <a:ext cx="4604" cy="5833"/>
            </a:xfrm>
            <a:custGeom>
              <a:avLst/>
              <a:gdLst>
                <a:gd name="T0" fmla="*/ 0 w 30"/>
                <a:gd name="T1" fmla="*/ 38 h 38"/>
                <a:gd name="T2" fmla="*/ 0 w 30"/>
                <a:gd name="T3" fmla="*/ 22 h 38"/>
                <a:gd name="T4" fmla="*/ 26 w 30"/>
                <a:gd name="T5" fmla="*/ 0 h 38"/>
                <a:gd name="T6" fmla="*/ 30 w 30"/>
                <a:gd name="T7" fmla="*/ 17 h 38"/>
                <a:gd name="T8" fmla="*/ 26 w 30"/>
                <a:gd name="T9" fmla="*/ 22 h 38"/>
                <a:gd name="T10" fmla="*/ 0 w 30"/>
                <a:gd name="T11" fmla="*/ 38 h 38"/>
                <a:gd name="T12" fmla="*/ 0 w 30"/>
                <a:gd name="T13" fmla="*/ 38 h 38"/>
                <a:gd name="T14" fmla="*/ 0 w 30"/>
                <a:gd name="T15" fmla="*/ 38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0" h="38">
                  <a:moveTo>
                    <a:pt x="0" y="38"/>
                  </a:moveTo>
                  <a:lnTo>
                    <a:pt x="0" y="22"/>
                  </a:lnTo>
                  <a:lnTo>
                    <a:pt x="26" y="0"/>
                  </a:lnTo>
                  <a:lnTo>
                    <a:pt x="30" y="17"/>
                  </a:lnTo>
                  <a:lnTo>
                    <a:pt x="26" y="22"/>
                  </a:lnTo>
                  <a:lnTo>
                    <a:pt x="0" y="38"/>
                  </a:lnTo>
                  <a:lnTo>
                    <a:pt x="0" y="38"/>
                  </a:lnTo>
                  <a:lnTo>
                    <a:pt x="0" y="38"/>
                  </a:lnTo>
                  <a:close/>
                </a:path>
              </a:pathLst>
            </a:custGeom>
            <a:solidFill>
              <a:schemeClr val="bg2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27" name="Freeform 469">
              <a:extLst>
                <a:ext uri="{FF2B5EF4-FFF2-40B4-BE49-F238E27FC236}">
                  <a16:creationId xmlns:a16="http://schemas.microsoft.com/office/drawing/2014/main" id="{ABF6CA62-224A-493A-BA8E-943F788A86D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894156" y="2332736"/>
              <a:ext cx="314624" cy="334613"/>
            </a:xfrm>
            <a:custGeom>
              <a:avLst/>
              <a:gdLst>
                <a:gd name="T0" fmla="*/ 1634 w 2050"/>
                <a:gd name="T1" fmla="*/ 959 h 2180"/>
                <a:gd name="T2" fmla="*/ 1701 w 2050"/>
                <a:gd name="T3" fmla="*/ 839 h 2180"/>
                <a:gd name="T4" fmla="*/ 1507 w 2050"/>
                <a:gd name="T5" fmla="*/ 756 h 2180"/>
                <a:gd name="T6" fmla="*/ 1419 w 2050"/>
                <a:gd name="T7" fmla="*/ 711 h 2180"/>
                <a:gd name="T8" fmla="*/ 1469 w 2050"/>
                <a:gd name="T9" fmla="*/ 810 h 2180"/>
                <a:gd name="T10" fmla="*/ 1441 w 2050"/>
                <a:gd name="T11" fmla="*/ 876 h 2180"/>
                <a:gd name="T12" fmla="*/ 1474 w 2050"/>
                <a:gd name="T13" fmla="*/ 1049 h 2180"/>
                <a:gd name="T14" fmla="*/ 1431 w 2050"/>
                <a:gd name="T15" fmla="*/ 1094 h 2180"/>
                <a:gd name="T16" fmla="*/ 1386 w 2050"/>
                <a:gd name="T17" fmla="*/ 1020 h 2180"/>
                <a:gd name="T18" fmla="*/ 1327 w 2050"/>
                <a:gd name="T19" fmla="*/ 1160 h 2180"/>
                <a:gd name="T20" fmla="*/ 1219 w 2050"/>
                <a:gd name="T21" fmla="*/ 1238 h 2180"/>
                <a:gd name="T22" fmla="*/ 1171 w 2050"/>
                <a:gd name="T23" fmla="*/ 1276 h 2180"/>
                <a:gd name="T24" fmla="*/ 954 w 2050"/>
                <a:gd name="T25" fmla="*/ 1481 h 2180"/>
                <a:gd name="T26" fmla="*/ 848 w 2050"/>
                <a:gd name="T27" fmla="*/ 1609 h 2180"/>
                <a:gd name="T28" fmla="*/ 827 w 2050"/>
                <a:gd name="T29" fmla="*/ 1864 h 2180"/>
                <a:gd name="T30" fmla="*/ 765 w 2050"/>
                <a:gd name="T31" fmla="*/ 1998 h 2180"/>
                <a:gd name="T32" fmla="*/ 593 w 2050"/>
                <a:gd name="T33" fmla="*/ 2020 h 2180"/>
                <a:gd name="T34" fmla="*/ 534 w 2050"/>
                <a:gd name="T35" fmla="*/ 1835 h 2180"/>
                <a:gd name="T36" fmla="*/ 404 w 2050"/>
                <a:gd name="T37" fmla="*/ 1547 h 2180"/>
                <a:gd name="T38" fmla="*/ 340 w 2050"/>
                <a:gd name="T39" fmla="*/ 1292 h 2180"/>
                <a:gd name="T40" fmla="*/ 340 w 2050"/>
                <a:gd name="T41" fmla="*/ 1148 h 2180"/>
                <a:gd name="T42" fmla="*/ 356 w 2050"/>
                <a:gd name="T43" fmla="*/ 1077 h 2180"/>
                <a:gd name="T44" fmla="*/ 286 w 2050"/>
                <a:gd name="T45" fmla="*/ 1037 h 2180"/>
                <a:gd name="T46" fmla="*/ 297 w 2050"/>
                <a:gd name="T47" fmla="*/ 1087 h 2180"/>
                <a:gd name="T48" fmla="*/ 172 w 2050"/>
                <a:gd name="T49" fmla="*/ 983 h 2180"/>
                <a:gd name="T50" fmla="*/ 26 w 2050"/>
                <a:gd name="T51" fmla="*/ 933 h 2180"/>
                <a:gd name="T52" fmla="*/ 64 w 2050"/>
                <a:gd name="T53" fmla="*/ 888 h 2180"/>
                <a:gd name="T54" fmla="*/ 198 w 2050"/>
                <a:gd name="T55" fmla="*/ 872 h 2180"/>
                <a:gd name="T56" fmla="*/ 125 w 2050"/>
                <a:gd name="T57" fmla="*/ 704 h 2180"/>
                <a:gd name="T58" fmla="*/ 286 w 2050"/>
                <a:gd name="T59" fmla="*/ 560 h 2180"/>
                <a:gd name="T60" fmla="*/ 458 w 2050"/>
                <a:gd name="T61" fmla="*/ 354 h 2180"/>
                <a:gd name="T62" fmla="*/ 486 w 2050"/>
                <a:gd name="T63" fmla="*/ 243 h 2180"/>
                <a:gd name="T64" fmla="*/ 411 w 2050"/>
                <a:gd name="T65" fmla="*/ 111 h 2180"/>
                <a:gd name="T66" fmla="*/ 621 w 2050"/>
                <a:gd name="T67" fmla="*/ 61 h 2180"/>
                <a:gd name="T68" fmla="*/ 751 w 2050"/>
                <a:gd name="T69" fmla="*/ 111 h 2180"/>
                <a:gd name="T70" fmla="*/ 751 w 2050"/>
                <a:gd name="T71" fmla="*/ 243 h 2180"/>
                <a:gd name="T72" fmla="*/ 756 w 2050"/>
                <a:gd name="T73" fmla="*/ 338 h 2180"/>
                <a:gd name="T74" fmla="*/ 864 w 2050"/>
                <a:gd name="T75" fmla="*/ 477 h 2180"/>
                <a:gd name="T76" fmla="*/ 982 w 2050"/>
                <a:gd name="T77" fmla="*/ 600 h 2180"/>
                <a:gd name="T78" fmla="*/ 1129 w 2050"/>
                <a:gd name="T79" fmla="*/ 633 h 2180"/>
                <a:gd name="T80" fmla="*/ 1327 w 2050"/>
                <a:gd name="T81" fmla="*/ 711 h 2180"/>
                <a:gd name="T82" fmla="*/ 1403 w 2050"/>
                <a:gd name="T83" fmla="*/ 600 h 2180"/>
                <a:gd name="T84" fmla="*/ 1474 w 2050"/>
                <a:gd name="T85" fmla="*/ 687 h 2180"/>
                <a:gd name="T86" fmla="*/ 1684 w 2050"/>
                <a:gd name="T87" fmla="*/ 683 h 2180"/>
                <a:gd name="T88" fmla="*/ 1710 w 2050"/>
                <a:gd name="T89" fmla="*/ 609 h 2180"/>
                <a:gd name="T90" fmla="*/ 1916 w 2050"/>
                <a:gd name="T91" fmla="*/ 517 h 2180"/>
                <a:gd name="T92" fmla="*/ 1982 w 2050"/>
                <a:gd name="T93" fmla="*/ 555 h 2180"/>
                <a:gd name="T94" fmla="*/ 2024 w 2050"/>
                <a:gd name="T95" fmla="*/ 654 h 2180"/>
                <a:gd name="T96" fmla="*/ 1861 w 2050"/>
                <a:gd name="T97" fmla="*/ 810 h 2180"/>
                <a:gd name="T98" fmla="*/ 1764 w 2050"/>
                <a:gd name="T99" fmla="*/ 983 h 2180"/>
                <a:gd name="T100" fmla="*/ 1705 w 2050"/>
                <a:gd name="T101" fmla="*/ 983 h 2180"/>
                <a:gd name="T102" fmla="*/ 1441 w 2050"/>
                <a:gd name="T103" fmla="*/ 1070 h 2180"/>
                <a:gd name="T104" fmla="*/ 1743 w 2050"/>
                <a:gd name="T105" fmla="*/ 1687 h 2180"/>
                <a:gd name="T106" fmla="*/ 1727 w 2050"/>
                <a:gd name="T107" fmla="*/ 1743 h 2180"/>
                <a:gd name="T108" fmla="*/ 1727 w 2050"/>
                <a:gd name="T109" fmla="*/ 1776 h 2180"/>
                <a:gd name="T110" fmla="*/ 1727 w 2050"/>
                <a:gd name="T111" fmla="*/ 1793 h 2180"/>
                <a:gd name="T112" fmla="*/ 1701 w 2050"/>
                <a:gd name="T113" fmla="*/ 1831 h 2180"/>
                <a:gd name="T114" fmla="*/ 1722 w 2050"/>
                <a:gd name="T115" fmla="*/ 1847 h 2180"/>
                <a:gd name="T116" fmla="*/ 1710 w 2050"/>
                <a:gd name="T117" fmla="*/ 1887 h 2180"/>
                <a:gd name="T118" fmla="*/ 1755 w 2050"/>
                <a:gd name="T119" fmla="*/ 2069 h 2180"/>
                <a:gd name="T120" fmla="*/ 1776 w 2050"/>
                <a:gd name="T121" fmla="*/ 2091 h 2180"/>
                <a:gd name="T122" fmla="*/ 1793 w 2050"/>
                <a:gd name="T123" fmla="*/ 2091 h 2180"/>
                <a:gd name="T124" fmla="*/ 1814 w 2050"/>
                <a:gd name="T125" fmla="*/ 2164 h 2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50" h="2180">
                  <a:moveTo>
                    <a:pt x="1701" y="926"/>
                  </a:moveTo>
                  <a:lnTo>
                    <a:pt x="1684" y="933"/>
                  </a:lnTo>
                  <a:lnTo>
                    <a:pt x="1672" y="926"/>
                  </a:lnTo>
                  <a:lnTo>
                    <a:pt x="1672" y="943"/>
                  </a:lnTo>
                  <a:lnTo>
                    <a:pt x="1656" y="959"/>
                  </a:lnTo>
                  <a:lnTo>
                    <a:pt x="1667" y="976"/>
                  </a:lnTo>
                  <a:lnTo>
                    <a:pt x="1656" y="983"/>
                  </a:lnTo>
                  <a:lnTo>
                    <a:pt x="1646" y="983"/>
                  </a:lnTo>
                  <a:lnTo>
                    <a:pt x="1634" y="959"/>
                  </a:lnTo>
                  <a:lnTo>
                    <a:pt x="1634" y="976"/>
                  </a:lnTo>
                  <a:lnTo>
                    <a:pt x="1630" y="976"/>
                  </a:lnTo>
                  <a:lnTo>
                    <a:pt x="1618" y="933"/>
                  </a:lnTo>
                  <a:lnTo>
                    <a:pt x="1630" y="909"/>
                  </a:lnTo>
                  <a:lnTo>
                    <a:pt x="1634" y="893"/>
                  </a:lnTo>
                  <a:lnTo>
                    <a:pt x="1667" y="893"/>
                  </a:lnTo>
                  <a:lnTo>
                    <a:pt x="1672" y="876"/>
                  </a:lnTo>
                  <a:lnTo>
                    <a:pt x="1689" y="872"/>
                  </a:lnTo>
                  <a:lnTo>
                    <a:pt x="1701" y="839"/>
                  </a:lnTo>
                  <a:lnTo>
                    <a:pt x="1710" y="839"/>
                  </a:lnTo>
                  <a:lnTo>
                    <a:pt x="1705" y="822"/>
                  </a:lnTo>
                  <a:lnTo>
                    <a:pt x="1684" y="815"/>
                  </a:lnTo>
                  <a:lnTo>
                    <a:pt x="1566" y="815"/>
                  </a:lnTo>
                  <a:lnTo>
                    <a:pt x="1528" y="810"/>
                  </a:lnTo>
                  <a:lnTo>
                    <a:pt x="1528" y="761"/>
                  </a:lnTo>
                  <a:lnTo>
                    <a:pt x="1521" y="737"/>
                  </a:lnTo>
                  <a:lnTo>
                    <a:pt x="1512" y="737"/>
                  </a:lnTo>
                  <a:lnTo>
                    <a:pt x="1507" y="756"/>
                  </a:lnTo>
                  <a:lnTo>
                    <a:pt x="1490" y="756"/>
                  </a:lnTo>
                  <a:lnTo>
                    <a:pt x="1474" y="737"/>
                  </a:lnTo>
                  <a:lnTo>
                    <a:pt x="1474" y="721"/>
                  </a:lnTo>
                  <a:lnTo>
                    <a:pt x="1469" y="721"/>
                  </a:lnTo>
                  <a:lnTo>
                    <a:pt x="1457" y="721"/>
                  </a:lnTo>
                  <a:lnTo>
                    <a:pt x="1474" y="728"/>
                  </a:lnTo>
                  <a:lnTo>
                    <a:pt x="1457" y="737"/>
                  </a:lnTo>
                  <a:lnTo>
                    <a:pt x="1431" y="704"/>
                  </a:lnTo>
                  <a:lnTo>
                    <a:pt x="1419" y="711"/>
                  </a:lnTo>
                  <a:lnTo>
                    <a:pt x="1431" y="711"/>
                  </a:lnTo>
                  <a:lnTo>
                    <a:pt x="1436" y="721"/>
                  </a:lnTo>
                  <a:lnTo>
                    <a:pt x="1415" y="737"/>
                  </a:lnTo>
                  <a:lnTo>
                    <a:pt x="1403" y="761"/>
                  </a:lnTo>
                  <a:lnTo>
                    <a:pt x="1419" y="765"/>
                  </a:lnTo>
                  <a:lnTo>
                    <a:pt x="1436" y="794"/>
                  </a:lnTo>
                  <a:lnTo>
                    <a:pt x="1453" y="794"/>
                  </a:lnTo>
                  <a:lnTo>
                    <a:pt x="1457" y="798"/>
                  </a:lnTo>
                  <a:lnTo>
                    <a:pt x="1469" y="810"/>
                  </a:lnTo>
                  <a:lnTo>
                    <a:pt x="1469" y="815"/>
                  </a:lnTo>
                  <a:lnTo>
                    <a:pt x="1431" y="815"/>
                  </a:lnTo>
                  <a:lnTo>
                    <a:pt x="1419" y="839"/>
                  </a:lnTo>
                  <a:lnTo>
                    <a:pt x="1403" y="832"/>
                  </a:lnTo>
                  <a:lnTo>
                    <a:pt x="1415" y="839"/>
                  </a:lnTo>
                  <a:lnTo>
                    <a:pt x="1398" y="855"/>
                  </a:lnTo>
                  <a:lnTo>
                    <a:pt x="1403" y="865"/>
                  </a:lnTo>
                  <a:lnTo>
                    <a:pt x="1436" y="876"/>
                  </a:lnTo>
                  <a:lnTo>
                    <a:pt x="1441" y="876"/>
                  </a:lnTo>
                  <a:lnTo>
                    <a:pt x="1453" y="888"/>
                  </a:lnTo>
                  <a:lnTo>
                    <a:pt x="1453" y="909"/>
                  </a:lnTo>
                  <a:lnTo>
                    <a:pt x="1436" y="921"/>
                  </a:lnTo>
                  <a:lnTo>
                    <a:pt x="1436" y="933"/>
                  </a:lnTo>
                  <a:lnTo>
                    <a:pt x="1453" y="943"/>
                  </a:lnTo>
                  <a:lnTo>
                    <a:pt x="1453" y="959"/>
                  </a:lnTo>
                  <a:lnTo>
                    <a:pt x="1469" y="966"/>
                  </a:lnTo>
                  <a:lnTo>
                    <a:pt x="1457" y="983"/>
                  </a:lnTo>
                  <a:lnTo>
                    <a:pt x="1474" y="1049"/>
                  </a:lnTo>
                  <a:lnTo>
                    <a:pt x="1469" y="1061"/>
                  </a:lnTo>
                  <a:lnTo>
                    <a:pt x="1474" y="1087"/>
                  </a:lnTo>
                  <a:lnTo>
                    <a:pt x="1441" y="1094"/>
                  </a:lnTo>
                  <a:lnTo>
                    <a:pt x="1453" y="1054"/>
                  </a:lnTo>
                  <a:lnTo>
                    <a:pt x="1441" y="1054"/>
                  </a:lnTo>
                  <a:lnTo>
                    <a:pt x="1441" y="1061"/>
                  </a:lnTo>
                  <a:lnTo>
                    <a:pt x="1441" y="1037"/>
                  </a:lnTo>
                  <a:lnTo>
                    <a:pt x="1436" y="1094"/>
                  </a:lnTo>
                  <a:lnTo>
                    <a:pt x="1431" y="1094"/>
                  </a:lnTo>
                  <a:lnTo>
                    <a:pt x="1436" y="1061"/>
                  </a:lnTo>
                  <a:lnTo>
                    <a:pt x="1431" y="1087"/>
                  </a:lnTo>
                  <a:lnTo>
                    <a:pt x="1419" y="1087"/>
                  </a:lnTo>
                  <a:lnTo>
                    <a:pt x="1415" y="1070"/>
                  </a:lnTo>
                  <a:lnTo>
                    <a:pt x="1415" y="1094"/>
                  </a:lnTo>
                  <a:lnTo>
                    <a:pt x="1403" y="1061"/>
                  </a:lnTo>
                  <a:lnTo>
                    <a:pt x="1415" y="1049"/>
                  </a:lnTo>
                  <a:lnTo>
                    <a:pt x="1398" y="1037"/>
                  </a:lnTo>
                  <a:lnTo>
                    <a:pt x="1386" y="1020"/>
                  </a:lnTo>
                  <a:lnTo>
                    <a:pt x="1398" y="1037"/>
                  </a:lnTo>
                  <a:lnTo>
                    <a:pt x="1415" y="1054"/>
                  </a:lnTo>
                  <a:lnTo>
                    <a:pt x="1382" y="1077"/>
                  </a:lnTo>
                  <a:lnTo>
                    <a:pt x="1344" y="1094"/>
                  </a:lnTo>
                  <a:lnTo>
                    <a:pt x="1327" y="1103"/>
                  </a:lnTo>
                  <a:lnTo>
                    <a:pt x="1311" y="1115"/>
                  </a:lnTo>
                  <a:lnTo>
                    <a:pt x="1327" y="1148"/>
                  </a:lnTo>
                  <a:lnTo>
                    <a:pt x="1323" y="1148"/>
                  </a:lnTo>
                  <a:lnTo>
                    <a:pt x="1327" y="1160"/>
                  </a:lnTo>
                  <a:lnTo>
                    <a:pt x="1311" y="1172"/>
                  </a:lnTo>
                  <a:lnTo>
                    <a:pt x="1306" y="1181"/>
                  </a:lnTo>
                  <a:lnTo>
                    <a:pt x="1311" y="1172"/>
                  </a:lnTo>
                  <a:lnTo>
                    <a:pt x="1311" y="1181"/>
                  </a:lnTo>
                  <a:lnTo>
                    <a:pt x="1290" y="1198"/>
                  </a:lnTo>
                  <a:lnTo>
                    <a:pt x="1290" y="1214"/>
                  </a:lnTo>
                  <a:lnTo>
                    <a:pt x="1273" y="1205"/>
                  </a:lnTo>
                  <a:lnTo>
                    <a:pt x="1280" y="1214"/>
                  </a:lnTo>
                  <a:lnTo>
                    <a:pt x="1219" y="1238"/>
                  </a:lnTo>
                  <a:lnTo>
                    <a:pt x="1226" y="1221"/>
                  </a:lnTo>
                  <a:lnTo>
                    <a:pt x="1219" y="1214"/>
                  </a:lnTo>
                  <a:lnTo>
                    <a:pt x="1205" y="1226"/>
                  </a:lnTo>
                  <a:lnTo>
                    <a:pt x="1197" y="1243"/>
                  </a:lnTo>
                  <a:lnTo>
                    <a:pt x="1205" y="1238"/>
                  </a:lnTo>
                  <a:lnTo>
                    <a:pt x="1214" y="1226"/>
                  </a:lnTo>
                  <a:lnTo>
                    <a:pt x="1214" y="1238"/>
                  </a:lnTo>
                  <a:lnTo>
                    <a:pt x="1167" y="1276"/>
                  </a:lnTo>
                  <a:lnTo>
                    <a:pt x="1171" y="1276"/>
                  </a:lnTo>
                  <a:lnTo>
                    <a:pt x="1167" y="1283"/>
                  </a:lnTo>
                  <a:lnTo>
                    <a:pt x="1129" y="1332"/>
                  </a:lnTo>
                  <a:lnTo>
                    <a:pt x="1091" y="1354"/>
                  </a:lnTo>
                  <a:lnTo>
                    <a:pt x="1063" y="1387"/>
                  </a:lnTo>
                  <a:lnTo>
                    <a:pt x="1004" y="1427"/>
                  </a:lnTo>
                  <a:lnTo>
                    <a:pt x="999" y="1436"/>
                  </a:lnTo>
                  <a:lnTo>
                    <a:pt x="1004" y="1443"/>
                  </a:lnTo>
                  <a:lnTo>
                    <a:pt x="999" y="1460"/>
                  </a:lnTo>
                  <a:lnTo>
                    <a:pt x="954" y="1481"/>
                  </a:lnTo>
                  <a:lnTo>
                    <a:pt x="928" y="1481"/>
                  </a:lnTo>
                  <a:lnTo>
                    <a:pt x="912" y="1521"/>
                  </a:lnTo>
                  <a:lnTo>
                    <a:pt x="895" y="1514"/>
                  </a:lnTo>
                  <a:lnTo>
                    <a:pt x="895" y="1505"/>
                  </a:lnTo>
                  <a:lnTo>
                    <a:pt x="895" y="1521"/>
                  </a:lnTo>
                  <a:lnTo>
                    <a:pt x="890" y="1514"/>
                  </a:lnTo>
                  <a:lnTo>
                    <a:pt x="857" y="1531"/>
                  </a:lnTo>
                  <a:lnTo>
                    <a:pt x="841" y="1576"/>
                  </a:lnTo>
                  <a:lnTo>
                    <a:pt x="848" y="1609"/>
                  </a:lnTo>
                  <a:lnTo>
                    <a:pt x="841" y="1642"/>
                  </a:lnTo>
                  <a:lnTo>
                    <a:pt x="857" y="1698"/>
                  </a:lnTo>
                  <a:lnTo>
                    <a:pt x="848" y="1670"/>
                  </a:lnTo>
                  <a:lnTo>
                    <a:pt x="841" y="1682"/>
                  </a:lnTo>
                  <a:lnTo>
                    <a:pt x="857" y="1703"/>
                  </a:lnTo>
                  <a:lnTo>
                    <a:pt x="848" y="1769"/>
                  </a:lnTo>
                  <a:lnTo>
                    <a:pt x="827" y="1798"/>
                  </a:lnTo>
                  <a:lnTo>
                    <a:pt x="819" y="1826"/>
                  </a:lnTo>
                  <a:lnTo>
                    <a:pt x="827" y="1864"/>
                  </a:lnTo>
                  <a:lnTo>
                    <a:pt x="827" y="1925"/>
                  </a:lnTo>
                  <a:lnTo>
                    <a:pt x="789" y="1925"/>
                  </a:lnTo>
                  <a:lnTo>
                    <a:pt x="782" y="1942"/>
                  </a:lnTo>
                  <a:lnTo>
                    <a:pt x="756" y="1980"/>
                  </a:lnTo>
                  <a:lnTo>
                    <a:pt x="765" y="1998"/>
                  </a:lnTo>
                  <a:lnTo>
                    <a:pt x="789" y="1998"/>
                  </a:lnTo>
                  <a:lnTo>
                    <a:pt x="793" y="2003"/>
                  </a:lnTo>
                  <a:lnTo>
                    <a:pt x="789" y="1998"/>
                  </a:lnTo>
                  <a:lnTo>
                    <a:pt x="765" y="1998"/>
                  </a:lnTo>
                  <a:lnTo>
                    <a:pt x="727" y="2015"/>
                  </a:lnTo>
                  <a:lnTo>
                    <a:pt x="713" y="2020"/>
                  </a:lnTo>
                  <a:lnTo>
                    <a:pt x="701" y="2057"/>
                  </a:lnTo>
                  <a:lnTo>
                    <a:pt x="664" y="2086"/>
                  </a:lnTo>
                  <a:lnTo>
                    <a:pt x="647" y="2086"/>
                  </a:lnTo>
                  <a:lnTo>
                    <a:pt x="626" y="2057"/>
                  </a:lnTo>
                  <a:lnTo>
                    <a:pt x="593" y="2031"/>
                  </a:lnTo>
                  <a:lnTo>
                    <a:pt x="605" y="2020"/>
                  </a:lnTo>
                  <a:lnTo>
                    <a:pt x="593" y="2020"/>
                  </a:lnTo>
                  <a:lnTo>
                    <a:pt x="576" y="1998"/>
                  </a:lnTo>
                  <a:lnTo>
                    <a:pt x="571" y="1946"/>
                  </a:lnTo>
                  <a:lnTo>
                    <a:pt x="576" y="1958"/>
                  </a:lnTo>
                  <a:lnTo>
                    <a:pt x="576" y="1980"/>
                  </a:lnTo>
                  <a:lnTo>
                    <a:pt x="588" y="1980"/>
                  </a:lnTo>
                  <a:lnTo>
                    <a:pt x="571" y="1937"/>
                  </a:lnTo>
                  <a:lnTo>
                    <a:pt x="571" y="1946"/>
                  </a:lnTo>
                  <a:lnTo>
                    <a:pt x="571" y="1942"/>
                  </a:lnTo>
                  <a:lnTo>
                    <a:pt x="534" y="1835"/>
                  </a:lnTo>
                  <a:lnTo>
                    <a:pt x="501" y="1798"/>
                  </a:lnTo>
                  <a:lnTo>
                    <a:pt x="470" y="1736"/>
                  </a:lnTo>
                  <a:lnTo>
                    <a:pt x="442" y="1616"/>
                  </a:lnTo>
                  <a:lnTo>
                    <a:pt x="442" y="1609"/>
                  </a:lnTo>
                  <a:lnTo>
                    <a:pt x="432" y="1616"/>
                  </a:lnTo>
                  <a:lnTo>
                    <a:pt x="432" y="1604"/>
                  </a:lnTo>
                  <a:lnTo>
                    <a:pt x="425" y="1592"/>
                  </a:lnTo>
                  <a:lnTo>
                    <a:pt x="411" y="1554"/>
                  </a:lnTo>
                  <a:lnTo>
                    <a:pt x="404" y="1547"/>
                  </a:lnTo>
                  <a:lnTo>
                    <a:pt x="411" y="1554"/>
                  </a:lnTo>
                  <a:lnTo>
                    <a:pt x="404" y="1547"/>
                  </a:lnTo>
                  <a:lnTo>
                    <a:pt x="378" y="1498"/>
                  </a:lnTo>
                  <a:lnTo>
                    <a:pt x="361" y="1427"/>
                  </a:lnTo>
                  <a:lnTo>
                    <a:pt x="335" y="1309"/>
                  </a:lnTo>
                  <a:lnTo>
                    <a:pt x="335" y="1299"/>
                  </a:lnTo>
                  <a:lnTo>
                    <a:pt x="340" y="1299"/>
                  </a:lnTo>
                  <a:lnTo>
                    <a:pt x="349" y="1299"/>
                  </a:lnTo>
                  <a:lnTo>
                    <a:pt x="340" y="1292"/>
                  </a:lnTo>
                  <a:lnTo>
                    <a:pt x="349" y="1283"/>
                  </a:lnTo>
                  <a:lnTo>
                    <a:pt x="340" y="1276"/>
                  </a:lnTo>
                  <a:lnTo>
                    <a:pt x="335" y="1292"/>
                  </a:lnTo>
                  <a:lnTo>
                    <a:pt x="335" y="1283"/>
                  </a:lnTo>
                  <a:lnTo>
                    <a:pt x="335" y="1259"/>
                  </a:lnTo>
                  <a:lnTo>
                    <a:pt x="349" y="1271"/>
                  </a:lnTo>
                  <a:lnTo>
                    <a:pt x="323" y="1254"/>
                  </a:lnTo>
                  <a:lnTo>
                    <a:pt x="323" y="1221"/>
                  </a:lnTo>
                  <a:lnTo>
                    <a:pt x="340" y="1148"/>
                  </a:lnTo>
                  <a:lnTo>
                    <a:pt x="335" y="1143"/>
                  </a:lnTo>
                  <a:lnTo>
                    <a:pt x="335" y="1127"/>
                  </a:lnTo>
                  <a:lnTo>
                    <a:pt x="319" y="1127"/>
                  </a:lnTo>
                  <a:lnTo>
                    <a:pt x="323" y="1115"/>
                  </a:lnTo>
                  <a:lnTo>
                    <a:pt x="319" y="1103"/>
                  </a:lnTo>
                  <a:lnTo>
                    <a:pt x="323" y="1103"/>
                  </a:lnTo>
                  <a:lnTo>
                    <a:pt x="319" y="1103"/>
                  </a:lnTo>
                  <a:lnTo>
                    <a:pt x="335" y="1087"/>
                  </a:lnTo>
                  <a:lnTo>
                    <a:pt x="356" y="1077"/>
                  </a:lnTo>
                  <a:lnTo>
                    <a:pt x="307" y="1087"/>
                  </a:lnTo>
                  <a:lnTo>
                    <a:pt x="319" y="1070"/>
                  </a:lnTo>
                  <a:lnTo>
                    <a:pt x="323" y="1061"/>
                  </a:lnTo>
                  <a:lnTo>
                    <a:pt x="319" y="1061"/>
                  </a:lnTo>
                  <a:lnTo>
                    <a:pt x="307" y="1061"/>
                  </a:lnTo>
                  <a:lnTo>
                    <a:pt x="319" y="1049"/>
                  </a:lnTo>
                  <a:lnTo>
                    <a:pt x="323" y="1049"/>
                  </a:lnTo>
                  <a:lnTo>
                    <a:pt x="340" y="1037"/>
                  </a:lnTo>
                  <a:lnTo>
                    <a:pt x="286" y="1037"/>
                  </a:lnTo>
                  <a:lnTo>
                    <a:pt x="302" y="1049"/>
                  </a:lnTo>
                  <a:lnTo>
                    <a:pt x="297" y="1054"/>
                  </a:lnTo>
                  <a:lnTo>
                    <a:pt x="281" y="1061"/>
                  </a:lnTo>
                  <a:lnTo>
                    <a:pt x="286" y="1061"/>
                  </a:lnTo>
                  <a:lnTo>
                    <a:pt x="286" y="1070"/>
                  </a:lnTo>
                  <a:lnTo>
                    <a:pt x="281" y="1070"/>
                  </a:lnTo>
                  <a:lnTo>
                    <a:pt x="281" y="1077"/>
                  </a:lnTo>
                  <a:lnTo>
                    <a:pt x="286" y="1070"/>
                  </a:lnTo>
                  <a:lnTo>
                    <a:pt x="297" y="1087"/>
                  </a:lnTo>
                  <a:lnTo>
                    <a:pt x="286" y="1115"/>
                  </a:lnTo>
                  <a:lnTo>
                    <a:pt x="243" y="1143"/>
                  </a:lnTo>
                  <a:lnTo>
                    <a:pt x="193" y="1160"/>
                  </a:lnTo>
                  <a:lnTo>
                    <a:pt x="139" y="1127"/>
                  </a:lnTo>
                  <a:lnTo>
                    <a:pt x="64" y="1037"/>
                  </a:lnTo>
                  <a:lnTo>
                    <a:pt x="71" y="1020"/>
                  </a:lnTo>
                  <a:lnTo>
                    <a:pt x="80" y="1037"/>
                  </a:lnTo>
                  <a:lnTo>
                    <a:pt x="146" y="1016"/>
                  </a:lnTo>
                  <a:lnTo>
                    <a:pt x="172" y="983"/>
                  </a:lnTo>
                  <a:lnTo>
                    <a:pt x="172" y="976"/>
                  </a:lnTo>
                  <a:lnTo>
                    <a:pt x="163" y="976"/>
                  </a:lnTo>
                  <a:lnTo>
                    <a:pt x="163" y="983"/>
                  </a:lnTo>
                  <a:lnTo>
                    <a:pt x="125" y="987"/>
                  </a:lnTo>
                  <a:lnTo>
                    <a:pt x="118" y="999"/>
                  </a:lnTo>
                  <a:lnTo>
                    <a:pt x="80" y="987"/>
                  </a:lnTo>
                  <a:lnTo>
                    <a:pt x="38" y="966"/>
                  </a:lnTo>
                  <a:lnTo>
                    <a:pt x="26" y="950"/>
                  </a:lnTo>
                  <a:lnTo>
                    <a:pt x="26" y="933"/>
                  </a:lnTo>
                  <a:lnTo>
                    <a:pt x="49" y="921"/>
                  </a:lnTo>
                  <a:lnTo>
                    <a:pt x="26" y="926"/>
                  </a:lnTo>
                  <a:lnTo>
                    <a:pt x="16" y="933"/>
                  </a:lnTo>
                  <a:lnTo>
                    <a:pt x="0" y="933"/>
                  </a:lnTo>
                  <a:lnTo>
                    <a:pt x="12" y="921"/>
                  </a:lnTo>
                  <a:lnTo>
                    <a:pt x="16" y="909"/>
                  </a:lnTo>
                  <a:lnTo>
                    <a:pt x="49" y="909"/>
                  </a:lnTo>
                  <a:lnTo>
                    <a:pt x="49" y="876"/>
                  </a:lnTo>
                  <a:lnTo>
                    <a:pt x="64" y="888"/>
                  </a:lnTo>
                  <a:lnTo>
                    <a:pt x="108" y="888"/>
                  </a:lnTo>
                  <a:lnTo>
                    <a:pt x="118" y="893"/>
                  </a:lnTo>
                  <a:lnTo>
                    <a:pt x="134" y="893"/>
                  </a:lnTo>
                  <a:lnTo>
                    <a:pt x="139" y="876"/>
                  </a:lnTo>
                  <a:lnTo>
                    <a:pt x="172" y="872"/>
                  </a:lnTo>
                  <a:lnTo>
                    <a:pt x="177" y="888"/>
                  </a:lnTo>
                  <a:lnTo>
                    <a:pt x="189" y="888"/>
                  </a:lnTo>
                  <a:lnTo>
                    <a:pt x="210" y="872"/>
                  </a:lnTo>
                  <a:lnTo>
                    <a:pt x="198" y="872"/>
                  </a:lnTo>
                  <a:lnTo>
                    <a:pt x="198" y="855"/>
                  </a:lnTo>
                  <a:lnTo>
                    <a:pt x="210" y="855"/>
                  </a:lnTo>
                  <a:lnTo>
                    <a:pt x="193" y="815"/>
                  </a:lnTo>
                  <a:lnTo>
                    <a:pt x="189" y="798"/>
                  </a:lnTo>
                  <a:lnTo>
                    <a:pt x="177" y="777"/>
                  </a:lnTo>
                  <a:lnTo>
                    <a:pt x="156" y="777"/>
                  </a:lnTo>
                  <a:lnTo>
                    <a:pt x="139" y="756"/>
                  </a:lnTo>
                  <a:lnTo>
                    <a:pt x="146" y="711"/>
                  </a:lnTo>
                  <a:lnTo>
                    <a:pt x="125" y="704"/>
                  </a:lnTo>
                  <a:lnTo>
                    <a:pt x="101" y="699"/>
                  </a:lnTo>
                  <a:lnTo>
                    <a:pt x="108" y="654"/>
                  </a:lnTo>
                  <a:lnTo>
                    <a:pt x="163" y="593"/>
                  </a:lnTo>
                  <a:lnTo>
                    <a:pt x="177" y="593"/>
                  </a:lnTo>
                  <a:lnTo>
                    <a:pt x="189" y="617"/>
                  </a:lnTo>
                  <a:lnTo>
                    <a:pt x="193" y="617"/>
                  </a:lnTo>
                  <a:lnTo>
                    <a:pt x="269" y="600"/>
                  </a:lnTo>
                  <a:lnTo>
                    <a:pt x="269" y="588"/>
                  </a:lnTo>
                  <a:lnTo>
                    <a:pt x="286" y="560"/>
                  </a:lnTo>
                  <a:lnTo>
                    <a:pt x="302" y="539"/>
                  </a:lnTo>
                  <a:lnTo>
                    <a:pt x="340" y="517"/>
                  </a:lnTo>
                  <a:lnTo>
                    <a:pt x="373" y="444"/>
                  </a:lnTo>
                  <a:lnTo>
                    <a:pt x="411" y="428"/>
                  </a:lnTo>
                  <a:lnTo>
                    <a:pt x="411" y="411"/>
                  </a:lnTo>
                  <a:lnTo>
                    <a:pt x="442" y="371"/>
                  </a:lnTo>
                  <a:lnTo>
                    <a:pt x="463" y="354"/>
                  </a:lnTo>
                  <a:lnTo>
                    <a:pt x="458" y="350"/>
                  </a:lnTo>
                  <a:lnTo>
                    <a:pt x="458" y="354"/>
                  </a:lnTo>
                  <a:lnTo>
                    <a:pt x="449" y="350"/>
                  </a:lnTo>
                  <a:lnTo>
                    <a:pt x="458" y="321"/>
                  </a:lnTo>
                  <a:lnTo>
                    <a:pt x="449" y="300"/>
                  </a:lnTo>
                  <a:lnTo>
                    <a:pt x="458" y="295"/>
                  </a:lnTo>
                  <a:lnTo>
                    <a:pt x="479" y="279"/>
                  </a:lnTo>
                  <a:lnTo>
                    <a:pt x="501" y="279"/>
                  </a:lnTo>
                  <a:lnTo>
                    <a:pt x="512" y="262"/>
                  </a:lnTo>
                  <a:lnTo>
                    <a:pt x="512" y="255"/>
                  </a:lnTo>
                  <a:lnTo>
                    <a:pt x="486" y="243"/>
                  </a:lnTo>
                  <a:lnTo>
                    <a:pt x="463" y="243"/>
                  </a:lnTo>
                  <a:lnTo>
                    <a:pt x="463" y="222"/>
                  </a:lnTo>
                  <a:lnTo>
                    <a:pt x="442" y="222"/>
                  </a:lnTo>
                  <a:lnTo>
                    <a:pt x="442" y="201"/>
                  </a:lnTo>
                  <a:lnTo>
                    <a:pt x="416" y="189"/>
                  </a:lnTo>
                  <a:lnTo>
                    <a:pt x="425" y="156"/>
                  </a:lnTo>
                  <a:lnTo>
                    <a:pt x="416" y="144"/>
                  </a:lnTo>
                  <a:lnTo>
                    <a:pt x="432" y="116"/>
                  </a:lnTo>
                  <a:lnTo>
                    <a:pt x="411" y="111"/>
                  </a:lnTo>
                  <a:lnTo>
                    <a:pt x="416" y="99"/>
                  </a:lnTo>
                  <a:lnTo>
                    <a:pt x="404" y="90"/>
                  </a:lnTo>
                  <a:lnTo>
                    <a:pt x="411" y="73"/>
                  </a:lnTo>
                  <a:lnTo>
                    <a:pt x="442" y="57"/>
                  </a:lnTo>
                  <a:lnTo>
                    <a:pt x="534" y="78"/>
                  </a:lnTo>
                  <a:lnTo>
                    <a:pt x="555" y="73"/>
                  </a:lnTo>
                  <a:lnTo>
                    <a:pt x="567" y="73"/>
                  </a:lnTo>
                  <a:lnTo>
                    <a:pt x="588" y="57"/>
                  </a:lnTo>
                  <a:lnTo>
                    <a:pt x="621" y="61"/>
                  </a:lnTo>
                  <a:lnTo>
                    <a:pt x="626" y="33"/>
                  </a:lnTo>
                  <a:lnTo>
                    <a:pt x="685" y="0"/>
                  </a:lnTo>
                  <a:lnTo>
                    <a:pt x="701" y="0"/>
                  </a:lnTo>
                  <a:lnTo>
                    <a:pt x="697" y="17"/>
                  </a:lnTo>
                  <a:lnTo>
                    <a:pt x="718" y="73"/>
                  </a:lnTo>
                  <a:lnTo>
                    <a:pt x="739" y="78"/>
                  </a:lnTo>
                  <a:lnTo>
                    <a:pt x="765" y="95"/>
                  </a:lnTo>
                  <a:lnTo>
                    <a:pt x="765" y="99"/>
                  </a:lnTo>
                  <a:lnTo>
                    <a:pt x="751" y="111"/>
                  </a:lnTo>
                  <a:lnTo>
                    <a:pt x="751" y="156"/>
                  </a:lnTo>
                  <a:lnTo>
                    <a:pt x="765" y="172"/>
                  </a:lnTo>
                  <a:lnTo>
                    <a:pt x="793" y="189"/>
                  </a:lnTo>
                  <a:lnTo>
                    <a:pt x="789" y="206"/>
                  </a:lnTo>
                  <a:lnTo>
                    <a:pt x="803" y="222"/>
                  </a:lnTo>
                  <a:lnTo>
                    <a:pt x="789" y="243"/>
                  </a:lnTo>
                  <a:lnTo>
                    <a:pt x="782" y="243"/>
                  </a:lnTo>
                  <a:lnTo>
                    <a:pt x="765" y="255"/>
                  </a:lnTo>
                  <a:lnTo>
                    <a:pt x="751" y="243"/>
                  </a:lnTo>
                  <a:lnTo>
                    <a:pt x="751" y="227"/>
                  </a:lnTo>
                  <a:lnTo>
                    <a:pt x="727" y="239"/>
                  </a:lnTo>
                  <a:lnTo>
                    <a:pt x="727" y="262"/>
                  </a:lnTo>
                  <a:lnTo>
                    <a:pt x="751" y="284"/>
                  </a:lnTo>
                  <a:lnTo>
                    <a:pt x="739" y="300"/>
                  </a:lnTo>
                  <a:lnTo>
                    <a:pt x="756" y="312"/>
                  </a:lnTo>
                  <a:lnTo>
                    <a:pt x="751" y="317"/>
                  </a:lnTo>
                  <a:lnTo>
                    <a:pt x="751" y="333"/>
                  </a:lnTo>
                  <a:lnTo>
                    <a:pt x="756" y="338"/>
                  </a:lnTo>
                  <a:lnTo>
                    <a:pt x="772" y="321"/>
                  </a:lnTo>
                  <a:lnTo>
                    <a:pt x="803" y="366"/>
                  </a:lnTo>
                  <a:lnTo>
                    <a:pt x="827" y="366"/>
                  </a:lnTo>
                  <a:lnTo>
                    <a:pt x="857" y="378"/>
                  </a:lnTo>
                  <a:lnTo>
                    <a:pt x="848" y="395"/>
                  </a:lnTo>
                  <a:lnTo>
                    <a:pt x="879" y="406"/>
                  </a:lnTo>
                  <a:lnTo>
                    <a:pt x="912" y="428"/>
                  </a:lnTo>
                  <a:lnTo>
                    <a:pt x="864" y="461"/>
                  </a:lnTo>
                  <a:lnTo>
                    <a:pt x="864" y="477"/>
                  </a:lnTo>
                  <a:lnTo>
                    <a:pt x="848" y="482"/>
                  </a:lnTo>
                  <a:lnTo>
                    <a:pt x="857" y="501"/>
                  </a:lnTo>
                  <a:lnTo>
                    <a:pt x="841" y="534"/>
                  </a:lnTo>
                  <a:lnTo>
                    <a:pt x="874" y="555"/>
                  </a:lnTo>
                  <a:lnTo>
                    <a:pt x="874" y="543"/>
                  </a:lnTo>
                  <a:lnTo>
                    <a:pt x="916" y="572"/>
                  </a:lnTo>
                  <a:lnTo>
                    <a:pt x="928" y="588"/>
                  </a:lnTo>
                  <a:lnTo>
                    <a:pt x="966" y="609"/>
                  </a:lnTo>
                  <a:lnTo>
                    <a:pt x="982" y="600"/>
                  </a:lnTo>
                  <a:lnTo>
                    <a:pt x="1004" y="628"/>
                  </a:lnTo>
                  <a:lnTo>
                    <a:pt x="1025" y="617"/>
                  </a:lnTo>
                  <a:lnTo>
                    <a:pt x="1025" y="633"/>
                  </a:lnTo>
                  <a:lnTo>
                    <a:pt x="1058" y="645"/>
                  </a:lnTo>
                  <a:lnTo>
                    <a:pt x="1063" y="650"/>
                  </a:lnTo>
                  <a:lnTo>
                    <a:pt x="1075" y="645"/>
                  </a:lnTo>
                  <a:lnTo>
                    <a:pt x="1105" y="650"/>
                  </a:lnTo>
                  <a:lnTo>
                    <a:pt x="1105" y="645"/>
                  </a:lnTo>
                  <a:lnTo>
                    <a:pt x="1129" y="633"/>
                  </a:lnTo>
                  <a:lnTo>
                    <a:pt x="1134" y="645"/>
                  </a:lnTo>
                  <a:lnTo>
                    <a:pt x="1160" y="650"/>
                  </a:lnTo>
                  <a:lnTo>
                    <a:pt x="1167" y="671"/>
                  </a:lnTo>
                  <a:lnTo>
                    <a:pt x="1214" y="699"/>
                  </a:lnTo>
                  <a:lnTo>
                    <a:pt x="1226" y="683"/>
                  </a:lnTo>
                  <a:lnTo>
                    <a:pt x="1252" y="704"/>
                  </a:lnTo>
                  <a:lnTo>
                    <a:pt x="1256" y="699"/>
                  </a:lnTo>
                  <a:lnTo>
                    <a:pt x="1311" y="721"/>
                  </a:lnTo>
                  <a:lnTo>
                    <a:pt x="1327" y="711"/>
                  </a:lnTo>
                  <a:lnTo>
                    <a:pt x="1344" y="721"/>
                  </a:lnTo>
                  <a:lnTo>
                    <a:pt x="1386" y="711"/>
                  </a:lnTo>
                  <a:lnTo>
                    <a:pt x="1398" y="721"/>
                  </a:lnTo>
                  <a:lnTo>
                    <a:pt x="1415" y="699"/>
                  </a:lnTo>
                  <a:lnTo>
                    <a:pt x="1398" y="666"/>
                  </a:lnTo>
                  <a:lnTo>
                    <a:pt x="1403" y="633"/>
                  </a:lnTo>
                  <a:lnTo>
                    <a:pt x="1415" y="609"/>
                  </a:lnTo>
                  <a:lnTo>
                    <a:pt x="1403" y="609"/>
                  </a:lnTo>
                  <a:lnTo>
                    <a:pt x="1403" y="600"/>
                  </a:lnTo>
                  <a:lnTo>
                    <a:pt x="1431" y="593"/>
                  </a:lnTo>
                  <a:lnTo>
                    <a:pt x="1441" y="588"/>
                  </a:lnTo>
                  <a:lnTo>
                    <a:pt x="1457" y="593"/>
                  </a:lnTo>
                  <a:lnTo>
                    <a:pt x="1457" y="609"/>
                  </a:lnTo>
                  <a:lnTo>
                    <a:pt x="1453" y="633"/>
                  </a:lnTo>
                  <a:lnTo>
                    <a:pt x="1457" y="650"/>
                  </a:lnTo>
                  <a:lnTo>
                    <a:pt x="1453" y="666"/>
                  </a:lnTo>
                  <a:lnTo>
                    <a:pt x="1457" y="671"/>
                  </a:lnTo>
                  <a:lnTo>
                    <a:pt x="1474" y="687"/>
                  </a:lnTo>
                  <a:lnTo>
                    <a:pt x="1490" y="687"/>
                  </a:lnTo>
                  <a:lnTo>
                    <a:pt x="1512" y="699"/>
                  </a:lnTo>
                  <a:lnTo>
                    <a:pt x="1545" y="699"/>
                  </a:lnTo>
                  <a:lnTo>
                    <a:pt x="1566" y="683"/>
                  </a:lnTo>
                  <a:lnTo>
                    <a:pt x="1592" y="687"/>
                  </a:lnTo>
                  <a:lnTo>
                    <a:pt x="1630" y="687"/>
                  </a:lnTo>
                  <a:lnTo>
                    <a:pt x="1634" y="683"/>
                  </a:lnTo>
                  <a:lnTo>
                    <a:pt x="1646" y="687"/>
                  </a:lnTo>
                  <a:lnTo>
                    <a:pt x="1684" y="683"/>
                  </a:lnTo>
                  <a:lnTo>
                    <a:pt x="1672" y="666"/>
                  </a:lnTo>
                  <a:lnTo>
                    <a:pt x="1684" y="650"/>
                  </a:lnTo>
                  <a:lnTo>
                    <a:pt x="1672" y="633"/>
                  </a:lnTo>
                  <a:lnTo>
                    <a:pt x="1651" y="633"/>
                  </a:lnTo>
                  <a:lnTo>
                    <a:pt x="1651" y="628"/>
                  </a:lnTo>
                  <a:lnTo>
                    <a:pt x="1651" y="617"/>
                  </a:lnTo>
                  <a:lnTo>
                    <a:pt x="1672" y="617"/>
                  </a:lnTo>
                  <a:lnTo>
                    <a:pt x="1701" y="609"/>
                  </a:lnTo>
                  <a:lnTo>
                    <a:pt x="1710" y="609"/>
                  </a:lnTo>
                  <a:lnTo>
                    <a:pt x="1727" y="600"/>
                  </a:lnTo>
                  <a:lnTo>
                    <a:pt x="1727" y="588"/>
                  </a:lnTo>
                  <a:lnTo>
                    <a:pt x="1760" y="572"/>
                  </a:lnTo>
                  <a:lnTo>
                    <a:pt x="1776" y="543"/>
                  </a:lnTo>
                  <a:lnTo>
                    <a:pt x="1814" y="543"/>
                  </a:lnTo>
                  <a:lnTo>
                    <a:pt x="1835" y="517"/>
                  </a:lnTo>
                  <a:lnTo>
                    <a:pt x="1861" y="489"/>
                  </a:lnTo>
                  <a:lnTo>
                    <a:pt x="1873" y="506"/>
                  </a:lnTo>
                  <a:lnTo>
                    <a:pt x="1916" y="517"/>
                  </a:lnTo>
                  <a:lnTo>
                    <a:pt x="1927" y="501"/>
                  </a:lnTo>
                  <a:lnTo>
                    <a:pt x="1958" y="482"/>
                  </a:lnTo>
                  <a:lnTo>
                    <a:pt x="1975" y="501"/>
                  </a:lnTo>
                  <a:lnTo>
                    <a:pt x="1982" y="501"/>
                  </a:lnTo>
                  <a:lnTo>
                    <a:pt x="1970" y="517"/>
                  </a:lnTo>
                  <a:lnTo>
                    <a:pt x="1970" y="522"/>
                  </a:lnTo>
                  <a:lnTo>
                    <a:pt x="1991" y="517"/>
                  </a:lnTo>
                  <a:lnTo>
                    <a:pt x="1996" y="539"/>
                  </a:lnTo>
                  <a:lnTo>
                    <a:pt x="1982" y="555"/>
                  </a:lnTo>
                  <a:lnTo>
                    <a:pt x="1982" y="572"/>
                  </a:lnTo>
                  <a:lnTo>
                    <a:pt x="2008" y="560"/>
                  </a:lnTo>
                  <a:lnTo>
                    <a:pt x="2029" y="572"/>
                  </a:lnTo>
                  <a:lnTo>
                    <a:pt x="2034" y="572"/>
                  </a:lnTo>
                  <a:lnTo>
                    <a:pt x="2050" y="576"/>
                  </a:lnTo>
                  <a:lnTo>
                    <a:pt x="2050" y="600"/>
                  </a:lnTo>
                  <a:lnTo>
                    <a:pt x="2024" y="628"/>
                  </a:lnTo>
                  <a:lnTo>
                    <a:pt x="2034" y="666"/>
                  </a:lnTo>
                  <a:lnTo>
                    <a:pt x="2024" y="654"/>
                  </a:lnTo>
                  <a:lnTo>
                    <a:pt x="2008" y="650"/>
                  </a:lnTo>
                  <a:lnTo>
                    <a:pt x="1975" y="650"/>
                  </a:lnTo>
                  <a:lnTo>
                    <a:pt x="1920" y="699"/>
                  </a:lnTo>
                  <a:lnTo>
                    <a:pt x="1899" y="704"/>
                  </a:lnTo>
                  <a:lnTo>
                    <a:pt x="1890" y="728"/>
                  </a:lnTo>
                  <a:lnTo>
                    <a:pt x="1899" y="744"/>
                  </a:lnTo>
                  <a:lnTo>
                    <a:pt x="1882" y="782"/>
                  </a:lnTo>
                  <a:lnTo>
                    <a:pt x="1861" y="798"/>
                  </a:lnTo>
                  <a:lnTo>
                    <a:pt x="1861" y="810"/>
                  </a:lnTo>
                  <a:lnTo>
                    <a:pt x="1868" y="815"/>
                  </a:lnTo>
                  <a:lnTo>
                    <a:pt x="1868" y="822"/>
                  </a:lnTo>
                  <a:lnTo>
                    <a:pt x="1830" y="921"/>
                  </a:lnTo>
                  <a:lnTo>
                    <a:pt x="1797" y="905"/>
                  </a:lnTo>
                  <a:lnTo>
                    <a:pt x="1781" y="909"/>
                  </a:lnTo>
                  <a:lnTo>
                    <a:pt x="1776" y="893"/>
                  </a:lnTo>
                  <a:lnTo>
                    <a:pt x="1776" y="926"/>
                  </a:lnTo>
                  <a:lnTo>
                    <a:pt x="1776" y="966"/>
                  </a:lnTo>
                  <a:lnTo>
                    <a:pt x="1764" y="983"/>
                  </a:lnTo>
                  <a:lnTo>
                    <a:pt x="1760" y="976"/>
                  </a:lnTo>
                  <a:lnTo>
                    <a:pt x="1755" y="1004"/>
                  </a:lnTo>
                  <a:lnTo>
                    <a:pt x="1760" y="1037"/>
                  </a:lnTo>
                  <a:lnTo>
                    <a:pt x="1755" y="1037"/>
                  </a:lnTo>
                  <a:lnTo>
                    <a:pt x="1743" y="1054"/>
                  </a:lnTo>
                  <a:lnTo>
                    <a:pt x="1727" y="1049"/>
                  </a:lnTo>
                  <a:lnTo>
                    <a:pt x="1722" y="1061"/>
                  </a:lnTo>
                  <a:lnTo>
                    <a:pt x="1710" y="1004"/>
                  </a:lnTo>
                  <a:lnTo>
                    <a:pt x="1705" y="983"/>
                  </a:lnTo>
                  <a:lnTo>
                    <a:pt x="1705" y="959"/>
                  </a:lnTo>
                  <a:lnTo>
                    <a:pt x="1701" y="926"/>
                  </a:lnTo>
                  <a:lnTo>
                    <a:pt x="1701" y="926"/>
                  </a:lnTo>
                  <a:lnTo>
                    <a:pt x="1701" y="926"/>
                  </a:lnTo>
                  <a:close/>
                  <a:moveTo>
                    <a:pt x="1441" y="1070"/>
                  </a:moveTo>
                  <a:lnTo>
                    <a:pt x="1436" y="1070"/>
                  </a:lnTo>
                  <a:lnTo>
                    <a:pt x="1441" y="1061"/>
                  </a:lnTo>
                  <a:lnTo>
                    <a:pt x="1441" y="1070"/>
                  </a:lnTo>
                  <a:lnTo>
                    <a:pt x="1441" y="1070"/>
                  </a:lnTo>
                  <a:lnTo>
                    <a:pt x="1441" y="1070"/>
                  </a:lnTo>
                  <a:close/>
                  <a:moveTo>
                    <a:pt x="1403" y="1070"/>
                  </a:moveTo>
                  <a:lnTo>
                    <a:pt x="1403" y="1087"/>
                  </a:lnTo>
                  <a:lnTo>
                    <a:pt x="1403" y="1070"/>
                  </a:lnTo>
                  <a:lnTo>
                    <a:pt x="1403" y="1070"/>
                  </a:lnTo>
                  <a:lnTo>
                    <a:pt x="1403" y="1070"/>
                  </a:lnTo>
                  <a:close/>
                  <a:moveTo>
                    <a:pt x="1738" y="1736"/>
                  </a:moveTo>
                  <a:lnTo>
                    <a:pt x="1738" y="1703"/>
                  </a:lnTo>
                  <a:lnTo>
                    <a:pt x="1743" y="1687"/>
                  </a:lnTo>
                  <a:lnTo>
                    <a:pt x="1755" y="1687"/>
                  </a:lnTo>
                  <a:lnTo>
                    <a:pt x="1755" y="1720"/>
                  </a:lnTo>
                  <a:lnTo>
                    <a:pt x="1743" y="1720"/>
                  </a:lnTo>
                  <a:lnTo>
                    <a:pt x="1738" y="1736"/>
                  </a:lnTo>
                  <a:lnTo>
                    <a:pt x="1738" y="1736"/>
                  </a:lnTo>
                  <a:lnTo>
                    <a:pt x="1738" y="1736"/>
                  </a:lnTo>
                  <a:close/>
                  <a:moveTo>
                    <a:pt x="1738" y="1776"/>
                  </a:moveTo>
                  <a:lnTo>
                    <a:pt x="1727" y="1776"/>
                  </a:lnTo>
                  <a:lnTo>
                    <a:pt x="1727" y="1743"/>
                  </a:lnTo>
                  <a:lnTo>
                    <a:pt x="1743" y="1736"/>
                  </a:lnTo>
                  <a:lnTo>
                    <a:pt x="1743" y="1760"/>
                  </a:lnTo>
                  <a:lnTo>
                    <a:pt x="1743" y="1769"/>
                  </a:lnTo>
                  <a:lnTo>
                    <a:pt x="1738" y="1769"/>
                  </a:lnTo>
                  <a:lnTo>
                    <a:pt x="1738" y="1776"/>
                  </a:lnTo>
                  <a:lnTo>
                    <a:pt x="1738" y="1776"/>
                  </a:lnTo>
                  <a:lnTo>
                    <a:pt x="1738" y="1776"/>
                  </a:lnTo>
                  <a:close/>
                  <a:moveTo>
                    <a:pt x="1727" y="1793"/>
                  </a:moveTo>
                  <a:lnTo>
                    <a:pt x="1727" y="1776"/>
                  </a:lnTo>
                  <a:lnTo>
                    <a:pt x="1743" y="1776"/>
                  </a:lnTo>
                  <a:lnTo>
                    <a:pt x="1727" y="1793"/>
                  </a:lnTo>
                  <a:lnTo>
                    <a:pt x="1727" y="1793"/>
                  </a:lnTo>
                  <a:lnTo>
                    <a:pt x="1727" y="1793"/>
                  </a:lnTo>
                  <a:close/>
                  <a:moveTo>
                    <a:pt x="1727" y="1793"/>
                  </a:moveTo>
                  <a:lnTo>
                    <a:pt x="1727" y="1835"/>
                  </a:lnTo>
                  <a:lnTo>
                    <a:pt x="1710" y="1809"/>
                  </a:lnTo>
                  <a:lnTo>
                    <a:pt x="1727" y="1781"/>
                  </a:lnTo>
                  <a:lnTo>
                    <a:pt x="1727" y="1793"/>
                  </a:lnTo>
                  <a:lnTo>
                    <a:pt x="1727" y="1793"/>
                  </a:lnTo>
                  <a:lnTo>
                    <a:pt x="1727" y="1793"/>
                  </a:lnTo>
                  <a:close/>
                  <a:moveTo>
                    <a:pt x="1755" y="1798"/>
                  </a:moveTo>
                  <a:lnTo>
                    <a:pt x="1755" y="1809"/>
                  </a:lnTo>
                  <a:lnTo>
                    <a:pt x="1743" y="1798"/>
                  </a:lnTo>
                  <a:lnTo>
                    <a:pt x="1755" y="1798"/>
                  </a:lnTo>
                  <a:lnTo>
                    <a:pt x="1755" y="1798"/>
                  </a:lnTo>
                  <a:lnTo>
                    <a:pt x="1755" y="1798"/>
                  </a:lnTo>
                  <a:close/>
                  <a:moveTo>
                    <a:pt x="1701" y="1831"/>
                  </a:moveTo>
                  <a:lnTo>
                    <a:pt x="1689" y="1831"/>
                  </a:lnTo>
                  <a:lnTo>
                    <a:pt x="1701" y="1831"/>
                  </a:lnTo>
                  <a:lnTo>
                    <a:pt x="1701" y="1831"/>
                  </a:lnTo>
                  <a:lnTo>
                    <a:pt x="1701" y="1831"/>
                  </a:lnTo>
                  <a:close/>
                  <a:moveTo>
                    <a:pt x="1722" y="1847"/>
                  </a:moveTo>
                  <a:lnTo>
                    <a:pt x="1722" y="1831"/>
                  </a:lnTo>
                  <a:lnTo>
                    <a:pt x="1727" y="1847"/>
                  </a:lnTo>
                  <a:lnTo>
                    <a:pt x="1722" y="1847"/>
                  </a:lnTo>
                  <a:lnTo>
                    <a:pt x="1722" y="1847"/>
                  </a:lnTo>
                  <a:lnTo>
                    <a:pt x="1722" y="1847"/>
                  </a:lnTo>
                  <a:close/>
                  <a:moveTo>
                    <a:pt x="1710" y="1887"/>
                  </a:moveTo>
                  <a:lnTo>
                    <a:pt x="1710" y="1909"/>
                  </a:lnTo>
                  <a:lnTo>
                    <a:pt x="1705" y="1904"/>
                  </a:lnTo>
                  <a:lnTo>
                    <a:pt x="1705" y="1887"/>
                  </a:lnTo>
                  <a:lnTo>
                    <a:pt x="1710" y="1880"/>
                  </a:lnTo>
                  <a:lnTo>
                    <a:pt x="1710" y="1887"/>
                  </a:lnTo>
                  <a:lnTo>
                    <a:pt x="1710" y="1887"/>
                  </a:lnTo>
                  <a:lnTo>
                    <a:pt x="1710" y="1887"/>
                  </a:lnTo>
                  <a:close/>
                  <a:moveTo>
                    <a:pt x="1738" y="1998"/>
                  </a:moveTo>
                  <a:lnTo>
                    <a:pt x="1738" y="2003"/>
                  </a:lnTo>
                  <a:lnTo>
                    <a:pt x="1727" y="2003"/>
                  </a:lnTo>
                  <a:lnTo>
                    <a:pt x="1738" y="1998"/>
                  </a:lnTo>
                  <a:lnTo>
                    <a:pt x="1738" y="1998"/>
                  </a:lnTo>
                  <a:lnTo>
                    <a:pt x="1738" y="1998"/>
                  </a:lnTo>
                  <a:close/>
                  <a:moveTo>
                    <a:pt x="1755" y="2069"/>
                  </a:moveTo>
                  <a:lnTo>
                    <a:pt x="1760" y="2074"/>
                  </a:lnTo>
                  <a:lnTo>
                    <a:pt x="1755" y="2069"/>
                  </a:lnTo>
                  <a:lnTo>
                    <a:pt x="1755" y="2069"/>
                  </a:lnTo>
                  <a:lnTo>
                    <a:pt x="1755" y="2069"/>
                  </a:lnTo>
                  <a:close/>
                  <a:moveTo>
                    <a:pt x="1781" y="2074"/>
                  </a:moveTo>
                  <a:lnTo>
                    <a:pt x="1781" y="2091"/>
                  </a:lnTo>
                  <a:lnTo>
                    <a:pt x="1776" y="2074"/>
                  </a:lnTo>
                  <a:lnTo>
                    <a:pt x="1781" y="2074"/>
                  </a:lnTo>
                  <a:lnTo>
                    <a:pt x="1781" y="2074"/>
                  </a:lnTo>
                  <a:lnTo>
                    <a:pt x="1781" y="2074"/>
                  </a:lnTo>
                  <a:close/>
                  <a:moveTo>
                    <a:pt x="1776" y="2091"/>
                  </a:moveTo>
                  <a:lnTo>
                    <a:pt x="1781" y="2102"/>
                  </a:lnTo>
                  <a:lnTo>
                    <a:pt x="1764" y="2091"/>
                  </a:lnTo>
                  <a:lnTo>
                    <a:pt x="1776" y="2091"/>
                  </a:lnTo>
                  <a:lnTo>
                    <a:pt x="1776" y="2091"/>
                  </a:lnTo>
                  <a:lnTo>
                    <a:pt x="1776" y="2091"/>
                  </a:lnTo>
                  <a:close/>
                  <a:moveTo>
                    <a:pt x="1793" y="2091"/>
                  </a:moveTo>
                  <a:lnTo>
                    <a:pt x="1781" y="2091"/>
                  </a:lnTo>
                  <a:lnTo>
                    <a:pt x="1793" y="2091"/>
                  </a:lnTo>
                  <a:lnTo>
                    <a:pt x="1793" y="2091"/>
                  </a:lnTo>
                  <a:lnTo>
                    <a:pt x="1793" y="2091"/>
                  </a:lnTo>
                  <a:close/>
                  <a:moveTo>
                    <a:pt x="1797" y="2131"/>
                  </a:moveTo>
                  <a:lnTo>
                    <a:pt x="1797" y="2143"/>
                  </a:lnTo>
                  <a:lnTo>
                    <a:pt x="1793" y="2147"/>
                  </a:lnTo>
                  <a:lnTo>
                    <a:pt x="1797" y="2131"/>
                  </a:lnTo>
                  <a:lnTo>
                    <a:pt x="1797" y="2131"/>
                  </a:lnTo>
                  <a:lnTo>
                    <a:pt x="1797" y="2131"/>
                  </a:lnTo>
                  <a:close/>
                  <a:moveTo>
                    <a:pt x="1807" y="2147"/>
                  </a:moveTo>
                  <a:lnTo>
                    <a:pt x="1814" y="2164"/>
                  </a:lnTo>
                  <a:lnTo>
                    <a:pt x="1807" y="2180"/>
                  </a:lnTo>
                  <a:lnTo>
                    <a:pt x="1793" y="2159"/>
                  </a:lnTo>
                  <a:lnTo>
                    <a:pt x="1807" y="2147"/>
                  </a:lnTo>
                  <a:lnTo>
                    <a:pt x="1807" y="2147"/>
                  </a:lnTo>
                  <a:lnTo>
                    <a:pt x="1807" y="2147"/>
                  </a:lnTo>
                  <a:close/>
                </a:path>
              </a:pathLst>
            </a:custGeom>
            <a:solidFill>
              <a:schemeClr val="bg2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28" name="Freeform 470">
              <a:extLst>
                <a:ext uri="{FF2B5EF4-FFF2-40B4-BE49-F238E27FC236}">
                  <a16:creationId xmlns:a16="http://schemas.microsoft.com/office/drawing/2014/main" id="{90EAE387-1143-40CA-AC35-5A6C576A4056}"/>
                </a:ext>
              </a:extLst>
            </p:cNvPr>
            <p:cNvSpPr>
              <a:spLocks/>
            </p:cNvSpPr>
            <p:nvPr/>
          </p:nvSpPr>
          <p:spPr bwMode="gray">
            <a:xfrm>
              <a:off x="6940199" y="2821455"/>
              <a:ext cx="1381" cy="2609"/>
            </a:xfrm>
            <a:custGeom>
              <a:avLst/>
              <a:gdLst>
                <a:gd name="T0" fmla="*/ 9 w 9"/>
                <a:gd name="T1" fmla="*/ 17 h 17"/>
                <a:gd name="T2" fmla="*/ 0 w 9"/>
                <a:gd name="T3" fmla="*/ 12 h 17"/>
                <a:gd name="T4" fmla="*/ 9 w 9"/>
                <a:gd name="T5" fmla="*/ 17 h 17"/>
                <a:gd name="T6" fmla="*/ 9 w 9"/>
                <a:gd name="T7" fmla="*/ 0 h 17"/>
                <a:gd name="T8" fmla="*/ 9 w 9"/>
                <a:gd name="T9" fmla="*/ 12 h 17"/>
                <a:gd name="T10" fmla="*/ 9 w 9"/>
                <a:gd name="T11" fmla="*/ 17 h 17"/>
                <a:gd name="T12" fmla="*/ 9 w 9"/>
                <a:gd name="T13" fmla="*/ 17 h 17"/>
                <a:gd name="T14" fmla="*/ 9 w 9"/>
                <a:gd name="T15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" h="17">
                  <a:moveTo>
                    <a:pt x="9" y="17"/>
                  </a:moveTo>
                  <a:lnTo>
                    <a:pt x="0" y="12"/>
                  </a:lnTo>
                  <a:lnTo>
                    <a:pt x="9" y="17"/>
                  </a:lnTo>
                  <a:lnTo>
                    <a:pt x="9" y="0"/>
                  </a:lnTo>
                  <a:lnTo>
                    <a:pt x="9" y="12"/>
                  </a:lnTo>
                  <a:lnTo>
                    <a:pt x="9" y="17"/>
                  </a:lnTo>
                  <a:lnTo>
                    <a:pt x="9" y="17"/>
                  </a:lnTo>
                  <a:lnTo>
                    <a:pt x="9" y="17"/>
                  </a:lnTo>
                  <a:close/>
                </a:path>
              </a:pathLst>
            </a:custGeom>
            <a:solidFill>
              <a:schemeClr val="bg2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29" name="Freeform 471">
              <a:extLst>
                <a:ext uri="{FF2B5EF4-FFF2-40B4-BE49-F238E27FC236}">
                  <a16:creationId xmlns:a16="http://schemas.microsoft.com/office/drawing/2014/main" id="{629118B5-099B-4D35-8D9A-9C728680666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634477" y="2278707"/>
              <a:ext cx="208879" cy="180507"/>
            </a:xfrm>
            <a:custGeom>
              <a:avLst/>
              <a:gdLst>
                <a:gd name="T0" fmla="*/ 1252 w 1361"/>
                <a:gd name="T1" fmla="*/ 711 h 1176"/>
                <a:gd name="T2" fmla="*/ 1238 w 1361"/>
                <a:gd name="T3" fmla="*/ 893 h 1176"/>
                <a:gd name="T4" fmla="*/ 1323 w 1361"/>
                <a:gd name="T5" fmla="*/ 933 h 1176"/>
                <a:gd name="T6" fmla="*/ 1361 w 1361"/>
                <a:gd name="T7" fmla="*/ 1021 h 1176"/>
                <a:gd name="T8" fmla="*/ 1297 w 1361"/>
                <a:gd name="T9" fmla="*/ 1061 h 1176"/>
                <a:gd name="T10" fmla="*/ 1252 w 1361"/>
                <a:gd name="T11" fmla="*/ 1094 h 1176"/>
                <a:gd name="T12" fmla="*/ 1222 w 1361"/>
                <a:gd name="T13" fmla="*/ 1176 h 1176"/>
                <a:gd name="T14" fmla="*/ 1163 w 1361"/>
                <a:gd name="T15" fmla="*/ 1165 h 1176"/>
                <a:gd name="T16" fmla="*/ 1059 w 1361"/>
                <a:gd name="T17" fmla="*/ 1155 h 1176"/>
                <a:gd name="T18" fmla="*/ 983 w 1361"/>
                <a:gd name="T19" fmla="*/ 1132 h 1176"/>
                <a:gd name="T20" fmla="*/ 898 w 1361"/>
                <a:gd name="T21" fmla="*/ 1021 h 1176"/>
                <a:gd name="T22" fmla="*/ 823 w 1361"/>
                <a:gd name="T23" fmla="*/ 1028 h 1176"/>
                <a:gd name="T24" fmla="*/ 730 w 1361"/>
                <a:gd name="T25" fmla="*/ 1054 h 1176"/>
                <a:gd name="T26" fmla="*/ 605 w 1361"/>
                <a:gd name="T27" fmla="*/ 999 h 1176"/>
                <a:gd name="T28" fmla="*/ 525 w 1361"/>
                <a:gd name="T29" fmla="*/ 954 h 1176"/>
                <a:gd name="T30" fmla="*/ 482 w 1361"/>
                <a:gd name="T31" fmla="*/ 876 h 1176"/>
                <a:gd name="T32" fmla="*/ 466 w 1361"/>
                <a:gd name="T33" fmla="*/ 839 h 1176"/>
                <a:gd name="T34" fmla="*/ 390 w 1361"/>
                <a:gd name="T35" fmla="*/ 782 h 1176"/>
                <a:gd name="T36" fmla="*/ 374 w 1361"/>
                <a:gd name="T37" fmla="*/ 761 h 1176"/>
                <a:gd name="T38" fmla="*/ 319 w 1361"/>
                <a:gd name="T39" fmla="*/ 798 h 1176"/>
                <a:gd name="T40" fmla="*/ 286 w 1361"/>
                <a:gd name="T41" fmla="*/ 721 h 1176"/>
                <a:gd name="T42" fmla="*/ 244 w 1361"/>
                <a:gd name="T43" fmla="*/ 610 h 1176"/>
                <a:gd name="T44" fmla="*/ 147 w 1361"/>
                <a:gd name="T45" fmla="*/ 560 h 1176"/>
                <a:gd name="T46" fmla="*/ 142 w 1361"/>
                <a:gd name="T47" fmla="*/ 510 h 1176"/>
                <a:gd name="T48" fmla="*/ 104 w 1361"/>
                <a:gd name="T49" fmla="*/ 473 h 1176"/>
                <a:gd name="T50" fmla="*/ 109 w 1361"/>
                <a:gd name="T51" fmla="*/ 428 h 1176"/>
                <a:gd name="T52" fmla="*/ 142 w 1361"/>
                <a:gd name="T53" fmla="*/ 390 h 1176"/>
                <a:gd name="T54" fmla="*/ 142 w 1361"/>
                <a:gd name="T55" fmla="*/ 338 h 1176"/>
                <a:gd name="T56" fmla="*/ 119 w 1361"/>
                <a:gd name="T57" fmla="*/ 317 h 1176"/>
                <a:gd name="T58" fmla="*/ 71 w 1361"/>
                <a:gd name="T59" fmla="*/ 267 h 1176"/>
                <a:gd name="T60" fmla="*/ 55 w 1361"/>
                <a:gd name="T61" fmla="*/ 222 h 1176"/>
                <a:gd name="T62" fmla="*/ 17 w 1361"/>
                <a:gd name="T63" fmla="*/ 156 h 1176"/>
                <a:gd name="T64" fmla="*/ 17 w 1361"/>
                <a:gd name="T65" fmla="*/ 66 h 1176"/>
                <a:gd name="T66" fmla="*/ 34 w 1361"/>
                <a:gd name="T67" fmla="*/ 7 h 1176"/>
                <a:gd name="T68" fmla="*/ 93 w 1361"/>
                <a:gd name="T69" fmla="*/ 45 h 1176"/>
                <a:gd name="T70" fmla="*/ 201 w 1361"/>
                <a:gd name="T71" fmla="*/ 45 h 1176"/>
                <a:gd name="T72" fmla="*/ 303 w 1361"/>
                <a:gd name="T73" fmla="*/ 62 h 1176"/>
                <a:gd name="T74" fmla="*/ 308 w 1361"/>
                <a:gd name="T75" fmla="*/ 95 h 1176"/>
                <a:gd name="T76" fmla="*/ 357 w 1361"/>
                <a:gd name="T77" fmla="*/ 173 h 1176"/>
                <a:gd name="T78" fmla="*/ 504 w 1361"/>
                <a:gd name="T79" fmla="*/ 250 h 1176"/>
                <a:gd name="T80" fmla="*/ 697 w 1361"/>
                <a:gd name="T81" fmla="*/ 246 h 1176"/>
                <a:gd name="T82" fmla="*/ 719 w 1361"/>
                <a:gd name="T83" fmla="*/ 206 h 1176"/>
                <a:gd name="T84" fmla="*/ 806 w 1361"/>
                <a:gd name="T85" fmla="*/ 139 h 1176"/>
                <a:gd name="T86" fmla="*/ 874 w 1361"/>
                <a:gd name="T87" fmla="*/ 123 h 1176"/>
                <a:gd name="T88" fmla="*/ 945 w 1361"/>
                <a:gd name="T89" fmla="*/ 151 h 1176"/>
                <a:gd name="T90" fmla="*/ 1075 w 1361"/>
                <a:gd name="T91" fmla="*/ 189 h 1176"/>
                <a:gd name="T92" fmla="*/ 1205 w 1361"/>
                <a:gd name="T93" fmla="*/ 262 h 1176"/>
                <a:gd name="T94" fmla="*/ 1189 w 1361"/>
                <a:gd name="T95" fmla="*/ 428 h 1176"/>
                <a:gd name="T96" fmla="*/ 1163 w 1361"/>
                <a:gd name="T97" fmla="*/ 465 h 1176"/>
                <a:gd name="T98" fmla="*/ 1184 w 1361"/>
                <a:gd name="T99" fmla="*/ 617 h 1176"/>
                <a:gd name="T100" fmla="*/ 865 w 1361"/>
                <a:gd name="T101" fmla="*/ 1037 h 1176"/>
                <a:gd name="T102" fmla="*/ 827 w 1361"/>
                <a:gd name="T103" fmla="*/ 1044 h 1176"/>
                <a:gd name="T104" fmla="*/ 865 w 1361"/>
                <a:gd name="T105" fmla="*/ 1037 h 1176"/>
                <a:gd name="T106" fmla="*/ 823 w 1361"/>
                <a:gd name="T107" fmla="*/ 1044 h 1176"/>
                <a:gd name="T108" fmla="*/ 697 w 1361"/>
                <a:gd name="T109" fmla="*/ 1065 h 1176"/>
                <a:gd name="T110" fmla="*/ 702 w 1361"/>
                <a:gd name="T111" fmla="*/ 1065 h 1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361" h="1176">
                  <a:moveTo>
                    <a:pt x="1184" y="638"/>
                  </a:moveTo>
                  <a:lnTo>
                    <a:pt x="1184" y="678"/>
                  </a:lnTo>
                  <a:lnTo>
                    <a:pt x="1243" y="687"/>
                  </a:lnTo>
                  <a:lnTo>
                    <a:pt x="1252" y="711"/>
                  </a:lnTo>
                  <a:lnTo>
                    <a:pt x="1243" y="732"/>
                  </a:lnTo>
                  <a:lnTo>
                    <a:pt x="1184" y="806"/>
                  </a:lnTo>
                  <a:lnTo>
                    <a:pt x="1215" y="843"/>
                  </a:lnTo>
                  <a:lnTo>
                    <a:pt x="1238" y="893"/>
                  </a:lnTo>
                  <a:lnTo>
                    <a:pt x="1260" y="910"/>
                  </a:lnTo>
                  <a:lnTo>
                    <a:pt x="1290" y="917"/>
                  </a:lnTo>
                  <a:lnTo>
                    <a:pt x="1307" y="933"/>
                  </a:lnTo>
                  <a:lnTo>
                    <a:pt x="1323" y="933"/>
                  </a:lnTo>
                  <a:lnTo>
                    <a:pt x="1323" y="999"/>
                  </a:lnTo>
                  <a:lnTo>
                    <a:pt x="1323" y="1011"/>
                  </a:lnTo>
                  <a:lnTo>
                    <a:pt x="1349" y="1004"/>
                  </a:lnTo>
                  <a:lnTo>
                    <a:pt x="1361" y="1021"/>
                  </a:lnTo>
                  <a:lnTo>
                    <a:pt x="1349" y="1021"/>
                  </a:lnTo>
                  <a:lnTo>
                    <a:pt x="1345" y="1061"/>
                  </a:lnTo>
                  <a:lnTo>
                    <a:pt x="1323" y="1061"/>
                  </a:lnTo>
                  <a:lnTo>
                    <a:pt x="1297" y="1061"/>
                  </a:lnTo>
                  <a:lnTo>
                    <a:pt x="1281" y="1065"/>
                  </a:lnTo>
                  <a:lnTo>
                    <a:pt x="1281" y="1077"/>
                  </a:lnTo>
                  <a:lnTo>
                    <a:pt x="1276" y="1077"/>
                  </a:lnTo>
                  <a:lnTo>
                    <a:pt x="1252" y="1094"/>
                  </a:lnTo>
                  <a:lnTo>
                    <a:pt x="1252" y="1120"/>
                  </a:lnTo>
                  <a:lnTo>
                    <a:pt x="1243" y="1120"/>
                  </a:lnTo>
                  <a:lnTo>
                    <a:pt x="1238" y="1172"/>
                  </a:lnTo>
                  <a:lnTo>
                    <a:pt x="1222" y="1176"/>
                  </a:lnTo>
                  <a:lnTo>
                    <a:pt x="1167" y="1165"/>
                  </a:lnTo>
                  <a:lnTo>
                    <a:pt x="1163" y="1148"/>
                  </a:lnTo>
                  <a:lnTo>
                    <a:pt x="1151" y="1155"/>
                  </a:lnTo>
                  <a:lnTo>
                    <a:pt x="1163" y="1165"/>
                  </a:lnTo>
                  <a:lnTo>
                    <a:pt x="1146" y="1155"/>
                  </a:lnTo>
                  <a:lnTo>
                    <a:pt x="1097" y="1155"/>
                  </a:lnTo>
                  <a:lnTo>
                    <a:pt x="1092" y="1148"/>
                  </a:lnTo>
                  <a:lnTo>
                    <a:pt x="1059" y="1155"/>
                  </a:lnTo>
                  <a:lnTo>
                    <a:pt x="1042" y="1139"/>
                  </a:lnTo>
                  <a:lnTo>
                    <a:pt x="1011" y="1139"/>
                  </a:lnTo>
                  <a:lnTo>
                    <a:pt x="1000" y="1139"/>
                  </a:lnTo>
                  <a:lnTo>
                    <a:pt x="983" y="1132"/>
                  </a:lnTo>
                  <a:lnTo>
                    <a:pt x="936" y="1120"/>
                  </a:lnTo>
                  <a:lnTo>
                    <a:pt x="929" y="1098"/>
                  </a:lnTo>
                  <a:lnTo>
                    <a:pt x="912" y="1044"/>
                  </a:lnTo>
                  <a:lnTo>
                    <a:pt x="898" y="1021"/>
                  </a:lnTo>
                  <a:lnTo>
                    <a:pt x="891" y="1021"/>
                  </a:lnTo>
                  <a:lnTo>
                    <a:pt x="849" y="1021"/>
                  </a:lnTo>
                  <a:lnTo>
                    <a:pt x="844" y="1028"/>
                  </a:lnTo>
                  <a:lnTo>
                    <a:pt x="823" y="1028"/>
                  </a:lnTo>
                  <a:lnTo>
                    <a:pt x="811" y="1044"/>
                  </a:lnTo>
                  <a:lnTo>
                    <a:pt x="789" y="1044"/>
                  </a:lnTo>
                  <a:lnTo>
                    <a:pt x="756" y="1065"/>
                  </a:lnTo>
                  <a:lnTo>
                    <a:pt x="730" y="1054"/>
                  </a:lnTo>
                  <a:lnTo>
                    <a:pt x="686" y="1054"/>
                  </a:lnTo>
                  <a:lnTo>
                    <a:pt x="660" y="1028"/>
                  </a:lnTo>
                  <a:lnTo>
                    <a:pt x="605" y="1004"/>
                  </a:lnTo>
                  <a:lnTo>
                    <a:pt x="605" y="999"/>
                  </a:lnTo>
                  <a:lnTo>
                    <a:pt x="596" y="983"/>
                  </a:lnTo>
                  <a:lnTo>
                    <a:pt x="567" y="966"/>
                  </a:lnTo>
                  <a:lnTo>
                    <a:pt x="534" y="966"/>
                  </a:lnTo>
                  <a:lnTo>
                    <a:pt x="525" y="954"/>
                  </a:lnTo>
                  <a:lnTo>
                    <a:pt x="497" y="910"/>
                  </a:lnTo>
                  <a:lnTo>
                    <a:pt x="497" y="893"/>
                  </a:lnTo>
                  <a:lnTo>
                    <a:pt x="482" y="876"/>
                  </a:lnTo>
                  <a:lnTo>
                    <a:pt x="482" y="876"/>
                  </a:lnTo>
                  <a:lnTo>
                    <a:pt x="487" y="876"/>
                  </a:lnTo>
                  <a:lnTo>
                    <a:pt x="487" y="872"/>
                  </a:lnTo>
                  <a:lnTo>
                    <a:pt x="466" y="860"/>
                  </a:lnTo>
                  <a:lnTo>
                    <a:pt x="466" y="839"/>
                  </a:lnTo>
                  <a:lnTo>
                    <a:pt x="433" y="798"/>
                  </a:lnTo>
                  <a:lnTo>
                    <a:pt x="428" y="777"/>
                  </a:lnTo>
                  <a:lnTo>
                    <a:pt x="390" y="789"/>
                  </a:lnTo>
                  <a:lnTo>
                    <a:pt x="390" y="782"/>
                  </a:lnTo>
                  <a:lnTo>
                    <a:pt x="357" y="777"/>
                  </a:lnTo>
                  <a:lnTo>
                    <a:pt x="352" y="765"/>
                  </a:lnTo>
                  <a:lnTo>
                    <a:pt x="362" y="765"/>
                  </a:lnTo>
                  <a:lnTo>
                    <a:pt x="374" y="761"/>
                  </a:lnTo>
                  <a:lnTo>
                    <a:pt x="352" y="749"/>
                  </a:lnTo>
                  <a:lnTo>
                    <a:pt x="341" y="765"/>
                  </a:lnTo>
                  <a:lnTo>
                    <a:pt x="352" y="789"/>
                  </a:lnTo>
                  <a:lnTo>
                    <a:pt x="319" y="798"/>
                  </a:lnTo>
                  <a:lnTo>
                    <a:pt x="308" y="798"/>
                  </a:lnTo>
                  <a:lnTo>
                    <a:pt x="308" y="777"/>
                  </a:lnTo>
                  <a:lnTo>
                    <a:pt x="286" y="761"/>
                  </a:lnTo>
                  <a:lnTo>
                    <a:pt x="286" y="721"/>
                  </a:lnTo>
                  <a:lnTo>
                    <a:pt x="265" y="721"/>
                  </a:lnTo>
                  <a:lnTo>
                    <a:pt x="265" y="678"/>
                  </a:lnTo>
                  <a:lnTo>
                    <a:pt x="270" y="654"/>
                  </a:lnTo>
                  <a:lnTo>
                    <a:pt x="244" y="610"/>
                  </a:lnTo>
                  <a:lnTo>
                    <a:pt x="244" y="600"/>
                  </a:lnTo>
                  <a:lnTo>
                    <a:pt x="227" y="600"/>
                  </a:lnTo>
                  <a:lnTo>
                    <a:pt x="173" y="560"/>
                  </a:lnTo>
                  <a:lnTo>
                    <a:pt x="147" y="560"/>
                  </a:lnTo>
                  <a:lnTo>
                    <a:pt x="156" y="539"/>
                  </a:lnTo>
                  <a:lnTo>
                    <a:pt x="142" y="510"/>
                  </a:lnTo>
                  <a:lnTo>
                    <a:pt x="135" y="510"/>
                  </a:lnTo>
                  <a:lnTo>
                    <a:pt x="142" y="510"/>
                  </a:lnTo>
                  <a:lnTo>
                    <a:pt x="135" y="506"/>
                  </a:lnTo>
                  <a:lnTo>
                    <a:pt x="126" y="506"/>
                  </a:lnTo>
                  <a:lnTo>
                    <a:pt x="109" y="482"/>
                  </a:lnTo>
                  <a:lnTo>
                    <a:pt x="104" y="473"/>
                  </a:lnTo>
                  <a:lnTo>
                    <a:pt x="109" y="465"/>
                  </a:lnTo>
                  <a:lnTo>
                    <a:pt x="109" y="449"/>
                  </a:lnTo>
                  <a:lnTo>
                    <a:pt x="104" y="432"/>
                  </a:lnTo>
                  <a:lnTo>
                    <a:pt x="109" y="428"/>
                  </a:lnTo>
                  <a:lnTo>
                    <a:pt x="126" y="432"/>
                  </a:lnTo>
                  <a:lnTo>
                    <a:pt x="119" y="416"/>
                  </a:lnTo>
                  <a:lnTo>
                    <a:pt x="135" y="399"/>
                  </a:lnTo>
                  <a:lnTo>
                    <a:pt x="142" y="390"/>
                  </a:lnTo>
                  <a:lnTo>
                    <a:pt x="156" y="390"/>
                  </a:lnTo>
                  <a:lnTo>
                    <a:pt x="156" y="378"/>
                  </a:lnTo>
                  <a:lnTo>
                    <a:pt x="142" y="354"/>
                  </a:lnTo>
                  <a:lnTo>
                    <a:pt x="142" y="338"/>
                  </a:lnTo>
                  <a:lnTo>
                    <a:pt x="163" y="333"/>
                  </a:lnTo>
                  <a:lnTo>
                    <a:pt x="147" y="321"/>
                  </a:lnTo>
                  <a:lnTo>
                    <a:pt x="126" y="333"/>
                  </a:lnTo>
                  <a:lnTo>
                    <a:pt x="119" y="317"/>
                  </a:lnTo>
                  <a:lnTo>
                    <a:pt x="104" y="317"/>
                  </a:lnTo>
                  <a:lnTo>
                    <a:pt x="93" y="284"/>
                  </a:lnTo>
                  <a:lnTo>
                    <a:pt x="81" y="279"/>
                  </a:lnTo>
                  <a:lnTo>
                    <a:pt x="71" y="267"/>
                  </a:lnTo>
                  <a:lnTo>
                    <a:pt x="81" y="250"/>
                  </a:lnTo>
                  <a:lnTo>
                    <a:pt x="67" y="246"/>
                  </a:lnTo>
                  <a:lnTo>
                    <a:pt x="67" y="227"/>
                  </a:lnTo>
                  <a:lnTo>
                    <a:pt x="55" y="222"/>
                  </a:lnTo>
                  <a:lnTo>
                    <a:pt x="55" y="206"/>
                  </a:lnTo>
                  <a:lnTo>
                    <a:pt x="38" y="194"/>
                  </a:lnTo>
                  <a:lnTo>
                    <a:pt x="50" y="173"/>
                  </a:lnTo>
                  <a:lnTo>
                    <a:pt x="17" y="156"/>
                  </a:lnTo>
                  <a:lnTo>
                    <a:pt x="34" y="118"/>
                  </a:lnTo>
                  <a:lnTo>
                    <a:pt x="29" y="118"/>
                  </a:lnTo>
                  <a:lnTo>
                    <a:pt x="29" y="78"/>
                  </a:lnTo>
                  <a:lnTo>
                    <a:pt x="17" y="66"/>
                  </a:lnTo>
                  <a:lnTo>
                    <a:pt x="17" y="57"/>
                  </a:lnTo>
                  <a:lnTo>
                    <a:pt x="0" y="28"/>
                  </a:lnTo>
                  <a:lnTo>
                    <a:pt x="34" y="28"/>
                  </a:lnTo>
                  <a:lnTo>
                    <a:pt x="34" y="7"/>
                  </a:lnTo>
                  <a:lnTo>
                    <a:pt x="50" y="0"/>
                  </a:lnTo>
                  <a:lnTo>
                    <a:pt x="55" y="7"/>
                  </a:lnTo>
                  <a:lnTo>
                    <a:pt x="81" y="45"/>
                  </a:lnTo>
                  <a:lnTo>
                    <a:pt x="93" y="45"/>
                  </a:lnTo>
                  <a:lnTo>
                    <a:pt x="104" y="62"/>
                  </a:lnTo>
                  <a:lnTo>
                    <a:pt x="156" y="78"/>
                  </a:lnTo>
                  <a:lnTo>
                    <a:pt x="180" y="66"/>
                  </a:lnTo>
                  <a:lnTo>
                    <a:pt x="201" y="45"/>
                  </a:lnTo>
                  <a:lnTo>
                    <a:pt x="282" y="0"/>
                  </a:lnTo>
                  <a:lnTo>
                    <a:pt x="308" y="28"/>
                  </a:lnTo>
                  <a:lnTo>
                    <a:pt x="286" y="40"/>
                  </a:lnTo>
                  <a:lnTo>
                    <a:pt x="303" y="62"/>
                  </a:lnTo>
                  <a:lnTo>
                    <a:pt x="286" y="66"/>
                  </a:lnTo>
                  <a:lnTo>
                    <a:pt x="286" y="78"/>
                  </a:lnTo>
                  <a:lnTo>
                    <a:pt x="303" y="95"/>
                  </a:lnTo>
                  <a:lnTo>
                    <a:pt x="308" y="95"/>
                  </a:lnTo>
                  <a:lnTo>
                    <a:pt x="324" y="118"/>
                  </a:lnTo>
                  <a:lnTo>
                    <a:pt x="341" y="111"/>
                  </a:lnTo>
                  <a:lnTo>
                    <a:pt x="352" y="156"/>
                  </a:lnTo>
                  <a:lnTo>
                    <a:pt x="357" y="173"/>
                  </a:lnTo>
                  <a:lnTo>
                    <a:pt x="378" y="189"/>
                  </a:lnTo>
                  <a:lnTo>
                    <a:pt x="433" y="194"/>
                  </a:lnTo>
                  <a:lnTo>
                    <a:pt x="449" y="222"/>
                  </a:lnTo>
                  <a:lnTo>
                    <a:pt x="504" y="250"/>
                  </a:lnTo>
                  <a:lnTo>
                    <a:pt x="558" y="267"/>
                  </a:lnTo>
                  <a:lnTo>
                    <a:pt x="702" y="234"/>
                  </a:lnTo>
                  <a:lnTo>
                    <a:pt x="676" y="246"/>
                  </a:lnTo>
                  <a:lnTo>
                    <a:pt x="697" y="246"/>
                  </a:lnTo>
                  <a:lnTo>
                    <a:pt x="702" y="246"/>
                  </a:lnTo>
                  <a:lnTo>
                    <a:pt x="702" y="234"/>
                  </a:lnTo>
                  <a:lnTo>
                    <a:pt x="697" y="206"/>
                  </a:lnTo>
                  <a:lnTo>
                    <a:pt x="719" y="206"/>
                  </a:lnTo>
                  <a:lnTo>
                    <a:pt x="752" y="194"/>
                  </a:lnTo>
                  <a:lnTo>
                    <a:pt x="756" y="189"/>
                  </a:lnTo>
                  <a:lnTo>
                    <a:pt x="768" y="168"/>
                  </a:lnTo>
                  <a:lnTo>
                    <a:pt x="806" y="139"/>
                  </a:lnTo>
                  <a:lnTo>
                    <a:pt x="860" y="139"/>
                  </a:lnTo>
                  <a:lnTo>
                    <a:pt x="865" y="139"/>
                  </a:lnTo>
                  <a:lnTo>
                    <a:pt x="865" y="135"/>
                  </a:lnTo>
                  <a:lnTo>
                    <a:pt x="874" y="123"/>
                  </a:lnTo>
                  <a:lnTo>
                    <a:pt x="898" y="123"/>
                  </a:lnTo>
                  <a:lnTo>
                    <a:pt x="919" y="135"/>
                  </a:lnTo>
                  <a:lnTo>
                    <a:pt x="929" y="123"/>
                  </a:lnTo>
                  <a:lnTo>
                    <a:pt x="945" y="151"/>
                  </a:lnTo>
                  <a:lnTo>
                    <a:pt x="1000" y="168"/>
                  </a:lnTo>
                  <a:lnTo>
                    <a:pt x="1004" y="173"/>
                  </a:lnTo>
                  <a:lnTo>
                    <a:pt x="1054" y="173"/>
                  </a:lnTo>
                  <a:lnTo>
                    <a:pt x="1075" y="189"/>
                  </a:lnTo>
                  <a:lnTo>
                    <a:pt x="1092" y="210"/>
                  </a:lnTo>
                  <a:lnTo>
                    <a:pt x="1130" y="227"/>
                  </a:lnTo>
                  <a:lnTo>
                    <a:pt x="1146" y="262"/>
                  </a:lnTo>
                  <a:lnTo>
                    <a:pt x="1205" y="262"/>
                  </a:lnTo>
                  <a:lnTo>
                    <a:pt x="1215" y="345"/>
                  </a:lnTo>
                  <a:lnTo>
                    <a:pt x="1200" y="373"/>
                  </a:lnTo>
                  <a:lnTo>
                    <a:pt x="1200" y="411"/>
                  </a:lnTo>
                  <a:lnTo>
                    <a:pt x="1189" y="428"/>
                  </a:lnTo>
                  <a:lnTo>
                    <a:pt x="1172" y="432"/>
                  </a:lnTo>
                  <a:lnTo>
                    <a:pt x="1184" y="449"/>
                  </a:lnTo>
                  <a:lnTo>
                    <a:pt x="1167" y="449"/>
                  </a:lnTo>
                  <a:lnTo>
                    <a:pt x="1163" y="465"/>
                  </a:lnTo>
                  <a:lnTo>
                    <a:pt x="1163" y="506"/>
                  </a:lnTo>
                  <a:lnTo>
                    <a:pt x="1189" y="510"/>
                  </a:lnTo>
                  <a:lnTo>
                    <a:pt x="1167" y="543"/>
                  </a:lnTo>
                  <a:lnTo>
                    <a:pt x="1184" y="617"/>
                  </a:lnTo>
                  <a:lnTo>
                    <a:pt x="1184" y="638"/>
                  </a:lnTo>
                  <a:lnTo>
                    <a:pt x="1184" y="638"/>
                  </a:lnTo>
                  <a:lnTo>
                    <a:pt x="1184" y="638"/>
                  </a:lnTo>
                  <a:close/>
                  <a:moveTo>
                    <a:pt x="865" y="1037"/>
                  </a:moveTo>
                  <a:lnTo>
                    <a:pt x="844" y="1054"/>
                  </a:lnTo>
                  <a:lnTo>
                    <a:pt x="794" y="1061"/>
                  </a:lnTo>
                  <a:lnTo>
                    <a:pt x="794" y="1054"/>
                  </a:lnTo>
                  <a:lnTo>
                    <a:pt x="827" y="1044"/>
                  </a:lnTo>
                  <a:lnTo>
                    <a:pt x="827" y="1037"/>
                  </a:lnTo>
                  <a:lnTo>
                    <a:pt x="865" y="1037"/>
                  </a:lnTo>
                  <a:lnTo>
                    <a:pt x="865" y="1037"/>
                  </a:lnTo>
                  <a:lnTo>
                    <a:pt x="865" y="1037"/>
                  </a:lnTo>
                  <a:close/>
                  <a:moveTo>
                    <a:pt x="823" y="1044"/>
                  </a:moveTo>
                  <a:lnTo>
                    <a:pt x="823" y="1044"/>
                  </a:lnTo>
                  <a:lnTo>
                    <a:pt x="823" y="1037"/>
                  </a:lnTo>
                  <a:lnTo>
                    <a:pt x="823" y="1044"/>
                  </a:lnTo>
                  <a:lnTo>
                    <a:pt x="823" y="1044"/>
                  </a:lnTo>
                  <a:lnTo>
                    <a:pt x="823" y="1044"/>
                  </a:lnTo>
                  <a:close/>
                  <a:moveTo>
                    <a:pt x="702" y="1065"/>
                  </a:moveTo>
                  <a:lnTo>
                    <a:pt x="697" y="1065"/>
                  </a:lnTo>
                  <a:lnTo>
                    <a:pt x="702" y="1061"/>
                  </a:lnTo>
                  <a:lnTo>
                    <a:pt x="702" y="1065"/>
                  </a:lnTo>
                  <a:lnTo>
                    <a:pt x="702" y="1065"/>
                  </a:lnTo>
                  <a:lnTo>
                    <a:pt x="702" y="1065"/>
                  </a:lnTo>
                  <a:close/>
                </a:path>
              </a:pathLst>
            </a:custGeom>
            <a:solidFill>
              <a:schemeClr val="bg2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30" name="Freeform 472">
              <a:extLst>
                <a:ext uri="{FF2B5EF4-FFF2-40B4-BE49-F238E27FC236}">
                  <a16:creationId xmlns:a16="http://schemas.microsoft.com/office/drawing/2014/main" id="{A383979E-BBF8-4F48-AB24-EC7677FE0FFE}"/>
                </a:ext>
              </a:extLst>
            </p:cNvPr>
            <p:cNvSpPr>
              <a:spLocks/>
            </p:cNvSpPr>
            <p:nvPr/>
          </p:nvSpPr>
          <p:spPr bwMode="gray">
            <a:xfrm>
              <a:off x="6531188" y="2360979"/>
              <a:ext cx="13813" cy="46048"/>
            </a:xfrm>
            <a:custGeom>
              <a:avLst/>
              <a:gdLst>
                <a:gd name="T0" fmla="*/ 52 w 90"/>
                <a:gd name="T1" fmla="*/ 7 h 300"/>
                <a:gd name="T2" fmla="*/ 73 w 90"/>
                <a:gd name="T3" fmla="*/ 17 h 300"/>
                <a:gd name="T4" fmla="*/ 90 w 90"/>
                <a:gd name="T5" fmla="*/ 0 h 300"/>
                <a:gd name="T6" fmla="*/ 90 w 90"/>
                <a:gd name="T7" fmla="*/ 0 h 300"/>
                <a:gd name="T8" fmla="*/ 90 w 90"/>
                <a:gd name="T9" fmla="*/ 45 h 300"/>
                <a:gd name="T10" fmla="*/ 81 w 90"/>
                <a:gd name="T11" fmla="*/ 45 h 300"/>
                <a:gd name="T12" fmla="*/ 81 w 90"/>
                <a:gd name="T13" fmla="*/ 74 h 300"/>
                <a:gd name="T14" fmla="*/ 59 w 90"/>
                <a:gd name="T15" fmla="*/ 57 h 300"/>
                <a:gd name="T16" fmla="*/ 52 w 90"/>
                <a:gd name="T17" fmla="*/ 62 h 300"/>
                <a:gd name="T18" fmla="*/ 43 w 90"/>
                <a:gd name="T19" fmla="*/ 111 h 300"/>
                <a:gd name="T20" fmla="*/ 59 w 90"/>
                <a:gd name="T21" fmla="*/ 118 h 300"/>
                <a:gd name="T22" fmla="*/ 43 w 90"/>
                <a:gd name="T23" fmla="*/ 128 h 300"/>
                <a:gd name="T24" fmla="*/ 38 w 90"/>
                <a:gd name="T25" fmla="*/ 151 h 300"/>
                <a:gd name="T26" fmla="*/ 52 w 90"/>
                <a:gd name="T27" fmla="*/ 151 h 300"/>
                <a:gd name="T28" fmla="*/ 81 w 90"/>
                <a:gd name="T29" fmla="*/ 140 h 300"/>
                <a:gd name="T30" fmla="*/ 73 w 90"/>
                <a:gd name="T31" fmla="*/ 156 h 300"/>
                <a:gd name="T32" fmla="*/ 73 w 90"/>
                <a:gd name="T33" fmla="*/ 168 h 300"/>
                <a:gd name="T34" fmla="*/ 59 w 90"/>
                <a:gd name="T35" fmla="*/ 222 h 300"/>
                <a:gd name="T36" fmla="*/ 59 w 90"/>
                <a:gd name="T37" fmla="*/ 246 h 300"/>
                <a:gd name="T38" fmla="*/ 43 w 90"/>
                <a:gd name="T39" fmla="*/ 296 h 300"/>
                <a:gd name="T40" fmla="*/ 38 w 90"/>
                <a:gd name="T41" fmla="*/ 300 h 300"/>
                <a:gd name="T42" fmla="*/ 0 w 90"/>
                <a:gd name="T43" fmla="*/ 156 h 300"/>
                <a:gd name="T44" fmla="*/ 10 w 90"/>
                <a:gd name="T45" fmla="*/ 135 h 300"/>
                <a:gd name="T46" fmla="*/ 10 w 90"/>
                <a:gd name="T47" fmla="*/ 135 h 300"/>
                <a:gd name="T48" fmla="*/ 26 w 90"/>
                <a:gd name="T49" fmla="*/ 102 h 300"/>
                <a:gd name="T50" fmla="*/ 43 w 90"/>
                <a:gd name="T51" fmla="*/ 29 h 300"/>
                <a:gd name="T52" fmla="*/ 52 w 90"/>
                <a:gd name="T53" fmla="*/ 29 h 300"/>
                <a:gd name="T54" fmla="*/ 52 w 90"/>
                <a:gd name="T55" fmla="*/ 7 h 300"/>
                <a:gd name="T56" fmla="*/ 52 w 90"/>
                <a:gd name="T57" fmla="*/ 7 h 300"/>
                <a:gd name="T58" fmla="*/ 52 w 90"/>
                <a:gd name="T59" fmla="*/ 7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90" h="300">
                  <a:moveTo>
                    <a:pt x="52" y="7"/>
                  </a:moveTo>
                  <a:lnTo>
                    <a:pt x="73" y="17"/>
                  </a:lnTo>
                  <a:lnTo>
                    <a:pt x="90" y="0"/>
                  </a:lnTo>
                  <a:lnTo>
                    <a:pt x="90" y="0"/>
                  </a:lnTo>
                  <a:lnTo>
                    <a:pt x="90" y="45"/>
                  </a:lnTo>
                  <a:lnTo>
                    <a:pt x="81" y="45"/>
                  </a:lnTo>
                  <a:lnTo>
                    <a:pt x="81" y="74"/>
                  </a:lnTo>
                  <a:lnTo>
                    <a:pt x="59" y="57"/>
                  </a:lnTo>
                  <a:lnTo>
                    <a:pt x="52" y="62"/>
                  </a:lnTo>
                  <a:lnTo>
                    <a:pt x="43" y="111"/>
                  </a:lnTo>
                  <a:lnTo>
                    <a:pt x="59" y="118"/>
                  </a:lnTo>
                  <a:lnTo>
                    <a:pt x="43" y="128"/>
                  </a:lnTo>
                  <a:lnTo>
                    <a:pt x="38" y="151"/>
                  </a:lnTo>
                  <a:lnTo>
                    <a:pt x="52" y="151"/>
                  </a:lnTo>
                  <a:lnTo>
                    <a:pt x="81" y="140"/>
                  </a:lnTo>
                  <a:lnTo>
                    <a:pt x="73" y="156"/>
                  </a:lnTo>
                  <a:lnTo>
                    <a:pt x="73" y="168"/>
                  </a:lnTo>
                  <a:lnTo>
                    <a:pt x="59" y="222"/>
                  </a:lnTo>
                  <a:lnTo>
                    <a:pt x="59" y="246"/>
                  </a:lnTo>
                  <a:lnTo>
                    <a:pt x="43" y="296"/>
                  </a:lnTo>
                  <a:lnTo>
                    <a:pt x="38" y="300"/>
                  </a:lnTo>
                  <a:lnTo>
                    <a:pt x="0" y="156"/>
                  </a:lnTo>
                  <a:lnTo>
                    <a:pt x="10" y="135"/>
                  </a:lnTo>
                  <a:lnTo>
                    <a:pt x="10" y="135"/>
                  </a:lnTo>
                  <a:lnTo>
                    <a:pt x="26" y="102"/>
                  </a:lnTo>
                  <a:lnTo>
                    <a:pt x="43" y="29"/>
                  </a:lnTo>
                  <a:lnTo>
                    <a:pt x="52" y="29"/>
                  </a:lnTo>
                  <a:lnTo>
                    <a:pt x="52" y="7"/>
                  </a:lnTo>
                  <a:lnTo>
                    <a:pt x="52" y="7"/>
                  </a:lnTo>
                  <a:lnTo>
                    <a:pt x="52" y="7"/>
                  </a:lnTo>
                  <a:close/>
                </a:path>
              </a:pathLst>
            </a:custGeom>
            <a:solidFill>
              <a:schemeClr val="bg2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31" name="Freeform 474">
              <a:extLst>
                <a:ext uri="{FF2B5EF4-FFF2-40B4-BE49-F238E27FC236}">
                  <a16:creationId xmlns:a16="http://schemas.microsoft.com/office/drawing/2014/main" id="{293A0BD3-6F6B-4354-9AE5-2BF8592869F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068922" y="2623143"/>
              <a:ext cx="65380" cy="70760"/>
            </a:xfrm>
            <a:custGeom>
              <a:avLst/>
              <a:gdLst>
                <a:gd name="T0" fmla="*/ 69 w 426"/>
                <a:gd name="T1" fmla="*/ 421 h 461"/>
                <a:gd name="T2" fmla="*/ 81 w 426"/>
                <a:gd name="T3" fmla="*/ 383 h 461"/>
                <a:gd name="T4" fmla="*/ 86 w 426"/>
                <a:gd name="T5" fmla="*/ 350 h 461"/>
                <a:gd name="T6" fmla="*/ 48 w 426"/>
                <a:gd name="T7" fmla="*/ 326 h 461"/>
                <a:gd name="T8" fmla="*/ 0 w 426"/>
                <a:gd name="T9" fmla="*/ 305 h 461"/>
                <a:gd name="T10" fmla="*/ 26 w 426"/>
                <a:gd name="T11" fmla="*/ 255 h 461"/>
                <a:gd name="T12" fmla="*/ 15 w 426"/>
                <a:gd name="T13" fmla="*/ 222 h 461"/>
                <a:gd name="T14" fmla="*/ 38 w 426"/>
                <a:gd name="T15" fmla="*/ 194 h 461"/>
                <a:gd name="T16" fmla="*/ 38 w 426"/>
                <a:gd name="T17" fmla="*/ 184 h 461"/>
                <a:gd name="T18" fmla="*/ 26 w 426"/>
                <a:gd name="T19" fmla="*/ 161 h 461"/>
                <a:gd name="T20" fmla="*/ 64 w 426"/>
                <a:gd name="T21" fmla="*/ 168 h 461"/>
                <a:gd name="T22" fmla="*/ 64 w 426"/>
                <a:gd name="T23" fmla="*/ 156 h 461"/>
                <a:gd name="T24" fmla="*/ 48 w 426"/>
                <a:gd name="T25" fmla="*/ 123 h 461"/>
                <a:gd name="T26" fmla="*/ 48 w 426"/>
                <a:gd name="T27" fmla="*/ 111 h 461"/>
                <a:gd name="T28" fmla="*/ 38 w 426"/>
                <a:gd name="T29" fmla="*/ 99 h 461"/>
                <a:gd name="T30" fmla="*/ 31 w 426"/>
                <a:gd name="T31" fmla="*/ 57 h 461"/>
                <a:gd name="T32" fmla="*/ 52 w 426"/>
                <a:gd name="T33" fmla="*/ 45 h 461"/>
                <a:gd name="T34" fmla="*/ 107 w 426"/>
                <a:gd name="T35" fmla="*/ 45 h 461"/>
                <a:gd name="T36" fmla="*/ 140 w 426"/>
                <a:gd name="T37" fmla="*/ 28 h 461"/>
                <a:gd name="T38" fmla="*/ 156 w 426"/>
                <a:gd name="T39" fmla="*/ 12 h 461"/>
                <a:gd name="T40" fmla="*/ 161 w 426"/>
                <a:gd name="T41" fmla="*/ 0 h 461"/>
                <a:gd name="T42" fmla="*/ 173 w 426"/>
                <a:gd name="T43" fmla="*/ 45 h 461"/>
                <a:gd name="T44" fmla="*/ 194 w 426"/>
                <a:gd name="T45" fmla="*/ 28 h 461"/>
                <a:gd name="T46" fmla="*/ 225 w 426"/>
                <a:gd name="T47" fmla="*/ 33 h 461"/>
                <a:gd name="T48" fmla="*/ 253 w 426"/>
                <a:gd name="T49" fmla="*/ 57 h 461"/>
                <a:gd name="T50" fmla="*/ 300 w 426"/>
                <a:gd name="T51" fmla="*/ 83 h 461"/>
                <a:gd name="T52" fmla="*/ 350 w 426"/>
                <a:gd name="T53" fmla="*/ 57 h 461"/>
                <a:gd name="T54" fmla="*/ 409 w 426"/>
                <a:gd name="T55" fmla="*/ 99 h 461"/>
                <a:gd name="T56" fmla="*/ 409 w 426"/>
                <a:gd name="T57" fmla="*/ 123 h 461"/>
                <a:gd name="T58" fmla="*/ 426 w 426"/>
                <a:gd name="T59" fmla="*/ 184 h 461"/>
                <a:gd name="T60" fmla="*/ 393 w 426"/>
                <a:gd name="T61" fmla="*/ 267 h 461"/>
                <a:gd name="T62" fmla="*/ 371 w 426"/>
                <a:gd name="T63" fmla="*/ 293 h 461"/>
                <a:gd name="T64" fmla="*/ 409 w 426"/>
                <a:gd name="T65" fmla="*/ 378 h 461"/>
                <a:gd name="T66" fmla="*/ 393 w 426"/>
                <a:gd name="T67" fmla="*/ 404 h 461"/>
                <a:gd name="T68" fmla="*/ 393 w 426"/>
                <a:gd name="T69" fmla="*/ 404 h 461"/>
                <a:gd name="T70" fmla="*/ 376 w 426"/>
                <a:gd name="T71" fmla="*/ 388 h 461"/>
                <a:gd name="T72" fmla="*/ 371 w 426"/>
                <a:gd name="T73" fmla="*/ 404 h 461"/>
                <a:gd name="T74" fmla="*/ 338 w 426"/>
                <a:gd name="T75" fmla="*/ 399 h 461"/>
                <a:gd name="T76" fmla="*/ 338 w 426"/>
                <a:gd name="T77" fmla="*/ 399 h 461"/>
                <a:gd name="T78" fmla="*/ 263 w 426"/>
                <a:gd name="T79" fmla="*/ 404 h 461"/>
                <a:gd name="T80" fmla="*/ 232 w 426"/>
                <a:gd name="T81" fmla="*/ 399 h 461"/>
                <a:gd name="T82" fmla="*/ 232 w 426"/>
                <a:gd name="T83" fmla="*/ 404 h 461"/>
                <a:gd name="T84" fmla="*/ 253 w 426"/>
                <a:gd name="T85" fmla="*/ 404 h 461"/>
                <a:gd name="T86" fmla="*/ 81 w 426"/>
                <a:gd name="T87" fmla="*/ 461 h 461"/>
                <a:gd name="T88" fmla="*/ 81 w 426"/>
                <a:gd name="T89" fmla="*/ 461 h 461"/>
                <a:gd name="T90" fmla="*/ 305 w 426"/>
                <a:gd name="T91" fmla="*/ 399 h 461"/>
                <a:gd name="T92" fmla="*/ 263 w 426"/>
                <a:gd name="T93" fmla="*/ 404 h 461"/>
                <a:gd name="T94" fmla="*/ 263 w 426"/>
                <a:gd name="T95" fmla="*/ 404 h 461"/>
                <a:gd name="T96" fmla="*/ 388 w 426"/>
                <a:gd name="T97" fmla="*/ 404 h 461"/>
                <a:gd name="T98" fmla="*/ 388 w 426"/>
                <a:gd name="T99" fmla="*/ 404 h 461"/>
                <a:gd name="T100" fmla="*/ 388 w 426"/>
                <a:gd name="T101" fmla="*/ 404 h 4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426" h="461">
                  <a:moveTo>
                    <a:pt x="81" y="461"/>
                  </a:moveTo>
                  <a:lnTo>
                    <a:pt x="69" y="421"/>
                  </a:lnTo>
                  <a:lnTo>
                    <a:pt x="86" y="388"/>
                  </a:lnTo>
                  <a:lnTo>
                    <a:pt x="81" y="383"/>
                  </a:lnTo>
                  <a:lnTo>
                    <a:pt x="86" y="378"/>
                  </a:lnTo>
                  <a:lnTo>
                    <a:pt x="86" y="350"/>
                  </a:lnTo>
                  <a:lnTo>
                    <a:pt x="52" y="350"/>
                  </a:lnTo>
                  <a:lnTo>
                    <a:pt x="48" y="326"/>
                  </a:lnTo>
                  <a:lnTo>
                    <a:pt x="31" y="326"/>
                  </a:lnTo>
                  <a:lnTo>
                    <a:pt x="0" y="305"/>
                  </a:lnTo>
                  <a:lnTo>
                    <a:pt x="15" y="276"/>
                  </a:lnTo>
                  <a:lnTo>
                    <a:pt x="26" y="255"/>
                  </a:lnTo>
                  <a:lnTo>
                    <a:pt x="10" y="234"/>
                  </a:lnTo>
                  <a:lnTo>
                    <a:pt x="15" y="222"/>
                  </a:lnTo>
                  <a:lnTo>
                    <a:pt x="26" y="234"/>
                  </a:lnTo>
                  <a:lnTo>
                    <a:pt x="38" y="194"/>
                  </a:lnTo>
                  <a:lnTo>
                    <a:pt x="48" y="201"/>
                  </a:lnTo>
                  <a:lnTo>
                    <a:pt x="38" y="184"/>
                  </a:lnTo>
                  <a:lnTo>
                    <a:pt x="26" y="184"/>
                  </a:lnTo>
                  <a:lnTo>
                    <a:pt x="26" y="161"/>
                  </a:lnTo>
                  <a:lnTo>
                    <a:pt x="52" y="161"/>
                  </a:lnTo>
                  <a:lnTo>
                    <a:pt x="64" y="168"/>
                  </a:lnTo>
                  <a:lnTo>
                    <a:pt x="64" y="168"/>
                  </a:lnTo>
                  <a:lnTo>
                    <a:pt x="64" y="156"/>
                  </a:lnTo>
                  <a:lnTo>
                    <a:pt x="48" y="139"/>
                  </a:lnTo>
                  <a:lnTo>
                    <a:pt x="48" y="123"/>
                  </a:lnTo>
                  <a:lnTo>
                    <a:pt x="64" y="123"/>
                  </a:lnTo>
                  <a:lnTo>
                    <a:pt x="48" y="111"/>
                  </a:lnTo>
                  <a:lnTo>
                    <a:pt x="48" y="99"/>
                  </a:lnTo>
                  <a:lnTo>
                    <a:pt x="38" y="99"/>
                  </a:lnTo>
                  <a:lnTo>
                    <a:pt x="31" y="90"/>
                  </a:lnTo>
                  <a:lnTo>
                    <a:pt x="31" y="57"/>
                  </a:lnTo>
                  <a:lnTo>
                    <a:pt x="38" y="45"/>
                  </a:lnTo>
                  <a:lnTo>
                    <a:pt x="52" y="45"/>
                  </a:lnTo>
                  <a:lnTo>
                    <a:pt x="69" y="17"/>
                  </a:lnTo>
                  <a:lnTo>
                    <a:pt x="107" y="45"/>
                  </a:lnTo>
                  <a:lnTo>
                    <a:pt x="119" y="28"/>
                  </a:lnTo>
                  <a:lnTo>
                    <a:pt x="140" y="28"/>
                  </a:lnTo>
                  <a:lnTo>
                    <a:pt x="140" y="0"/>
                  </a:lnTo>
                  <a:lnTo>
                    <a:pt x="156" y="12"/>
                  </a:lnTo>
                  <a:lnTo>
                    <a:pt x="156" y="0"/>
                  </a:lnTo>
                  <a:lnTo>
                    <a:pt x="161" y="0"/>
                  </a:lnTo>
                  <a:lnTo>
                    <a:pt x="173" y="33"/>
                  </a:lnTo>
                  <a:lnTo>
                    <a:pt x="173" y="45"/>
                  </a:lnTo>
                  <a:lnTo>
                    <a:pt x="178" y="45"/>
                  </a:lnTo>
                  <a:lnTo>
                    <a:pt x="194" y="28"/>
                  </a:lnTo>
                  <a:lnTo>
                    <a:pt x="215" y="17"/>
                  </a:lnTo>
                  <a:lnTo>
                    <a:pt x="225" y="33"/>
                  </a:lnTo>
                  <a:lnTo>
                    <a:pt x="241" y="33"/>
                  </a:lnTo>
                  <a:lnTo>
                    <a:pt x="253" y="57"/>
                  </a:lnTo>
                  <a:lnTo>
                    <a:pt x="267" y="73"/>
                  </a:lnTo>
                  <a:lnTo>
                    <a:pt x="300" y="83"/>
                  </a:lnTo>
                  <a:lnTo>
                    <a:pt x="305" y="66"/>
                  </a:lnTo>
                  <a:lnTo>
                    <a:pt x="350" y="57"/>
                  </a:lnTo>
                  <a:lnTo>
                    <a:pt x="376" y="57"/>
                  </a:lnTo>
                  <a:lnTo>
                    <a:pt x="409" y="99"/>
                  </a:lnTo>
                  <a:lnTo>
                    <a:pt x="414" y="90"/>
                  </a:lnTo>
                  <a:lnTo>
                    <a:pt x="409" y="123"/>
                  </a:lnTo>
                  <a:lnTo>
                    <a:pt x="414" y="128"/>
                  </a:lnTo>
                  <a:lnTo>
                    <a:pt x="426" y="184"/>
                  </a:lnTo>
                  <a:lnTo>
                    <a:pt x="409" y="201"/>
                  </a:lnTo>
                  <a:lnTo>
                    <a:pt x="393" y="267"/>
                  </a:lnTo>
                  <a:lnTo>
                    <a:pt x="376" y="288"/>
                  </a:lnTo>
                  <a:lnTo>
                    <a:pt x="371" y="293"/>
                  </a:lnTo>
                  <a:lnTo>
                    <a:pt x="393" y="366"/>
                  </a:lnTo>
                  <a:lnTo>
                    <a:pt x="409" y="378"/>
                  </a:lnTo>
                  <a:lnTo>
                    <a:pt x="409" y="404"/>
                  </a:lnTo>
                  <a:lnTo>
                    <a:pt x="393" y="404"/>
                  </a:lnTo>
                  <a:lnTo>
                    <a:pt x="402" y="399"/>
                  </a:lnTo>
                  <a:lnTo>
                    <a:pt x="393" y="404"/>
                  </a:lnTo>
                  <a:lnTo>
                    <a:pt x="376" y="399"/>
                  </a:lnTo>
                  <a:lnTo>
                    <a:pt x="376" y="388"/>
                  </a:lnTo>
                  <a:lnTo>
                    <a:pt x="371" y="388"/>
                  </a:lnTo>
                  <a:lnTo>
                    <a:pt x="371" y="404"/>
                  </a:lnTo>
                  <a:lnTo>
                    <a:pt x="322" y="399"/>
                  </a:lnTo>
                  <a:lnTo>
                    <a:pt x="338" y="399"/>
                  </a:lnTo>
                  <a:lnTo>
                    <a:pt x="334" y="388"/>
                  </a:lnTo>
                  <a:lnTo>
                    <a:pt x="338" y="399"/>
                  </a:lnTo>
                  <a:lnTo>
                    <a:pt x="284" y="388"/>
                  </a:lnTo>
                  <a:lnTo>
                    <a:pt x="263" y="404"/>
                  </a:lnTo>
                  <a:lnTo>
                    <a:pt x="253" y="399"/>
                  </a:lnTo>
                  <a:lnTo>
                    <a:pt x="232" y="399"/>
                  </a:lnTo>
                  <a:lnTo>
                    <a:pt x="225" y="404"/>
                  </a:lnTo>
                  <a:lnTo>
                    <a:pt x="232" y="404"/>
                  </a:lnTo>
                  <a:lnTo>
                    <a:pt x="232" y="399"/>
                  </a:lnTo>
                  <a:lnTo>
                    <a:pt x="253" y="404"/>
                  </a:lnTo>
                  <a:lnTo>
                    <a:pt x="187" y="416"/>
                  </a:lnTo>
                  <a:lnTo>
                    <a:pt x="81" y="461"/>
                  </a:lnTo>
                  <a:lnTo>
                    <a:pt x="81" y="461"/>
                  </a:lnTo>
                  <a:lnTo>
                    <a:pt x="81" y="461"/>
                  </a:lnTo>
                  <a:close/>
                  <a:moveTo>
                    <a:pt x="263" y="404"/>
                  </a:moveTo>
                  <a:lnTo>
                    <a:pt x="305" y="399"/>
                  </a:lnTo>
                  <a:lnTo>
                    <a:pt x="322" y="399"/>
                  </a:lnTo>
                  <a:lnTo>
                    <a:pt x="263" y="404"/>
                  </a:lnTo>
                  <a:lnTo>
                    <a:pt x="263" y="404"/>
                  </a:lnTo>
                  <a:lnTo>
                    <a:pt x="263" y="404"/>
                  </a:lnTo>
                  <a:close/>
                  <a:moveTo>
                    <a:pt x="388" y="404"/>
                  </a:moveTo>
                  <a:lnTo>
                    <a:pt x="388" y="404"/>
                  </a:lnTo>
                  <a:lnTo>
                    <a:pt x="376" y="404"/>
                  </a:lnTo>
                  <a:lnTo>
                    <a:pt x="388" y="404"/>
                  </a:lnTo>
                  <a:lnTo>
                    <a:pt x="388" y="404"/>
                  </a:lnTo>
                  <a:lnTo>
                    <a:pt x="388" y="404"/>
                  </a:lnTo>
                  <a:close/>
                </a:path>
              </a:pathLst>
            </a:custGeom>
            <a:solidFill>
              <a:schemeClr val="bg2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32" name="Freeform 475">
              <a:extLst>
                <a:ext uri="{FF2B5EF4-FFF2-40B4-BE49-F238E27FC236}">
                  <a16:creationId xmlns:a16="http://schemas.microsoft.com/office/drawing/2014/main" id="{9470EF7E-2D40-4A26-BE21-E091DBA3A924}"/>
                </a:ext>
              </a:extLst>
            </p:cNvPr>
            <p:cNvSpPr>
              <a:spLocks/>
            </p:cNvSpPr>
            <p:nvPr/>
          </p:nvSpPr>
          <p:spPr bwMode="gray">
            <a:xfrm>
              <a:off x="6579379" y="2308484"/>
              <a:ext cx="104056" cy="102226"/>
            </a:xfrm>
            <a:custGeom>
              <a:avLst/>
              <a:gdLst>
                <a:gd name="T0" fmla="*/ 31 w 678"/>
                <a:gd name="T1" fmla="*/ 420 h 666"/>
                <a:gd name="T2" fmla="*/ 15 w 678"/>
                <a:gd name="T3" fmla="*/ 416 h 666"/>
                <a:gd name="T4" fmla="*/ 15 w 678"/>
                <a:gd name="T5" fmla="*/ 399 h 666"/>
                <a:gd name="T6" fmla="*/ 156 w 678"/>
                <a:gd name="T7" fmla="*/ 250 h 666"/>
                <a:gd name="T8" fmla="*/ 171 w 678"/>
                <a:gd name="T9" fmla="*/ 182 h 666"/>
                <a:gd name="T10" fmla="*/ 178 w 678"/>
                <a:gd name="T11" fmla="*/ 127 h 666"/>
                <a:gd name="T12" fmla="*/ 171 w 678"/>
                <a:gd name="T13" fmla="*/ 87 h 666"/>
                <a:gd name="T14" fmla="*/ 208 w 678"/>
                <a:gd name="T15" fmla="*/ 66 h 666"/>
                <a:gd name="T16" fmla="*/ 263 w 678"/>
                <a:gd name="T17" fmla="*/ 28 h 666"/>
                <a:gd name="T18" fmla="*/ 291 w 678"/>
                <a:gd name="T19" fmla="*/ 12 h 666"/>
                <a:gd name="T20" fmla="*/ 338 w 678"/>
                <a:gd name="T21" fmla="*/ 16 h 666"/>
                <a:gd name="T22" fmla="*/ 371 w 678"/>
                <a:gd name="T23" fmla="*/ 12 h 666"/>
                <a:gd name="T24" fmla="*/ 376 w 678"/>
                <a:gd name="T25" fmla="*/ 28 h 666"/>
                <a:gd name="T26" fmla="*/ 409 w 678"/>
                <a:gd name="T27" fmla="*/ 16 h 666"/>
                <a:gd name="T28" fmla="*/ 426 w 678"/>
                <a:gd name="T29" fmla="*/ 33 h 666"/>
                <a:gd name="T30" fmla="*/ 440 w 678"/>
                <a:gd name="T31" fmla="*/ 54 h 666"/>
                <a:gd name="T32" fmla="*/ 440 w 678"/>
                <a:gd name="T33" fmla="*/ 82 h 666"/>
                <a:gd name="T34" fmla="*/ 461 w 678"/>
                <a:gd name="T35" fmla="*/ 123 h 666"/>
                <a:gd name="T36" fmla="*/ 485 w 678"/>
                <a:gd name="T37" fmla="*/ 139 h 666"/>
                <a:gd name="T38" fmla="*/ 522 w 678"/>
                <a:gd name="T39" fmla="*/ 139 h 666"/>
                <a:gd name="T40" fmla="*/ 499 w 678"/>
                <a:gd name="T41" fmla="*/ 160 h 666"/>
                <a:gd name="T42" fmla="*/ 515 w 678"/>
                <a:gd name="T43" fmla="*/ 193 h 666"/>
                <a:gd name="T44" fmla="*/ 494 w 678"/>
                <a:gd name="T45" fmla="*/ 205 h 666"/>
                <a:gd name="T46" fmla="*/ 485 w 678"/>
                <a:gd name="T47" fmla="*/ 238 h 666"/>
                <a:gd name="T48" fmla="*/ 461 w 678"/>
                <a:gd name="T49" fmla="*/ 238 h 666"/>
                <a:gd name="T50" fmla="*/ 468 w 678"/>
                <a:gd name="T51" fmla="*/ 271 h 666"/>
                <a:gd name="T52" fmla="*/ 468 w 678"/>
                <a:gd name="T53" fmla="*/ 288 h 666"/>
                <a:gd name="T54" fmla="*/ 494 w 678"/>
                <a:gd name="T55" fmla="*/ 309 h 666"/>
                <a:gd name="T56" fmla="*/ 494 w 678"/>
                <a:gd name="T57" fmla="*/ 316 h 666"/>
                <a:gd name="T58" fmla="*/ 515 w 678"/>
                <a:gd name="T59" fmla="*/ 342 h 666"/>
                <a:gd name="T60" fmla="*/ 532 w 678"/>
                <a:gd name="T61" fmla="*/ 366 h 666"/>
                <a:gd name="T62" fmla="*/ 603 w 678"/>
                <a:gd name="T63" fmla="*/ 404 h 666"/>
                <a:gd name="T64" fmla="*/ 629 w 678"/>
                <a:gd name="T65" fmla="*/ 460 h 666"/>
                <a:gd name="T66" fmla="*/ 624 w 678"/>
                <a:gd name="T67" fmla="*/ 527 h 666"/>
                <a:gd name="T68" fmla="*/ 645 w 678"/>
                <a:gd name="T69" fmla="*/ 564 h 666"/>
                <a:gd name="T70" fmla="*/ 667 w 678"/>
                <a:gd name="T71" fmla="*/ 604 h 666"/>
                <a:gd name="T72" fmla="*/ 641 w 678"/>
                <a:gd name="T73" fmla="*/ 593 h 666"/>
                <a:gd name="T74" fmla="*/ 586 w 678"/>
                <a:gd name="T75" fmla="*/ 593 h 666"/>
                <a:gd name="T76" fmla="*/ 537 w 678"/>
                <a:gd name="T77" fmla="*/ 666 h 666"/>
                <a:gd name="T78" fmla="*/ 414 w 678"/>
                <a:gd name="T79" fmla="*/ 666 h 666"/>
                <a:gd name="T80" fmla="*/ 182 w 678"/>
                <a:gd name="T81" fmla="*/ 493 h 666"/>
                <a:gd name="T82" fmla="*/ 22 w 678"/>
                <a:gd name="T83" fmla="*/ 427 h 666"/>
                <a:gd name="T84" fmla="*/ 22 w 678"/>
                <a:gd name="T85" fmla="*/ 427 h 6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678" h="666">
                  <a:moveTo>
                    <a:pt x="22" y="427"/>
                  </a:moveTo>
                  <a:lnTo>
                    <a:pt x="31" y="420"/>
                  </a:lnTo>
                  <a:lnTo>
                    <a:pt x="31" y="416"/>
                  </a:lnTo>
                  <a:lnTo>
                    <a:pt x="15" y="416"/>
                  </a:lnTo>
                  <a:lnTo>
                    <a:pt x="10" y="404"/>
                  </a:lnTo>
                  <a:lnTo>
                    <a:pt x="15" y="399"/>
                  </a:lnTo>
                  <a:lnTo>
                    <a:pt x="0" y="333"/>
                  </a:lnTo>
                  <a:lnTo>
                    <a:pt x="156" y="250"/>
                  </a:lnTo>
                  <a:lnTo>
                    <a:pt x="171" y="215"/>
                  </a:lnTo>
                  <a:lnTo>
                    <a:pt x="171" y="182"/>
                  </a:lnTo>
                  <a:lnTo>
                    <a:pt x="178" y="149"/>
                  </a:lnTo>
                  <a:lnTo>
                    <a:pt x="178" y="127"/>
                  </a:lnTo>
                  <a:lnTo>
                    <a:pt x="171" y="111"/>
                  </a:lnTo>
                  <a:lnTo>
                    <a:pt x="171" y="87"/>
                  </a:lnTo>
                  <a:lnTo>
                    <a:pt x="178" y="71"/>
                  </a:lnTo>
                  <a:lnTo>
                    <a:pt x="208" y="66"/>
                  </a:lnTo>
                  <a:lnTo>
                    <a:pt x="246" y="28"/>
                  </a:lnTo>
                  <a:lnTo>
                    <a:pt x="263" y="28"/>
                  </a:lnTo>
                  <a:lnTo>
                    <a:pt x="279" y="0"/>
                  </a:lnTo>
                  <a:lnTo>
                    <a:pt x="291" y="12"/>
                  </a:lnTo>
                  <a:lnTo>
                    <a:pt x="300" y="0"/>
                  </a:lnTo>
                  <a:lnTo>
                    <a:pt x="338" y="16"/>
                  </a:lnTo>
                  <a:lnTo>
                    <a:pt x="355" y="16"/>
                  </a:lnTo>
                  <a:lnTo>
                    <a:pt x="371" y="12"/>
                  </a:lnTo>
                  <a:lnTo>
                    <a:pt x="376" y="16"/>
                  </a:lnTo>
                  <a:lnTo>
                    <a:pt x="376" y="28"/>
                  </a:lnTo>
                  <a:lnTo>
                    <a:pt x="388" y="38"/>
                  </a:lnTo>
                  <a:lnTo>
                    <a:pt x="409" y="16"/>
                  </a:lnTo>
                  <a:lnTo>
                    <a:pt x="414" y="28"/>
                  </a:lnTo>
                  <a:lnTo>
                    <a:pt x="426" y="33"/>
                  </a:lnTo>
                  <a:lnTo>
                    <a:pt x="426" y="49"/>
                  </a:lnTo>
                  <a:lnTo>
                    <a:pt x="440" y="54"/>
                  </a:lnTo>
                  <a:lnTo>
                    <a:pt x="430" y="71"/>
                  </a:lnTo>
                  <a:lnTo>
                    <a:pt x="440" y="82"/>
                  </a:lnTo>
                  <a:lnTo>
                    <a:pt x="452" y="87"/>
                  </a:lnTo>
                  <a:lnTo>
                    <a:pt x="461" y="123"/>
                  </a:lnTo>
                  <a:lnTo>
                    <a:pt x="478" y="123"/>
                  </a:lnTo>
                  <a:lnTo>
                    <a:pt x="485" y="139"/>
                  </a:lnTo>
                  <a:lnTo>
                    <a:pt x="506" y="127"/>
                  </a:lnTo>
                  <a:lnTo>
                    <a:pt x="522" y="139"/>
                  </a:lnTo>
                  <a:lnTo>
                    <a:pt x="499" y="144"/>
                  </a:lnTo>
                  <a:lnTo>
                    <a:pt x="499" y="160"/>
                  </a:lnTo>
                  <a:lnTo>
                    <a:pt x="515" y="182"/>
                  </a:lnTo>
                  <a:lnTo>
                    <a:pt x="515" y="193"/>
                  </a:lnTo>
                  <a:lnTo>
                    <a:pt x="499" y="193"/>
                  </a:lnTo>
                  <a:lnTo>
                    <a:pt x="494" y="205"/>
                  </a:lnTo>
                  <a:lnTo>
                    <a:pt x="478" y="222"/>
                  </a:lnTo>
                  <a:lnTo>
                    <a:pt x="485" y="238"/>
                  </a:lnTo>
                  <a:lnTo>
                    <a:pt x="468" y="234"/>
                  </a:lnTo>
                  <a:lnTo>
                    <a:pt x="461" y="238"/>
                  </a:lnTo>
                  <a:lnTo>
                    <a:pt x="468" y="255"/>
                  </a:lnTo>
                  <a:lnTo>
                    <a:pt x="468" y="271"/>
                  </a:lnTo>
                  <a:lnTo>
                    <a:pt x="461" y="276"/>
                  </a:lnTo>
                  <a:lnTo>
                    <a:pt x="468" y="288"/>
                  </a:lnTo>
                  <a:lnTo>
                    <a:pt x="485" y="309"/>
                  </a:lnTo>
                  <a:lnTo>
                    <a:pt x="494" y="309"/>
                  </a:lnTo>
                  <a:lnTo>
                    <a:pt x="499" y="316"/>
                  </a:lnTo>
                  <a:lnTo>
                    <a:pt x="494" y="316"/>
                  </a:lnTo>
                  <a:lnTo>
                    <a:pt x="499" y="316"/>
                  </a:lnTo>
                  <a:lnTo>
                    <a:pt x="515" y="342"/>
                  </a:lnTo>
                  <a:lnTo>
                    <a:pt x="506" y="366"/>
                  </a:lnTo>
                  <a:lnTo>
                    <a:pt x="532" y="366"/>
                  </a:lnTo>
                  <a:lnTo>
                    <a:pt x="586" y="404"/>
                  </a:lnTo>
                  <a:lnTo>
                    <a:pt x="603" y="404"/>
                  </a:lnTo>
                  <a:lnTo>
                    <a:pt x="603" y="416"/>
                  </a:lnTo>
                  <a:lnTo>
                    <a:pt x="629" y="460"/>
                  </a:lnTo>
                  <a:lnTo>
                    <a:pt x="624" y="482"/>
                  </a:lnTo>
                  <a:lnTo>
                    <a:pt x="624" y="527"/>
                  </a:lnTo>
                  <a:lnTo>
                    <a:pt x="645" y="527"/>
                  </a:lnTo>
                  <a:lnTo>
                    <a:pt x="645" y="564"/>
                  </a:lnTo>
                  <a:lnTo>
                    <a:pt x="667" y="581"/>
                  </a:lnTo>
                  <a:lnTo>
                    <a:pt x="667" y="604"/>
                  </a:lnTo>
                  <a:lnTo>
                    <a:pt x="678" y="604"/>
                  </a:lnTo>
                  <a:lnTo>
                    <a:pt x="641" y="593"/>
                  </a:lnTo>
                  <a:lnTo>
                    <a:pt x="624" y="593"/>
                  </a:lnTo>
                  <a:lnTo>
                    <a:pt x="586" y="593"/>
                  </a:lnTo>
                  <a:lnTo>
                    <a:pt x="570" y="638"/>
                  </a:lnTo>
                  <a:lnTo>
                    <a:pt x="537" y="666"/>
                  </a:lnTo>
                  <a:lnTo>
                    <a:pt x="537" y="666"/>
                  </a:lnTo>
                  <a:lnTo>
                    <a:pt x="414" y="666"/>
                  </a:lnTo>
                  <a:lnTo>
                    <a:pt x="232" y="510"/>
                  </a:lnTo>
                  <a:lnTo>
                    <a:pt x="182" y="493"/>
                  </a:lnTo>
                  <a:lnTo>
                    <a:pt x="107" y="444"/>
                  </a:lnTo>
                  <a:lnTo>
                    <a:pt x="22" y="427"/>
                  </a:lnTo>
                  <a:lnTo>
                    <a:pt x="22" y="427"/>
                  </a:lnTo>
                  <a:lnTo>
                    <a:pt x="22" y="427"/>
                  </a:lnTo>
                  <a:close/>
                </a:path>
              </a:pathLst>
            </a:custGeom>
            <a:solidFill>
              <a:schemeClr val="bg2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33" name="Freeform 476">
              <a:extLst>
                <a:ext uri="{FF2B5EF4-FFF2-40B4-BE49-F238E27FC236}">
                  <a16:creationId xmlns:a16="http://schemas.microsoft.com/office/drawing/2014/main" id="{D47F2CBE-2991-49E8-950D-7387494EB98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491941" y="2201194"/>
              <a:ext cx="239267" cy="267844"/>
            </a:xfrm>
            <a:custGeom>
              <a:avLst/>
              <a:gdLst>
                <a:gd name="T0" fmla="*/ 1521 w 1559"/>
                <a:gd name="T1" fmla="*/ 193 h 1745"/>
                <a:gd name="T2" fmla="*/ 1483 w 1559"/>
                <a:gd name="T3" fmla="*/ 215 h 1745"/>
                <a:gd name="T4" fmla="*/ 1207 w 1559"/>
                <a:gd name="T5" fmla="*/ 267 h 1745"/>
                <a:gd name="T6" fmla="*/ 1181 w 1559"/>
                <a:gd name="T7" fmla="*/ 337 h 1745"/>
                <a:gd name="T8" fmla="*/ 1191 w 1559"/>
                <a:gd name="T9" fmla="*/ 222 h 1745"/>
                <a:gd name="T10" fmla="*/ 1278 w 1559"/>
                <a:gd name="T11" fmla="*/ 82 h 1745"/>
                <a:gd name="T12" fmla="*/ 1450 w 1559"/>
                <a:gd name="T13" fmla="*/ 139 h 1745"/>
                <a:gd name="T14" fmla="*/ 1245 w 1559"/>
                <a:gd name="T15" fmla="*/ 33 h 1745"/>
                <a:gd name="T16" fmla="*/ 1115 w 1559"/>
                <a:gd name="T17" fmla="*/ 292 h 1745"/>
                <a:gd name="T18" fmla="*/ 1136 w 1559"/>
                <a:gd name="T19" fmla="*/ 897 h 1745"/>
                <a:gd name="T20" fmla="*/ 1127 w 1559"/>
                <a:gd name="T21" fmla="*/ 876 h 1745"/>
                <a:gd name="T22" fmla="*/ 1072 w 1559"/>
                <a:gd name="T23" fmla="*/ 897 h 1745"/>
                <a:gd name="T24" fmla="*/ 943 w 1559"/>
                <a:gd name="T25" fmla="*/ 914 h 1745"/>
                <a:gd name="T26" fmla="*/ 938 w 1559"/>
                <a:gd name="T27" fmla="*/ 947 h 1745"/>
                <a:gd name="T28" fmla="*/ 801 w 1559"/>
                <a:gd name="T29" fmla="*/ 987 h 1745"/>
                <a:gd name="T30" fmla="*/ 737 w 1559"/>
                <a:gd name="T31" fmla="*/ 930 h 1745"/>
                <a:gd name="T32" fmla="*/ 666 w 1559"/>
                <a:gd name="T33" fmla="*/ 954 h 1745"/>
                <a:gd name="T34" fmla="*/ 574 w 1559"/>
                <a:gd name="T35" fmla="*/ 975 h 1745"/>
                <a:gd name="T36" fmla="*/ 633 w 1559"/>
                <a:gd name="T37" fmla="*/ 864 h 1745"/>
                <a:gd name="T38" fmla="*/ 829 w 1559"/>
                <a:gd name="T39" fmla="*/ 859 h 1745"/>
                <a:gd name="T40" fmla="*/ 921 w 1559"/>
                <a:gd name="T41" fmla="*/ 753 h 1745"/>
                <a:gd name="T42" fmla="*/ 943 w 1559"/>
                <a:gd name="T43" fmla="*/ 732 h 1745"/>
                <a:gd name="T44" fmla="*/ 1136 w 1559"/>
                <a:gd name="T45" fmla="*/ 581 h 1745"/>
                <a:gd name="T46" fmla="*/ 1169 w 1559"/>
                <a:gd name="T47" fmla="*/ 415 h 1745"/>
                <a:gd name="T48" fmla="*/ 1235 w 1559"/>
                <a:gd name="T49" fmla="*/ 375 h 1745"/>
                <a:gd name="T50" fmla="*/ 1283 w 1559"/>
                <a:gd name="T51" fmla="*/ 543 h 1745"/>
                <a:gd name="T52" fmla="*/ 1212 w 1559"/>
                <a:gd name="T53" fmla="*/ 654 h 1745"/>
                <a:gd name="T54" fmla="*/ 1051 w 1559"/>
                <a:gd name="T55" fmla="*/ 642 h 1745"/>
                <a:gd name="T56" fmla="*/ 683 w 1559"/>
                <a:gd name="T57" fmla="*/ 786 h 1745"/>
                <a:gd name="T58" fmla="*/ 1106 w 1559"/>
                <a:gd name="T59" fmla="*/ 918 h 1745"/>
                <a:gd name="T60" fmla="*/ 411 w 1559"/>
                <a:gd name="T61" fmla="*/ 918 h 1745"/>
                <a:gd name="T62" fmla="*/ 780 w 1559"/>
                <a:gd name="T63" fmla="*/ 959 h 1745"/>
                <a:gd name="T64" fmla="*/ 725 w 1559"/>
                <a:gd name="T65" fmla="*/ 1025 h 1745"/>
                <a:gd name="T66" fmla="*/ 628 w 1559"/>
                <a:gd name="T67" fmla="*/ 1041 h 1745"/>
                <a:gd name="T68" fmla="*/ 720 w 1559"/>
                <a:gd name="T69" fmla="*/ 954 h 1745"/>
                <a:gd name="T70" fmla="*/ 402 w 1559"/>
                <a:gd name="T71" fmla="*/ 959 h 1745"/>
                <a:gd name="T72" fmla="*/ 657 w 1559"/>
                <a:gd name="T73" fmla="*/ 954 h 1745"/>
                <a:gd name="T74" fmla="*/ 628 w 1559"/>
                <a:gd name="T75" fmla="*/ 970 h 1745"/>
                <a:gd name="T76" fmla="*/ 565 w 1559"/>
                <a:gd name="T77" fmla="*/ 1008 h 1745"/>
                <a:gd name="T78" fmla="*/ 527 w 1559"/>
                <a:gd name="T79" fmla="*/ 1181 h 1745"/>
                <a:gd name="T80" fmla="*/ 489 w 1559"/>
                <a:gd name="T81" fmla="*/ 1174 h 1745"/>
                <a:gd name="T82" fmla="*/ 489 w 1559"/>
                <a:gd name="T83" fmla="*/ 1081 h 1745"/>
                <a:gd name="T84" fmla="*/ 456 w 1559"/>
                <a:gd name="T85" fmla="*/ 1098 h 1745"/>
                <a:gd name="T86" fmla="*/ 435 w 1559"/>
                <a:gd name="T87" fmla="*/ 1070 h 1745"/>
                <a:gd name="T88" fmla="*/ 472 w 1559"/>
                <a:gd name="T89" fmla="*/ 1008 h 1745"/>
                <a:gd name="T90" fmla="*/ 423 w 1559"/>
                <a:gd name="T91" fmla="*/ 1004 h 1745"/>
                <a:gd name="T92" fmla="*/ 418 w 1559"/>
                <a:gd name="T93" fmla="*/ 1029 h 1745"/>
                <a:gd name="T94" fmla="*/ 385 w 1559"/>
                <a:gd name="T95" fmla="*/ 1058 h 1745"/>
                <a:gd name="T96" fmla="*/ 359 w 1559"/>
                <a:gd name="T97" fmla="*/ 1081 h 1745"/>
                <a:gd name="T98" fmla="*/ 465 w 1559"/>
                <a:gd name="T99" fmla="*/ 1103 h 1745"/>
                <a:gd name="T100" fmla="*/ 456 w 1559"/>
                <a:gd name="T101" fmla="*/ 1124 h 1745"/>
                <a:gd name="T102" fmla="*/ 527 w 1559"/>
                <a:gd name="T103" fmla="*/ 1230 h 1745"/>
                <a:gd name="T104" fmla="*/ 489 w 1559"/>
                <a:gd name="T105" fmla="*/ 1280 h 1745"/>
                <a:gd name="T106" fmla="*/ 385 w 1559"/>
                <a:gd name="T107" fmla="*/ 1436 h 1745"/>
                <a:gd name="T108" fmla="*/ 397 w 1559"/>
                <a:gd name="T109" fmla="*/ 1436 h 1745"/>
                <a:gd name="T110" fmla="*/ 359 w 1559"/>
                <a:gd name="T111" fmla="*/ 1502 h 1745"/>
                <a:gd name="T112" fmla="*/ 293 w 1559"/>
                <a:gd name="T113" fmla="*/ 1596 h 1745"/>
                <a:gd name="T114" fmla="*/ 217 w 1559"/>
                <a:gd name="T115" fmla="*/ 1580 h 1745"/>
                <a:gd name="T116" fmla="*/ 116 w 1559"/>
                <a:gd name="T117" fmla="*/ 1696 h 1745"/>
                <a:gd name="T118" fmla="*/ 33 w 1559"/>
                <a:gd name="T119" fmla="*/ 1729 h 17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559" h="1745">
                  <a:moveTo>
                    <a:pt x="1450" y="139"/>
                  </a:moveTo>
                  <a:lnTo>
                    <a:pt x="1483" y="144"/>
                  </a:lnTo>
                  <a:lnTo>
                    <a:pt x="1521" y="104"/>
                  </a:lnTo>
                  <a:lnTo>
                    <a:pt x="1531" y="111"/>
                  </a:lnTo>
                  <a:lnTo>
                    <a:pt x="1505" y="155"/>
                  </a:lnTo>
                  <a:lnTo>
                    <a:pt x="1517" y="165"/>
                  </a:lnTo>
                  <a:lnTo>
                    <a:pt x="1521" y="177"/>
                  </a:lnTo>
                  <a:lnTo>
                    <a:pt x="1517" y="165"/>
                  </a:lnTo>
                  <a:lnTo>
                    <a:pt x="1521" y="193"/>
                  </a:lnTo>
                  <a:lnTo>
                    <a:pt x="1521" y="193"/>
                  </a:lnTo>
                  <a:lnTo>
                    <a:pt x="1538" y="198"/>
                  </a:lnTo>
                  <a:lnTo>
                    <a:pt x="1547" y="193"/>
                  </a:lnTo>
                  <a:lnTo>
                    <a:pt x="1559" y="193"/>
                  </a:lnTo>
                  <a:lnTo>
                    <a:pt x="1547" y="193"/>
                  </a:lnTo>
                  <a:lnTo>
                    <a:pt x="1538" y="210"/>
                  </a:lnTo>
                  <a:lnTo>
                    <a:pt x="1517" y="210"/>
                  </a:lnTo>
                  <a:lnTo>
                    <a:pt x="1500" y="222"/>
                  </a:lnTo>
                  <a:lnTo>
                    <a:pt x="1483" y="215"/>
                  </a:lnTo>
                  <a:lnTo>
                    <a:pt x="1479" y="231"/>
                  </a:lnTo>
                  <a:lnTo>
                    <a:pt x="1450" y="222"/>
                  </a:lnTo>
                  <a:lnTo>
                    <a:pt x="1429" y="231"/>
                  </a:lnTo>
                  <a:lnTo>
                    <a:pt x="1391" y="271"/>
                  </a:lnTo>
                  <a:lnTo>
                    <a:pt x="1375" y="321"/>
                  </a:lnTo>
                  <a:lnTo>
                    <a:pt x="1278" y="255"/>
                  </a:lnTo>
                  <a:lnTo>
                    <a:pt x="1250" y="267"/>
                  </a:lnTo>
                  <a:lnTo>
                    <a:pt x="1224" y="288"/>
                  </a:lnTo>
                  <a:lnTo>
                    <a:pt x="1207" y="267"/>
                  </a:lnTo>
                  <a:lnTo>
                    <a:pt x="1181" y="267"/>
                  </a:lnTo>
                  <a:lnTo>
                    <a:pt x="1174" y="271"/>
                  </a:lnTo>
                  <a:lnTo>
                    <a:pt x="1169" y="288"/>
                  </a:lnTo>
                  <a:lnTo>
                    <a:pt x="1191" y="304"/>
                  </a:lnTo>
                  <a:lnTo>
                    <a:pt x="1198" y="304"/>
                  </a:lnTo>
                  <a:lnTo>
                    <a:pt x="1235" y="326"/>
                  </a:lnTo>
                  <a:lnTo>
                    <a:pt x="1224" y="337"/>
                  </a:lnTo>
                  <a:lnTo>
                    <a:pt x="1198" y="326"/>
                  </a:lnTo>
                  <a:lnTo>
                    <a:pt x="1181" y="337"/>
                  </a:lnTo>
                  <a:lnTo>
                    <a:pt x="1181" y="349"/>
                  </a:lnTo>
                  <a:lnTo>
                    <a:pt x="1169" y="359"/>
                  </a:lnTo>
                  <a:lnTo>
                    <a:pt x="1153" y="359"/>
                  </a:lnTo>
                  <a:lnTo>
                    <a:pt x="1153" y="342"/>
                  </a:lnTo>
                  <a:lnTo>
                    <a:pt x="1157" y="309"/>
                  </a:lnTo>
                  <a:lnTo>
                    <a:pt x="1136" y="288"/>
                  </a:lnTo>
                  <a:lnTo>
                    <a:pt x="1136" y="255"/>
                  </a:lnTo>
                  <a:lnTo>
                    <a:pt x="1174" y="238"/>
                  </a:lnTo>
                  <a:lnTo>
                    <a:pt x="1191" y="222"/>
                  </a:lnTo>
                  <a:lnTo>
                    <a:pt x="1174" y="198"/>
                  </a:lnTo>
                  <a:lnTo>
                    <a:pt x="1181" y="193"/>
                  </a:lnTo>
                  <a:lnTo>
                    <a:pt x="1207" y="210"/>
                  </a:lnTo>
                  <a:lnTo>
                    <a:pt x="1228" y="210"/>
                  </a:lnTo>
                  <a:lnTo>
                    <a:pt x="1250" y="193"/>
                  </a:lnTo>
                  <a:lnTo>
                    <a:pt x="1245" y="160"/>
                  </a:lnTo>
                  <a:lnTo>
                    <a:pt x="1266" y="139"/>
                  </a:lnTo>
                  <a:lnTo>
                    <a:pt x="1266" y="111"/>
                  </a:lnTo>
                  <a:lnTo>
                    <a:pt x="1278" y="82"/>
                  </a:lnTo>
                  <a:lnTo>
                    <a:pt x="1261" y="28"/>
                  </a:lnTo>
                  <a:lnTo>
                    <a:pt x="1266" y="11"/>
                  </a:lnTo>
                  <a:lnTo>
                    <a:pt x="1287" y="0"/>
                  </a:lnTo>
                  <a:lnTo>
                    <a:pt x="1370" y="87"/>
                  </a:lnTo>
                  <a:lnTo>
                    <a:pt x="1408" y="111"/>
                  </a:lnTo>
                  <a:lnTo>
                    <a:pt x="1413" y="127"/>
                  </a:lnTo>
                  <a:lnTo>
                    <a:pt x="1446" y="127"/>
                  </a:lnTo>
                  <a:lnTo>
                    <a:pt x="1450" y="139"/>
                  </a:lnTo>
                  <a:lnTo>
                    <a:pt x="1450" y="139"/>
                  </a:lnTo>
                  <a:lnTo>
                    <a:pt x="1450" y="139"/>
                  </a:lnTo>
                  <a:close/>
                  <a:moveTo>
                    <a:pt x="1224" y="11"/>
                  </a:moveTo>
                  <a:lnTo>
                    <a:pt x="1228" y="11"/>
                  </a:lnTo>
                  <a:lnTo>
                    <a:pt x="1224" y="28"/>
                  </a:lnTo>
                  <a:lnTo>
                    <a:pt x="1224" y="11"/>
                  </a:lnTo>
                  <a:lnTo>
                    <a:pt x="1224" y="11"/>
                  </a:lnTo>
                  <a:lnTo>
                    <a:pt x="1224" y="11"/>
                  </a:lnTo>
                  <a:close/>
                  <a:moveTo>
                    <a:pt x="1228" y="28"/>
                  </a:moveTo>
                  <a:lnTo>
                    <a:pt x="1245" y="33"/>
                  </a:lnTo>
                  <a:lnTo>
                    <a:pt x="1228" y="33"/>
                  </a:lnTo>
                  <a:lnTo>
                    <a:pt x="1228" y="28"/>
                  </a:lnTo>
                  <a:lnTo>
                    <a:pt x="1228" y="28"/>
                  </a:lnTo>
                  <a:lnTo>
                    <a:pt x="1228" y="28"/>
                  </a:lnTo>
                  <a:close/>
                  <a:moveTo>
                    <a:pt x="1115" y="292"/>
                  </a:moveTo>
                  <a:lnTo>
                    <a:pt x="1120" y="288"/>
                  </a:lnTo>
                  <a:lnTo>
                    <a:pt x="1115" y="304"/>
                  </a:lnTo>
                  <a:lnTo>
                    <a:pt x="1115" y="292"/>
                  </a:lnTo>
                  <a:lnTo>
                    <a:pt x="1115" y="292"/>
                  </a:lnTo>
                  <a:lnTo>
                    <a:pt x="1115" y="292"/>
                  </a:lnTo>
                  <a:close/>
                  <a:moveTo>
                    <a:pt x="1207" y="748"/>
                  </a:moveTo>
                  <a:lnTo>
                    <a:pt x="1191" y="791"/>
                  </a:lnTo>
                  <a:lnTo>
                    <a:pt x="1207" y="843"/>
                  </a:lnTo>
                  <a:lnTo>
                    <a:pt x="1181" y="859"/>
                  </a:lnTo>
                  <a:lnTo>
                    <a:pt x="1174" y="892"/>
                  </a:lnTo>
                  <a:lnTo>
                    <a:pt x="1157" y="892"/>
                  </a:lnTo>
                  <a:lnTo>
                    <a:pt x="1143" y="902"/>
                  </a:lnTo>
                  <a:lnTo>
                    <a:pt x="1136" y="897"/>
                  </a:lnTo>
                  <a:lnTo>
                    <a:pt x="1143" y="897"/>
                  </a:lnTo>
                  <a:lnTo>
                    <a:pt x="1136" y="876"/>
                  </a:lnTo>
                  <a:lnTo>
                    <a:pt x="1157" y="848"/>
                  </a:lnTo>
                  <a:lnTo>
                    <a:pt x="1143" y="843"/>
                  </a:lnTo>
                  <a:lnTo>
                    <a:pt x="1136" y="843"/>
                  </a:lnTo>
                  <a:lnTo>
                    <a:pt x="1136" y="859"/>
                  </a:lnTo>
                  <a:lnTo>
                    <a:pt x="1127" y="859"/>
                  </a:lnTo>
                  <a:lnTo>
                    <a:pt x="1127" y="876"/>
                  </a:lnTo>
                  <a:lnTo>
                    <a:pt x="1127" y="876"/>
                  </a:lnTo>
                  <a:lnTo>
                    <a:pt x="1127" y="892"/>
                  </a:lnTo>
                  <a:lnTo>
                    <a:pt x="1120" y="876"/>
                  </a:lnTo>
                  <a:lnTo>
                    <a:pt x="1089" y="881"/>
                  </a:lnTo>
                  <a:lnTo>
                    <a:pt x="1082" y="892"/>
                  </a:lnTo>
                  <a:lnTo>
                    <a:pt x="1089" y="902"/>
                  </a:lnTo>
                  <a:lnTo>
                    <a:pt x="1068" y="930"/>
                  </a:lnTo>
                  <a:lnTo>
                    <a:pt x="1061" y="918"/>
                  </a:lnTo>
                  <a:lnTo>
                    <a:pt x="1068" y="897"/>
                  </a:lnTo>
                  <a:lnTo>
                    <a:pt x="1072" y="897"/>
                  </a:lnTo>
                  <a:lnTo>
                    <a:pt x="1061" y="892"/>
                  </a:lnTo>
                  <a:lnTo>
                    <a:pt x="1051" y="892"/>
                  </a:lnTo>
                  <a:lnTo>
                    <a:pt x="1035" y="902"/>
                  </a:lnTo>
                  <a:lnTo>
                    <a:pt x="1018" y="930"/>
                  </a:lnTo>
                  <a:lnTo>
                    <a:pt x="980" y="918"/>
                  </a:lnTo>
                  <a:lnTo>
                    <a:pt x="943" y="930"/>
                  </a:lnTo>
                  <a:lnTo>
                    <a:pt x="964" y="918"/>
                  </a:lnTo>
                  <a:lnTo>
                    <a:pt x="959" y="914"/>
                  </a:lnTo>
                  <a:lnTo>
                    <a:pt x="943" y="914"/>
                  </a:lnTo>
                  <a:lnTo>
                    <a:pt x="938" y="902"/>
                  </a:lnTo>
                  <a:lnTo>
                    <a:pt x="938" y="914"/>
                  </a:lnTo>
                  <a:lnTo>
                    <a:pt x="938" y="918"/>
                  </a:lnTo>
                  <a:lnTo>
                    <a:pt x="926" y="918"/>
                  </a:lnTo>
                  <a:lnTo>
                    <a:pt x="926" y="892"/>
                  </a:lnTo>
                  <a:lnTo>
                    <a:pt x="909" y="897"/>
                  </a:lnTo>
                  <a:lnTo>
                    <a:pt x="905" y="918"/>
                  </a:lnTo>
                  <a:lnTo>
                    <a:pt x="905" y="930"/>
                  </a:lnTo>
                  <a:lnTo>
                    <a:pt x="938" y="947"/>
                  </a:lnTo>
                  <a:lnTo>
                    <a:pt x="938" y="954"/>
                  </a:lnTo>
                  <a:lnTo>
                    <a:pt x="909" y="954"/>
                  </a:lnTo>
                  <a:lnTo>
                    <a:pt x="900" y="959"/>
                  </a:lnTo>
                  <a:lnTo>
                    <a:pt x="888" y="987"/>
                  </a:lnTo>
                  <a:lnTo>
                    <a:pt x="850" y="1025"/>
                  </a:lnTo>
                  <a:lnTo>
                    <a:pt x="829" y="1013"/>
                  </a:lnTo>
                  <a:lnTo>
                    <a:pt x="817" y="1008"/>
                  </a:lnTo>
                  <a:lnTo>
                    <a:pt x="829" y="1004"/>
                  </a:lnTo>
                  <a:lnTo>
                    <a:pt x="801" y="987"/>
                  </a:lnTo>
                  <a:lnTo>
                    <a:pt x="813" y="970"/>
                  </a:lnTo>
                  <a:lnTo>
                    <a:pt x="801" y="959"/>
                  </a:lnTo>
                  <a:lnTo>
                    <a:pt x="801" y="954"/>
                  </a:lnTo>
                  <a:lnTo>
                    <a:pt x="829" y="930"/>
                  </a:lnTo>
                  <a:lnTo>
                    <a:pt x="817" y="918"/>
                  </a:lnTo>
                  <a:lnTo>
                    <a:pt x="801" y="930"/>
                  </a:lnTo>
                  <a:lnTo>
                    <a:pt x="775" y="914"/>
                  </a:lnTo>
                  <a:lnTo>
                    <a:pt x="742" y="918"/>
                  </a:lnTo>
                  <a:lnTo>
                    <a:pt x="737" y="930"/>
                  </a:lnTo>
                  <a:lnTo>
                    <a:pt x="725" y="930"/>
                  </a:lnTo>
                  <a:lnTo>
                    <a:pt x="737" y="930"/>
                  </a:lnTo>
                  <a:lnTo>
                    <a:pt x="725" y="947"/>
                  </a:lnTo>
                  <a:lnTo>
                    <a:pt x="704" y="937"/>
                  </a:lnTo>
                  <a:lnTo>
                    <a:pt x="683" y="954"/>
                  </a:lnTo>
                  <a:lnTo>
                    <a:pt x="671" y="947"/>
                  </a:lnTo>
                  <a:lnTo>
                    <a:pt x="671" y="954"/>
                  </a:lnTo>
                  <a:lnTo>
                    <a:pt x="666" y="959"/>
                  </a:lnTo>
                  <a:lnTo>
                    <a:pt x="666" y="954"/>
                  </a:lnTo>
                  <a:lnTo>
                    <a:pt x="650" y="954"/>
                  </a:lnTo>
                  <a:lnTo>
                    <a:pt x="628" y="959"/>
                  </a:lnTo>
                  <a:lnTo>
                    <a:pt x="628" y="954"/>
                  </a:lnTo>
                  <a:lnTo>
                    <a:pt x="612" y="954"/>
                  </a:lnTo>
                  <a:lnTo>
                    <a:pt x="602" y="959"/>
                  </a:lnTo>
                  <a:lnTo>
                    <a:pt x="595" y="992"/>
                  </a:lnTo>
                  <a:lnTo>
                    <a:pt x="586" y="1004"/>
                  </a:lnTo>
                  <a:lnTo>
                    <a:pt x="586" y="987"/>
                  </a:lnTo>
                  <a:lnTo>
                    <a:pt x="574" y="975"/>
                  </a:lnTo>
                  <a:lnTo>
                    <a:pt x="532" y="987"/>
                  </a:lnTo>
                  <a:lnTo>
                    <a:pt x="520" y="975"/>
                  </a:lnTo>
                  <a:lnTo>
                    <a:pt x="510" y="987"/>
                  </a:lnTo>
                  <a:lnTo>
                    <a:pt x="510" y="947"/>
                  </a:lnTo>
                  <a:lnTo>
                    <a:pt x="548" y="947"/>
                  </a:lnTo>
                  <a:lnTo>
                    <a:pt x="557" y="930"/>
                  </a:lnTo>
                  <a:lnTo>
                    <a:pt x="579" y="918"/>
                  </a:lnTo>
                  <a:lnTo>
                    <a:pt x="633" y="876"/>
                  </a:lnTo>
                  <a:lnTo>
                    <a:pt x="633" y="864"/>
                  </a:lnTo>
                  <a:lnTo>
                    <a:pt x="666" y="848"/>
                  </a:lnTo>
                  <a:lnTo>
                    <a:pt x="687" y="859"/>
                  </a:lnTo>
                  <a:lnTo>
                    <a:pt x="742" y="848"/>
                  </a:lnTo>
                  <a:lnTo>
                    <a:pt x="763" y="843"/>
                  </a:lnTo>
                  <a:lnTo>
                    <a:pt x="796" y="843"/>
                  </a:lnTo>
                  <a:lnTo>
                    <a:pt x="813" y="836"/>
                  </a:lnTo>
                  <a:lnTo>
                    <a:pt x="817" y="843"/>
                  </a:lnTo>
                  <a:lnTo>
                    <a:pt x="813" y="848"/>
                  </a:lnTo>
                  <a:lnTo>
                    <a:pt x="829" y="859"/>
                  </a:lnTo>
                  <a:lnTo>
                    <a:pt x="817" y="848"/>
                  </a:lnTo>
                  <a:lnTo>
                    <a:pt x="829" y="848"/>
                  </a:lnTo>
                  <a:lnTo>
                    <a:pt x="834" y="859"/>
                  </a:lnTo>
                  <a:lnTo>
                    <a:pt x="850" y="859"/>
                  </a:lnTo>
                  <a:lnTo>
                    <a:pt x="872" y="836"/>
                  </a:lnTo>
                  <a:lnTo>
                    <a:pt x="872" y="843"/>
                  </a:lnTo>
                  <a:lnTo>
                    <a:pt x="872" y="836"/>
                  </a:lnTo>
                  <a:lnTo>
                    <a:pt x="867" y="819"/>
                  </a:lnTo>
                  <a:lnTo>
                    <a:pt x="921" y="753"/>
                  </a:lnTo>
                  <a:lnTo>
                    <a:pt x="921" y="737"/>
                  </a:lnTo>
                  <a:lnTo>
                    <a:pt x="921" y="715"/>
                  </a:lnTo>
                  <a:lnTo>
                    <a:pt x="926" y="699"/>
                  </a:lnTo>
                  <a:lnTo>
                    <a:pt x="964" y="692"/>
                  </a:lnTo>
                  <a:lnTo>
                    <a:pt x="964" y="699"/>
                  </a:lnTo>
                  <a:lnTo>
                    <a:pt x="943" y="715"/>
                  </a:lnTo>
                  <a:lnTo>
                    <a:pt x="938" y="715"/>
                  </a:lnTo>
                  <a:lnTo>
                    <a:pt x="926" y="725"/>
                  </a:lnTo>
                  <a:lnTo>
                    <a:pt x="943" y="732"/>
                  </a:lnTo>
                  <a:lnTo>
                    <a:pt x="943" y="748"/>
                  </a:lnTo>
                  <a:lnTo>
                    <a:pt x="959" y="753"/>
                  </a:lnTo>
                  <a:lnTo>
                    <a:pt x="976" y="737"/>
                  </a:lnTo>
                  <a:lnTo>
                    <a:pt x="1030" y="715"/>
                  </a:lnTo>
                  <a:lnTo>
                    <a:pt x="1051" y="699"/>
                  </a:lnTo>
                  <a:lnTo>
                    <a:pt x="1068" y="670"/>
                  </a:lnTo>
                  <a:lnTo>
                    <a:pt x="1115" y="637"/>
                  </a:lnTo>
                  <a:lnTo>
                    <a:pt x="1115" y="614"/>
                  </a:lnTo>
                  <a:lnTo>
                    <a:pt x="1136" y="581"/>
                  </a:lnTo>
                  <a:lnTo>
                    <a:pt x="1153" y="531"/>
                  </a:lnTo>
                  <a:lnTo>
                    <a:pt x="1153" y="503"/>
                  </a:lnTo>
                  <a:lnTo>
                    <a:pt x="1127" y="486"/>
                  </a:lnTo>
                  <a:lnTo>
                    <a:pt x="1127" y="486"/>
                  </a:lnTo>
                  <a:lnTo>
                    <a:pt x="1143" y="486"/>
                  </a:lnTo>
                  <a:lnTo>
                    <a:pt x="1153" y="460"/>
                  </a:lnTo>
                  <a:lnTo>
                    <a:pt x="1136" y="432"/>
                  </a:lnTo>
                  <a:lnTo>
                    <a:pt x="1153" y="415"/>
                  </a:lnTo>
                  <a:lnTo>
                    <a:pt x="1169" y="415"/>
                  </a:lnTo>
                  <a:lnTo>
                    <a:pt x="1174" y="375"/>
                  </a:lnTo>
                  <a:lnTo>
                    <a:pt x="1198" y="382"/>
                  </a:lnTo>
                  <a:lnTo>
                    <a:pt x="1198" y="415"/>
                  </a:lnTo>
                  <a:lnTo>
                    <a:pt x="1207" y="404"/>
                  </a:lnTo>
                  <a:lnTo>
                    <a:pt x="1212" y="399"/>
                  </a:lnTo>
                  <a:lnTo>
                    <a:pt x="1228" y="404"/>
                  </a:lnTo>
                  <a:lnTo>
                    <a:pt x="1235" y="404"/>
                  </a:lnTo>
                  <a:lnTo>
                    <a:pt x="1235" y="382"/>
                  </a:lnTo>
                  <a:lnTo>
                    <a:pt x="1235" y="375"/>
                  </a:lnTo>
                  <a:lnTo>
                    <a:pt x="1207" y="382"/>
                  </a:lnTo>
                  <a:lnTo>
                    <a:pt x="1212" y="349"/>
                  </a:lnTo>
                  <a:lnTo>
                    <a:pt x="1235" y="366"/>
                  </a:lnTo>
                  <a:lnTo>
                    <a:pt x="1250" y="366"/>
                  </a:lnTo>
                  <a:lnTo>
                    <a:pt x="1245" y="382"/>
                  </a:lnTo>
                  <a:lnTo>
                    <a:pt x="1250" y="432"/>
                  </a:lnTo>
                  <a:lnTo>
                    <a:pt x="1278" y="460"/>
                  </a:lnTo>
                  <a:lnTo>
                    <a:pt x="1299" y="515"/>
                  </a:lnTo>
                  <a:lnTo>
                    <a:pt x="1283" y="543"/>
                  </a:lnTo>
                  <a:lnTo>
                    <a:pt x="1283" y="564"/>
                  </a:lnTo>
                  <a:lnTo>
                    <a:pt x="1266" y="564"/>
                  </a:lnTo>
                  <a:lnTo>
                    <a:pt x="1266" y="571"/>
                  </a:lnTo>
                  <a:lnTo>
                    <a:pt x="1261" y="581"/>
                  </a:lnTo>
                  <a:lnTo>
                    <a:pt x="1261" y="626"/>
                  </a:lnTo>
                  <a:lnTo>
                    <a:pt x="1245" y="614"/>
                  </a:lnTo>
                  <a:lnTo>
                    <a:pt x="1228" y="621"/>
                  </a:lnTo>
                  <a:lnTo>
                    <a:pt x="1212" y="637"/>
                  </a:lnTo>
                  <a:lnTo>
                    <a:pt x="1212" y="654"/>
                  </a:lnTo>
                  <a:lnTo>
                    <a:pt x="1224" y="675"/>
                  </a:lnTo>
                  <a:lnTo>
                    <a:pt x="1224" y="699"/>
                  </a:lnTo>
                  <a:lnTo>
                    <a:pt x="1224" y="732"/>
                  </a:lnTo>
                  <a:lnTo>
                    <a:pt x="1207" y="748"/>
                  </a:lnTo>
                  <a:lnTo>
                    <a:pt x="1207" y="748"/>
                  </a:lnTo>
                  <a:lnTo>
                    <a:pt x="1207" y="748"/>
                  </a:lnTo>
                  <a:close/>
                  <a:moveTo>
                    <a:pt x="1044" y="626"/>
                  </a:moveTo>
                  <a:lnTo>
                    <a:pt x="1035" y="642"/>
                  </a:lnTo>
                  <a:lnTo>
                    <a:pt x="1051" y="642"/>
                  </a:lnTo>
                  <a:lnTo>
                    <a:pt x="1044" y="659"/>
                  </a:lnTo>
                  <a:lnTo>
                    <a:pt x="1030" y="670"/>
                  </a:lnTo>
                  <a:lnTo>
                    <a:pt x="1035" y="654"/>
                  </a:lnTo>
                  <a:lnTo>
                    <a:pt x="1030" y="654"/>
                  </a:lnTo>
                  <a:lnTo>
                    <a:pt x="1030" y="642"/>
                  </a:lnTo>
                  <a:lnTo>
                    <a:pt x="1044" y="626"/>
                  </a:lnTo>
                  <a:lnTo>
                    <a:pt x="1044" y="626"/>
                  </a:lnTo>
                  <a:lnTo>
                    <a:pt x="1044" y="626"/>
                  </a:lnTo>
                  <a:close/>
                  <a:moveTo>
                    <a:pt x="683" y="786"/>
                  </a:moveTo>
                  <a:lnTo>
                    <a:pt x="687" y="803"/>
                  </a:lnTo>
                  <a:lnTo>
                    <a:pt x="671" y="803"/>
                  </a:lnTo>
                  <a:lnTo>
                    <a:pt x="671" y="791"/>
                  </a:lnTo>
                  <a:lnTo>
                    <a:pt x="683" y="786"/>
                  </a:lnTo>
                  <a:lnTo>
                    <a:pt x="683" y="786"/>
                  </a:lnTo>
                  <a:lnTo>
                    <a:pt x="683" y="786"/>
                  </a:lnTo>
                  <a:close/>
                  <a:moveTo>
                    <a:pt x="1106" y="914"/>
                  </a:moveTo>
                  <a:lnTo>
                    <a:pt x="1115" y="918"/>
                  </a:lnTo>
                  <a:lnTo>
                    <a:pt x="1106" y="918"/>
                  </a:lnTo>
                  <a:lnTo>
                    <a:pt x="1106" y="914"/>
                  </a:lnTo>
                  <a:lnTo>
                    <a:pt x="1106" y="914"/>
                  </a:lnTo>
                  <a:lnTo>
                    <a:pt x="1106" y="914"/>
                  </a:lnTo>
                  <a:close/>
                  <a:moveTo>
                    <a:pt x="411" y="918"/>
                  </a:moveTo>
                  <a:lnTo>
                    <a:pt x="402" y="954"/>
                  </a:lnTo>
                  <a:lnTo>
                    <a:pt x="397" y="954"/>
                  </a:lnTo>
                  <a:lnTo>
                    <a:pt x="397" y="930"/>
                  </a:lnTo>
                  <a:lnTo>
                    <a:pt x="411" y="918"/>
                  </a:lnTo>
                  <a:lnTo>
                    <a:pt x="411" y="918"/>
                  </a:lnTo>
                  <a:lnTo>
                    <a:pt x="411" y="918"/>
                  </a:lnTo>
                  <a:close/>
                  <a:moveTo>
                    <a:pt x="780" y="959"/>
                  </a:moveTo>
                  <a:lnTo>
                    <a:pt x="775" y="954"/>
                  </a:lnTo>
                  <a:lnTo>
                    <a:pt x="796" y="930"/>
                  </a:lnTo>
                  <a:lnTo>
                    <a:pt x="791" y="947"/>
                  </a:lnTo>
                  <a:lnTo>
                    <a:pt x="796" y="959"/>
                  </a:lnTo>
                  <a:lnTo>
                    <a:pt x="780" y="959"/>
                  </a:lnTo>
                  <a:lnTo>
                    <a:pt x="780" y="959"/>
                  </a:lnTo>
                  <a:lnTo>
                    <a:pt x="780" y="959"/>
                  </a:lnTo>
                  <a:close/>
                  <a:moveTo>
                    <a:pt x="758" y="937"/>
                  </a:moveTo>
                  <a:lnTo>
                    <a:pt x="746" y="947"/>
                  </a:lnTo>
                  <a:lnTo>
                    <a:pt x="742" y="937"/>
                  </a:lnTo>
                  <a:lnTo>
                    <a:pt x="758" y="937"/>
                  </a:lnTo>
                  <a:lnTo>
                    <a:pt x="758" y="937"/>
                  </a:lnTo>
                  <a:lnTo>
                    <a:pt x="758" y="937"/>
                  </a:lnTo>
                  <a:close/>
                  <a:moveTo>
                    <a:pt x="746" y="1013"/>
                  </a:moveTo>
                  <a:lnTo>
                    <a:pt x="742" y="1041"/>
                  </a:lnTo>
                  <a:lnTo>
                    <a:pt x="725" y="1025"/>
                  </a:lnTo>
                  <a:lnTo>
                    <a:pt x="709" y="1013"/>
                  </a:lnTo>
                  <a:lnTo>
                    <a:pt x="683" y="1029"/>
                  </a:lnTo>
                  <a:lnTo>
                    <a:pt x="671" y="1041"/>
                  </a:lnTo>
                  <a:lnTo>
                    <a:pt x="657" y="1058"/>
                  </a:lnTo>
                  <a:lnTo>
                    <a:pt x="657" y="1081"/>
                  </a:lnTo>
                  <a:lnTo>
                    <a:pt x="633" y="1081"/>
                  </a:lnTo>
                  <a:lnTo>
                    <a:pt x="640" y="1065"/>
                  </a:lnTo>
                  <a:lnTo>
                    <a:pt x="619" y="1065"/>
                  </a:lnTo>
                  <a:lnTo>
                    <a:pt x="628" y="1041"/>
                  </a:lnTo>
                  <a:lnTo>
                    <a:pt x="612" y="1029"/>
                  </a:lnTo>
                  <a:lnTo>
                    <a:pt x="612" y="1025"/>
                  </a:lnTo>
                  <a:lnTo>
                    <a:pt x="586" y="1029"/>
                  </a:lnTo>
                  <a:lnTo>
                    <a:pt x="633" y="1008"/>
                  </a:lnTo>
                  <a:lnTo>
                    <a:pt x="650" y="970"/>
                  </a:lnTo>
                  <a:lnTo>
                    <a:pt x="666" y="987"/>
                  </a:lnTo>
                  <a:lnTo>
                    <a:pt x="694" y="987"/>
                  </a:lnTo>
                  <a:lnTo>
                    <a:pt x="704" y="959"/>
                  </a:lnTo>
                  <a:lnTo>
                    <a:pt x="720" y="954"/>
                  </a:lnTo>
                  <a:lnTo>
                    <a:pt x="737" y="947"/>
                  </a:lnTo>
                  <a:lnTo>
                    <a:pt x="758" y="959"/>
                  </a:lnTo>
                  <a:lnTo>
                    <a:pt x="763" y="959"/>
                  </a:lnTo>
                  <a:lnTo>
                    <a:pt x="775" y="975"/>
                  </a:lnTo>
                  <a:lnTo>
                    <a:pt x="780" y="992"/>
                  </a:lnTo>
                  <a:lnTo>
                    <a:pt x="746" y="1013"/>
                  </a:lnTo>
                  <a:lnTo>
                    <a:pt x="746" y="1013"/>
                  </a:lnTo>
                  <a:lnTo>
                    <a:pt x="746" y="1013"/>
                  </a:lnTo>
                  <a:close/>
                  <a:moveTo>
                    <a:pt x="402" y="959"/>
                  </a:moveTo>
                  <a:lnTo>
                    <a:pt x="385" y="970"/>
                  </a:lnTo>
                  <a:lnTo>
                    <a:pt x="397" y="954"/>
                  </a:lnTo>
                  <a:lnTo>
                    <a:pt x="402" y="959"/>
                  </a:lnTo>
                  <a:lnTo>
                    <a:pt x="402" y="959"/>
                  </a:lnTo>
                  <a:lnTo>
                    <a:pt x="402" y="959"/>
                  </a:lnTo>
                  <a:close/>
                  <a:moveTo>
                    <a:pt x="657" y="954"/>
                  </a:moveTo>
                  <a:lnTo>
                    <a:pt x="666" y="959"/>
                  </a:lnTo>
                  <a:lnTo>
                    <a:pt x="657" y="959"/>
                  </a:lnTo>
                  <a:lnTo>
                    <a:pt x="657" y="954"/>
                  </a:lnTo>
                  <a:lnTo>
                    <a:pt x="657" y="954"/>
                  </a:lnTo>
                  <a:lnTo>
                    <a:pt x="657" y="954"/>
                  </a:lnTo>
                  <a:close/>
                  <a:moveTo>
                    <a:pt x="628" y="959"/>
                  </a:moveTo>
                  <a:lnTo>
                    <a:pt x="619" y="970"/>
                  </a:lnTo>
                  <a:lnTo>
                    <a:pt x="619" y="959"/>
                  </a:lnTo>
                  <a:lnTo>
                    <a:pt x="628" y="959"/>
                  </a:lnTo>
                  <a:lnTo>
                    <a:pt x="628" y="959"/>
                  </a:lnTo>
                  <a:lnTo>
                    <a:pt x="628" y="959"/>
                  </a:lnTo>
                  <a:close/>
                  <a:moveTo>
                    <a:pt x="628" y="970"/>
                  </a:moveTo>
                  <a:lnTo>
                    <a:pt x="628" y="975"/>
                  </a:lnTo>
                  <a:lnTo>
                    <a:pt x="619" y="970"/>
                  </a:lnTo>
                  <a:lnTo>
                    <a:pt x="628" y="970"/>
                  </a:lnTo>
                  <a:lnTo>
                    <a:pt x="628" y="970"/>
                  </a:lnTo>
                  <a:lnTo>
                    <a:pt x="628" y="970"/>
                  </a:lnTo>
                  <a:close/>
                  <a:moveTo>
                    <a:pt x="532" y="1008"/>
                  </a:moveTo>
                  <a:lnTo>
                    <a:pt x="548" y="1013"/>
                  </a:lnTo>
                  <a:lnTo>
                    <a:pt x="557" y="1008"/>
                  </a:lnTo>
                  <a:lnTo>
                    <a:pt x="565" y="1008"/>
                  </a:lnTo>
                  <a:lnTo>
                    <a:pt x="574" y="1025"/>
                  </a:lnTo>
                  <a:lnTo>
                    <a:pt x="557" y="1029"/>
                  </a:lnTo>
                  <a:lnTo>
                    <a:pt x="557" y="1041"/>
                  </a:lnTo>
                  <a:lnTo>
                    <a:pt x="579" y="1041"/>
                  </a:lnTo>
                  <a:lnTo>
                    <a:pt x="574" y="1046"/>
                  </a:lnTo>
                  <a:lnTo>
                    <a:pt x="586" y="1070"/>
                  </a:lnTo>
                  <a:lnTo>
                    <a:pt x="565" y="1098"/>
                  </a:lnTo>
                  <a:lnTo>
                    <a:pt x="541" y="1190"/>
                  </a:lnTo>
                  <a:lnTo>
                    <a:pt x="527" y="1181"/>
                  </a:lnTo>
                  <a:lnTo>
                    <a:pt x="520" y="1190"/>
                  </a:lnTo>
                  <a:lnTo>
                    <a:pt x="527" y="1197"/>
                  </a:lnTo>
                  <a:lnTo>
                    <a:pt x="494" y="1226"/>
                  </a:lnTo>
                  <a:lnTo>
                    <a:pt x="503" y="1190"/>
                  </a:lnTo>
                  <a:lnTo>
                    <a:pt x="489" y="1174"/>
                  </a:lnTo>
                  <a:lnTo>
                    <a:pt x="503" y="1174"/>
                  </a:lnTo>
                  <a:lnTo>
                    <a:pt x="503" y="1169"/>
                  </a:lnTo>
                  <a:lnTo>
                    <a:pt x="494" y="1157"/>
                  </a:lnTo>
                  <a:lnTo>
                    <a:pt x="489" y="1174"/>
                  </a:lnTo>
                  <a:lnTo>
                    <a:pt x="494" y="1209"/>
                  </a:lnTo>
                  <a:lnTo>
                    <a:pt x="465" y="1197"/>
                  </a:lnTo>
                  <a:lnTo>
                    <a:pt x="472" y="1169"/>
                  </a:lnTo>
                  <a:lnTo>
                    <a:pt x="456" y="1157"/>
                  </a:lnTo>
                  <a:lnTo>
                    <a:pt x="456" y="1136"/>
                  </a:lnTo>
                  <a:lnTo>
                    <a:pt x="489" y="1103"/>
                  </a:lnTo>
                  <a:lnTo>
                    <a:pt x="489" y="1086"/>
                  </a:lnTo>
                  <a:lnTo>
                    <a:pt x="477" y="1086"/>
                  </a:lnTo>
                  <a:lnTo>
                    <a:pt x="489" y="1081"/>
                  </a:lnTo>
                  <a:lnTo>
                    <a:pt x="477" y="1065"/>
                  </a:lnTo>
                  <a:lnTo>
                    <a:pt x="477" y="1058"/>
                  </a:lnTo>
                  <a:lnTo>
                    <a:pt x="465" y="1046"/>
                  </a:lnTo>
                  <a:lnTo>
                    <a:pt x="456" y="1046"/>
                  </a:lnTo>
                  <a:lnTo>
                    <a:pt x="465" y="1065"/>
                  </a:lnTo>
                  <a:lnTo>
                    <a:pt x="456" y="1070"/>
                  </a:lnTo>
                  <a:lnTo>
                    <a:pt x="472" y="1070"/>
                  </a:lnTo>
                  <a:lnTo>
                    <a:pt x="472" y="1086"/>
                  </a:lnTo>
                  <a:lnTo>
                    <a:pt x="456" y="1098"/>
                  </a:lnTo>
                  <a:lnTo>
                    <a:pt x="456" y="1086"/>
                  </a:lnTo>
                  <a:lnTo>
                    <a:pt x="465" y="1081"/>
                  </a:lnTo>
                  <a:lnTo>
                    <a:pt x="456" y="1081"/>
                  </a:lnTo>
                  <a:lnTo>
                    <a:pt x="435" y="1098"/>
                  </a:lnTo>
                  <a:lnTo>
                    <a:pt x="439" y="1081"/>
                  </a:lnTo>
                  <a:lnTo>
                    <a:pt x="423" y="1070"/>
                  </a:lnTo>
                  <a:lnTo>
                    <a:pt x="423" y="1058"/>
                  </a:lnTo>
                  <a:lnTo>
                    <a:pt x="435" y="1065"/>
                  </a:lnTo>
                  <a:lnTo>
                    <a:pt x="435" y="1070"/>
                  </a:lnTo>
                  <a:lnTo>
                    <a:pt x="451" y="1070"/>
                  </a:lnTo>
                  <a:lnTo>
                    <a:pt x="439" y="1058"/>
                  </a:lnTo>
                  <a:lnTo>
                    <a:pt x="418" y="1041"/>
                  </a:lnTo>
                  <a:lnTo>
                    <a:pt x="418" y="1029"/>
                  </a:lnTo>
                  <a:lnTo>
                    <a:pt x="435" y="1029"/>
                  </a:lnTo>
                  <a:lnTo>
                    <a:pt x="439" y="1013"/>
                  </a:lnTo>
                  <a:lnTo>
                    <a:pt x="451" y="1025"/>
                  </a:lnTo>
                  <a:lnTo>
                    <a:pt x="465" y="1008"/>
                  </a:lnTo>
                  <a:lnTo>
                    <a:pt x="472" y="1008"/>
                  </a:lnTo>
                  <a:lnTo>
                    <a:pt x="477" y="992"/>
                  </a:lnTo>
                  <a:lnTo>
                    <a:pt x="494" y="987"/>
                  </a:lnTo>
                  <a:lnTo>
                    <a:pt x="520" y="987"/>
                  </a:lnTo>
                  <a:lnTo>
                    <a:pt x="527" y="1008"/>
                  </a:lnTo>
                  <a:lnTo>
                    <a:pt x="532" y="1008"/>
                  </a:lnTo>
                  <a:lnTo>
                    <a:pt x="532" y="1008"/>
                  </a:lnTo>
                  <a:lnTo>
                    <a:pt x="532" y="1008"/>
                  </a:lnTo>
                  <a:close/>
                  <a:moveTo>
                    <a:pt x="423" y="1004"/>
                  </a:moveTo>
                  <a:lnTo>
                    <a:pt x="423" y="1004"/>
                  </a:lnTo>
                  <a:lnTo>
                    <a:pt x="423" y="992"/>
                  </a:lnTo>
                  <a:lnTo>
                    <a:pt x="435" y="1004"/>
                  </a:lnTo>
                  <a:lnTo>
                    <a:pt x="423" y="1004"/>
                  </a:lnTo>
                  <a:lnTo>
                    <a:pt x="423" y="1004"/>
                  </a:lnTo>
                  <a:lnTo>
                    <a:pt x="423" y="1004"/>
                  </a:lnTo>
                  <a:close/>
                  <a:moveTo>
                    <a:pt x="418" y="1029"/>
                  </a:moveTo>
                  <a:lnTo>
                    <a:pt x="402" y="1046"/>
                  </a:lnTo>
                  <a:lnTo>
                    <a:pt x="418" y="1025"/>
                  </a:lnTo>
                  <a:lnTo>
                    <a:pt x="418" y="1029"/>
                  </a:lnTo>
                  <a:lnTo>
                    <a:pt x="418" y="1029"/>
                  </a:lnTo>
                  <a:lnTo>
                    <a:pt x="418" y="1029"/>
                  </a:lnTo>
                  <a:close/>
                  <a:moveTo>
                    <a:pt x="385" y="1058"/>
                  </a:moveTo>
                  <a:lnTo>
                    <a:pt x="385" y="1065"/>
                  </a:lnTo>
                  <a:lnTo>
                    <a:pt x="385" y="1065"/>
                  </a:lnTo>
                  <a:lnTo>
                    <a:pt x="380" y="1070"/>
                  </a:lnTo>
                  <a:lnTo>
                    <a:pt x="380" y="1065"/>
                  </a:lnTo>
                  <a:lnTo>
                    <a:pt x="385" y="1046"/>
                  </a:lnTo>
                  <a:lnTo>
                    <a:pt x="385" y="1058"/>
                  </a:lnTo>
                  <a:lnTo>
                    <a:pt x="385" y="1058"/>
                  </a:lnTo>
                  <a:lnTo>
                    <a:pt x="385" y="1058"/>
                  </a:lnTo>
                  <a:close/>
                  <a:moveTo>
                    <a:pt x="359" y="1081"/>
                  </a:moveTo>
                  <a:lnTo>
                    <a:pt x="359" y="1081"/>
                  </a:lnTo>
                  <a:lnTo>
                    <a:pt x="364" y="1081"/>
                  </a:lnTo>
                  <a:lnTo>
                    <a:pt x="369" y="1086"/>
                  </a:lnTo>
                  <a:lnTo>
                    <a:pt x="347" y="1086"/>
                  </a:lnTo>
                  <a:lnTo>
                    <a:pt x="359" y="1081"/>
                  </a:lnTo>
                  <a:lnTo>
                    <a:pt x="359" y="1081"/>
                  </a:lnTo>
                  <a:lnTo>
                    <a:pt x="359" y="1081"/>
                  </a:lnTo>
                  <a:close/>
                  <a:moveTo>
                    <a:pt x="451" y="1124"/>
                  </a:moveTo>
                  <a:lnTo>
                    <a:pt x="451" y="1103"/>
                  </a:lnTo>
                  <a:lnTo>
                    <a:pt x="456" y="1098"/>
                  </a:lnTo>
                  <a:lnTo>
                    <a:pt x="465" y="1115"/>
                  </a:lnTo>
                  <a:lnTo>
                    <a:pt x="451" y="1124"/>
                  </a:lnTo>
                  <a:lnTo>
                    <a:pt x="451" y="1124"/>
                  </a:lnTo>
                  <a:lnTo>
                    <a:pt x="451" y="1124"/>
                  </a:lnTo>
                  <a:close/>
                  <a:moveTo>
                    <a:pt x="465" y="1103"/>
                  </a:moveTo>
                  <a:lnTo>
                    <a:pt x="477" y="1098"/>
                  </a:lnTo>
                  <a:lnTo>
                    <a:pt x="472" y="1115"/>
                  </a:lnTo>
                  <a:lnTo>
                    <a:pt x="465" y="1103"/>
                  </a:lnTo>
                  <a:lnTo>
                    <a:pt x="465" y="1103"/>
                  </a:lnTo>
                  <a:lnTo>
                    <a:pt x="465" y="1103"/>
                  </a:lnTo>
                  <a:close/>
                  <a:moveTo>
                    <a:pt x="456" y="1124"/>
                  </a:moveTo>
                  <a:lnTo>
                    <a:pt x="465" y="1124"/>
                  </a:lnTo>
                  <a:lnTo>
                    <a:pt x="456" y="1124"/>
                  </a:lnTo>
                  <a:lnTo>
                    <a:pt x="456" y="1124"/>
                  </a:lnTo>
                  <a:lnTo>
                    <a:pt x="456" y="1124"/>
                  </a:lnTo>
                  <a:lnTo>
                    <a:pt x="456" y="1124"/>
                  </a:lnTo>
                  <a:close/>
                  <a:moveTo>
                    <a:pt x="423" y="1169"/>
                  </a:moveTo>
                  <a:lnTo>
                    <a:pt x="435" y="1157"/>
                  </a:lnTo>
                  <a:lnTo>
                    <a:pt x="423" y="1169"/>
                  </a:lnTo>
                  <a:lnTo>
                    <a:pt x="423" y="1169"/>
                  </a:lnTo>
                  <a:lnTo>
                    <a:pt x="423" y="1169"/>
                  </a:lnTo>
                  <a:lnTo>
                    <a:pt x="423" y="1169"/>
                  </a:lnTo>
                  <a:close/>
                  <a:moveTo>
                    <a:pt x="527" y="1230"/>
                  </a:moveTo>
                  <a:lnTo>
                    <a:pt x="520" y="1268"/>
                  </a:lnTo>
                  <a:lnTo>
                    <a:pt x="510" y="1268"/>
                  </a:lnTo>
                  <a:lnTo>
                    <a:pt x="510" y="1247"/>
                  </a:lnTo>
                  <a:lnTo>
                    <a:pt x="527" y="1230"/>
                  </a:lnTo>
                  <a:lnTo>
                    <a:pt x="527" y="1230"/>
                  </a:lnTo>
                  <a:lnTo>
                    <a:pt x="527" y="1230"/>
                  </a:lnTo>
                  <a:close/>
                  <a:moveTo>
                    <a:pt x="489" y="1263"/>
                  </a:moveTo>
                  <a:lnTo>
                    <a:pt x="494" y="1268"/>
                  </a:lnTo>
                  <a:lnTo>
                    <a:pt x="489" y="1280"/>
                  </a:lnTo>
                  <a:lnTo>
                    <a:pt x="477" y="1280"/>
                  </a:lnTo>
                  <a:lnTo>
                    <a:pt x="472" y="1268"/>
                  </a:lnTo>
                  <a:lnTo>
                    <a:pt x="489" y="1263"/>
                  </a:lnTo>
                  <a:lnTo>
                    <a:pt x="489" y="1263"/>
                  </a:lnTo>
                  <a:lnTo>
                    <a:pt x="489" y="1263"/>
                  </a:lnTo>
                  <a:close/>
                  <a:moveTo>
                    <a:pt x="423" y="1412"/>
                  </a:moveTo>
                  <a:lnTo>
                    <a:pt x="423" y="1419"/>
                  </a:lnTo>
                  <a:lnTo>
                    <a:pt x="402" y="1445"/>
                  </a:lnTo>
                  <a:lnTo>
                    <a:pt x="385" y="1436"/>
                  </a:lnTo>
                  <a:lnTo>
                    <a:pt x="423" y="1412"/>
                  </a:lnTo>
                  <a:lnTo>
                    <a:pt x="423" y="1412"/>
                  </a:lnTo>
                  <a:lnTo>
                    <a:pt x="423" y="1412"/>
                  </a:lnTo>
                  <a:close/>
                  <a:moveTo>
                    <a:pt x="397" y="1436"/>
                  </a:moveTo>
                  <a:lnTo>
                    <a:pt x="402" y="1445"/>
                  </a:lnTo>
                  <a:lnTo>
                    <a:pt x="397" y="1445"/>
                  </a:lnTo>
                  <a:lnTo>
                    <a:pt x="397" y="1436"/>
                  </a:lnTo>
                  <a:lnTo>
                    <a:pt x="397" y="1436"/>
                  </a:lnTo>
                  <a:lnTo>
                    <a:pt x="397" y="1436"/>
                  </a:lnTo>
                  <a:close/>
                  <a:moveTo>
                    <a:pt x="369" y="1457"/>
                  </a:moveTo>
                  <a:lnTo>
                    <a:pt x="380" y="1474"/>
                  </a:lnTo>
                  <a:lnTo>
                    <a:pt x="369" y="1485"/>
                  </a:lnTo>
                  <a:lnTo>
                    <a:pt x="369" y="1469"/>
                  </a:lnTo>
                  <a:lnTo>
                    <a:pt x="369" y="1457"/>
                  </a:lnTo>
                  <a:lnTo>
                    <a:pt x="369" y="1457"/>
                  </a:lnTo>
                  <a:lnTo>
                    <a:pt x="369" y="1457"/>
                  </a:lnTo>
                  <a:close/>
                  <a:moveTo>
                    <a:pt x="347" y="1502"/>
                  </a:moveTo>
                  <a:lnTo>
                    <a:pt x="359" y="1502"/>
                  </a:lnTo>
                  <a:lnTo>
                    <a:pt x="347" y="1507"/>
                  </a:lnTo>
                  <a:lnTo>
                    <a:pt x="347" y="1502"/>
                  </a:lnTo>
                  <a:lnTo>
                    <a:pt x="347" y="1502"/>
                  </a:lnTo>
                  <a:lnTo>
                    <a:pt x="347" y="1502"/>
                  </a:lnTo>
                  <a:close/>
                  <a:moveTo>
                    <a:pt x="326" y="1547"/>
                  </a:moveTo>
                  <a:lnTo>
                    <a:pt x="331" y="1547"/>
                  </a:lnTo>
                  <a:lnTo>
                    <a:pt x="326" y="1556"/>
                  </a:lnTo>
                  <a:lnTo>
                    <a:pt x="293" y="1580"/>
                  </a:lnTo>
                  <a:lnTo>
                    <a:pt x="293" y="1596"/>
                  </a:lnTo>
                  <a:lnTo>
                    <a:pt x="288" y="1601"/>
                  </a:lnTo>
                  <a:lnTo>
                    <a:pt x="288" y="1580"/>
                  </a:lnTo>
                  <a:lnTo>
                    <a:pt x="305" y="1568"/>
                  </a:lnTo>
                  <a:lnTo>
                    <a:pt x="305" y="1556"/>
                  </a:lnTo>
                  <a:lnTo>
                    <a:pt x="309" y="1563"/>
                  </a:lnTo>
                  <a:lnTo>
                    <a:pt x="326" y="1547"/>
                  </a:lnTo>
                  <a:lnTo>
                    <a:pt x="326" y="1547"/>
                  </a:lnTo>
                  <a:lnTo>
                    <a:pt x="326" y="1547"/>
                  </a:lnTo>
                  <a:close/>
                  <a:moveTo>
                    <a:pt x="217" y="1580"/>
                  </a:moveTo>
                  <a:lnTo>
                    <a:pt x="222" y="1585"/>
                  </a:lnTo>
                  <a:lnTo>
                    <a:pt x="217" y="1580"/>
                  </a:lnTo>
                  <a:lnTo>
                    <a:pt x="217" y="1580"/>
                  </a:lnTo>
                  <a:lnTo>
                    <a:pt x="217" y="1580"/>
                  </a:lnTo>
                  <a:lnTo>
                    <a:pt x="217" y="1580"/>
                  </a:lnTo>
                  <a:close/>
                  <a:moveTo>
                    <a:pt x="116" y="1696"/>
                  </a:moveTo>
                  <a:lnTo>
                    <a:pt x="125" y="1707"/>
                  </a:lnTo>
                  <a:lnTo>
                    <a:pt x="116" y="1707"/>
                  </a:lnTo>
                  <a:lnTo>
                    <a:pt x="116" y="1696"/>
                  </a:lnTo>
                  <a:lnTo>
                    <a:pt x="116" y="1696"/>
                  </a:lnTo>
                  <a:lnTo>
                    <a:pt x="116" y="1696"/>
                  </a:lnTo>
                  <a:close/>
                  <a:moveTo>
                    <a:pt x="33" y="1729"/>
                  </a:moveTo>
                  <a:lnTo>
                    <a:pt x="40" y="1729"/>
                  </a:lnTo>
                  <a:lnTo>
                    <a:pt x="45" y="1724"/>
                  </a:lnTo>
                  <a:lnTo>
                    <a:pt x="40" y="1736"/>
                  </a:lnTo>
                  <a:lnTo>
                    <a:pt x="33" y="1736"/>
                  </a:lnTo>
                  <a:lnTo>
                    <a:pt x="33" y="1729"/>
                  </a:lnTo>
                  <a:lnTo>
                    <a:pt x="33" y="1729"/>
                  </a:lnTo>
                  <a:lnTo>
                    <a:pt x="33" y="1729"/>
                  </a:lnTo>
                  <a:close/>
                  <a:moveTo>
                    <a:pt x="7" y="1729"/>
                  </a:moveTo>
                  <a:lnTo>
                    <a:pt x="24" y="1736"/>
                  </a:lnTo>
                  <a:lnTo>
                    <a:pt x="17" y="1745"/>
                  </a:lnTo>
                  <a:lnTo>
                    <a:pt x="0" y="1736"/>
                  </a:lnTo>
                  <a:lnTo>
                    <a:pt x="7" y="1729"/>
                  </a:lnTo>
                  <a:lnTo>
                    <a:pt x="7" y="1729"/>
                  </a:lnTo>
                  <a:lnTo>
                    <a:pt x="7" y="1729"/>
                  </a:lnTo>
                  <a:close/>
                </a:path>
              </a:pathLst>
            </a:custGeom>
            <a:solidFill>
              <a:schemeClr val="bg2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34" name="Freeform 477">
              <a:extLst>
                <a:ext uri="{FF2B5EF4-FFF2-40B4-BE49-F238E27FC236}">
                  <a16:creationId xmlns:a16="http://schemas.microsoft.com/office/drawing/2014/main" id="{FD6AA9DF-D1F6-46E1-A416-636B92FB948F}"/>
                </a:ext>
              </a:extLst>
            </p:cNvPr>
            <p:cNvSpPr>
              <a:spLocks/>
            </p:cNvSpPr>
            <p:nvPr/>
          </p:nvSpPr>
          <p:spPr bwMode="gray">
            <a:xfrm>
              <a:off x="6137525" y="2148853"/>
              <a:ext cx="2456" cy="1535"/>
            </a:xfrm>
            <a:custGeom>
              <a:avLst/>
              <a:gdLst>
                <a:gd name="T0" fmla="*/ 9 w 16"/>
                <a:gd name="T1" fmla="*/ 10 h 10"/>
                <a:gd name="T2" fmla="*/ 0 w 16"/>
                <a:gd name="T3" fmla="*/ 0 h 10"/>
                <a:gd name="T4" fmla="*/ 16 w 16"/>
                <a:gd name="T5" fmla="*/ 0 h 10"/>
                <a:gd name="T6" fmla="*/ 9 w 16"/>
                <a:gd name="T7" fmla="*/ 10 h 10"/>
                <a:gd name="T8" fmla="*/ 9 w 16"/>
                <a:gd name="T9" fmla="*/ 10 h 10"/>
                <a:gd name="T10" fmla="*/ 9 w 16"/>
                <a:gd name="T11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10">
                  <a:moveTo>
                    <a:pt x="9" y="10"/>
                  </a:moveTo>
                  <a:lnTo>
                    <a:pt x="0" y="0"/>
                  </a:lnTo>
                  <a:lnTo>
                    <a:pt x="16" y="0"/>
                  </a:lnTo>
                  <a:lnTo>
                    <a:pt x="9" y="10"/>
                  </a:lnTo>
                  <a:lnTo>
                    <a:pt x="9" y="10"/>
                  </a:lnTo>
                  <a:lnTo>
                    <a:pt x="9" y="10"/>
                  </a:lnTo>
                  <a:close/>
                </a:path>
              </a:pathLst>
            </a:custGeom>
            <a:solidFill>
              <a:schemeClr val="bg2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35" name="Freeform 478">
              <a:extLst>
                <a:ext uri="{FF2B5EF4-FFF2-40B4-BE49-F238E27FC236}">
                  <a16:creationId xmlns:a16="http://schemas.microsoft.com/office/drawing/2014/main" id="{942E11AA-5A65-4EE1-8F7F-1ADE60A1B6F4}"/>
                </a:ext>
              </a:extLst>
            </p:cNvPr>
            <p:cNvSpPr>
              <a:spLocks/>
            </p:cNvSpPr>
            <p:nvPr/>
          </p:nvSpPr>
          <p:spPr bwMode="gray">
            <a:xfrm>
              <a:off x="5318123" y="2535039"/>
              <a:ext cx="22254" cy="9823"/>
            </a:xfrm>
            <a:custGeom>
              <a:avLst/>
              <a:gdLst>
                <a:gd name="T0" fmla="*/ 119 w 145"/>
                <a:gd name="T1" fmla="*/ 47 h 64"/>
                <a:gd name="T2" fmla="*/ 102 w 145"/>
                <a:gd name="T3" fmla="*/ 38 h 64"/>
                <a:gd name="T4" fmla="*/ 93 w 145"/>
                <a:gd name="T5" fmla="*/ 54 h 64"/>
                <a:gd name="T6" fmla="*/ 85 w 145"/>
                <a:gd name="T7" fmla="*/ 47 h 64"/>
                <a:gd name="T8" fmla="*/ 81 w 145"/>
                <a:gd name="T9" fmla="*/ 64 h 64"/>
                <a:gd name="T10" fmla="*/ 64 w 145"/>
                <a:gd name="T11" fmla="*/ 54 h 64"/>
                <a:gd name="T12" fmla="*/ 38 w 145"/>
                <a:gd name="T13" fmla="*/ 54 h 64"/>
                <a:gd name="T14" fmla="*/ 17 w 145"/>
                <a:gd name="T15" fmla="*/ 21 h 64"/>
                <a:gd name="T16" fmla="*/ 0 w 145"/>
                <a:gd name="T17" fmla="*/ 21 h 64"/>
                <a:gd name="T18" fmla="*/ 10 w 145"/>
                <a:gd name="T19" fmla="*/ 10 h 64"/>
                <a:gd name="T20" fmla="*/ 31 w 145"/>
                <a:gd name="T21" fmla="*/ 0 h 64"/>
                <a:gd name="T22" fmla="*/ 81 w 145"/>
                <a:gd name="T23" fmla="*/ 10 h 64"/>
                <a:gd name="T24" fmla="*/ 140 w 145"/>
                <a:gd name="T25" fmla="*/ 33 h 64"/>
                <a:gd name="T26" fmla="*/ 145 w 145"/>
                <a:gd name="T27" fmla="*/ 47 h 64"/>
                <a:gd name="T28" fmla="*/ 123 w 145"/>
                <a:gd name="T29" fmla="*/ 54 h 64"/>
                <a:gd name="T30" fmla="*/ 119 w 145"/>
                <a:gd name="T31" fmla="*/ 47 h 64"/>
                <a:gd name="T32" fmla="*/ 119 w 145"/>
                <a:gd name="T33" fmla="*/ 47 h 64"/>
                <a:gd name="T34" fmla="*/ 119 w 145"/>
                <a:gd name="T35" fmla="*/ 47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45" h="64">
                  <a:moveTo>
                    <a:pt x="119" y="47"/>
                  </a:moveTo>
                  <a:lnTo>
                    <a:pt x="102" y="38"/>
                  </a:lnTo>
                  <a:lnTo>
                    <a:pt x="93" y="54"/>
                  </a:lnTo>
                  <a:lnTo>
                    <a:pt x="85" y="47"/>
                  </a:lnTo>
                  <a:lnTo>
                    <a:pt x="81" y="64"/>
                  </a:lnTo>
                  <a:lnTo>
                    <a:pt x="64" y="54"/>
                  </a:lnTo>
                  <a:lnTo>
                    <a:pt x="38" y="54"/>
                  </a:lnTo>
                  <a:lnTo>
                    <a:pt x="17" y="21"/>
                  </a:lnTo>
                  <a:lnTo>
                    <a:pt x="0" y="21"/>
                  </a:lnTo>
                  <a:lnTo>
                    <a:pt x="10" y="10"/>
                  </a:lnTo>
                  <a:lnTo>
                    <a:pt x="31" y="0"/>
                  </a:lnTo>
                  <a:lnTo>
                    <a:pt x="81" y="10"/>
                  </a:lnTo>
                  <a:lnTo>
                    <a:pt x="140" y="33"/>
                  </a:lnTo>
                  <a:lnTo>
                    <a:pt x="145" y="47"/>
                  </a:lnTo>
                  <a:lnTo>
                    <a:pt x="123" y="54"/>
                  </a:lnTo>
                  <a:lnTo>
                    <a:pt x="119" y="47"/>
                  </a:lnTo>
                  <a:lnTo>
                    <a:pt x="119" y="47"/>
                  </a:lnTo>
                  <a:lnTo>
                    <a:pt x="119" y="47"/>
                  </a:lnTo>
                  <a:close/>
                </a:path>
              </a:pathLst>
            </a:custGeom>
            <a:solidFill>
              <a:schemeClr val="bg2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36" name="Freeform 479">
              <a:extLst>
                <a:ext uri="{FF2B5EF4-FFF2-40B4-BE49-F238E27FC236}">
                  <a16:creationId xmlns:a16="http://schemas.microsoft.com/office/drawing/2014/main" id="{C070EC71-A3CE-436D-8135-C783BB6A4937}"/>
                </a:ext>
              </a:extLst>
            </p:cNvPr>
            <p:cNvSpPr>
              <a:spLocks/>
            </p:cNvSpPr>
            <p:nvPr/>
          </p:nvSpPr>
          <p:spPr bwMode="gray">
            <a:xfrm>
              <a:off x="6062783" y="1780933"/>
              <a:ext cx="13506" cy="7214"/>
            </a:xfrm>
            <a:custGeom>
              <a:avLst/>
              <a:gdLst>
                <a:gd name="T0" fmla="*/ 12 w 88"/>
                <a:gd name="T1" fmla="*/ 47 h 47"/>
                <a:gd name="T2" fmla="*/ 0 w 88"/>
                <a:gd name="T3" fmla="*/ 35 h 47"/>
                <a:gd name="T4" fmla="*/ 50 w 88"/>
                <a:gd name="T5" fmla="*/ 14 h 47"/>
                <a:gd name="T6" fmla="*/ 55 w 88"/>
                <a:gd name="T7" fmla="*/ 0 h 47"/>
                <a:gd name="T8" fmla="*/ 88 w 88"/>
                <a:gd name="T9" fmla="*/ 0 h 47"/>
                <a:gd name="T10" fmla="*/ 76 w 88"/>
                <a:gd name="T11" fmla="*/ 14 h 47"/>
                <a:gd name="T12" fmla="*/ 38 w 88"/>
                <a:gd name="T13" fmla="*/ 21 h 47"/>
                <a:gd name="T14" fmla="*/ 12 w 88"/>
                <a:gd name="T15" fmla="*/ 47 h 47"/>
                <a:gd name="T16" fmla="*/ 12 w 88"/>
                <a:gd name="T17" fmla="*/ 47 h 47"/>
                <a:gd name="T18" fmla="*/ 12 w 88"/>
                <a:gd name="T19" fmla="*/ 47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" h="47">
                  <a:moveTo>
                    <a:pt x="12" y="47"/>
                  </a:moveTo>
                  <a:lnTo>
                    <a:pt x="0" y="35"/>
                  </a:lnTo>
                  <a:lnTo>
                    <a:pt x="50" y="14"/>
                  </a:lnTo>
                  <a:lnTo>
                    <a:pt x="55" y="0"/>
                  </a:lnTo>
                  <a:lnTo>
                    <a:pt x="88" y="0"/>
                  </a:lnTo>
                  <a:lnTo>
                    <a:pt x="76" y="14"/>
                  </a:lnTo>
                  <a:lnTo>
                    <a:pt x="38" y="21"/>
                  </a:lnTo>
                  <a:lnTo>
                    <a:pt x="12" y="47"/>
                  </a:lnTo>
                  <a:lnTo>
                    <a:pt x="12" y="47"/>
                  </a:lnTo>
                  <a:lnTo>
                    <a:pt x="12" y="47"/>
                  </a:lnTo>
                  <a:close/>
                </a:path>
              </a:pathLst>
            </a:custGeom>
            <a:solidFill>
              <a:schemeClr val="bg2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37" name="Freeform 480">
              <a:extLst>
                <a:ext uri="{FF2B5EF4-FFF2-40B4-BE49-F238E27FC236}">
                  <a16:creationId xmlns:a16="http://schemas.microsoft.com/office/drawing/2014/main" id="{9534F235-91BB-4D2B-A5A7-4BC974C79D0D}"/>
                </a:ext>
              </a:extLst>
            </p:cNvPr>
            <p:cNvSpPr>
              <a:spLocks/>
            </p:cNvSpPr>
            <p:nvPr/>
          </p:nvSpPr>
          <p:spPr bwMode="gray">
            <a:xfrm>
              <a:off x="6537788" y="2359137"/>
              <a:ext cx="46042" cy="51573"/>
            </a:xfrm>
            <a:custGeom>
              <a:avLst/>
              <a:gdLst>
                <a:gd name="T0" fmla="*/ 38 w 300"/>
                <a:gd name="T1" fmla="*/ 152 h 336"/>
                <a:gd name="T2" fmla="*/ 38 w 300"/>
                <a:gd name="T3" fmla="*/ 90 h 336"/>
                <a:gd name="T4" fmla="*/ 38 w 300"/>
                <a:gd name="T5" fmla="*/ 83 h 336"/>
                <a:gd name="T6" fmla="*/ 38 w 300"/>
                <a:gd name="T7" fmla="*/ 55 h 336"/>
                <a:gd name="T8" fmla="*/ 49 w 300"/>
                <a:gd name="T9" fmla="*/ 55 h 336"/>
                <a:gd name="T10" fmla="*/ 71 w 300"/>
                <a:gd name="T11" fmla="*/ 50 h 336"/>
                <a:gd name="T12" fmla="*/ 75 w 300"/>
                <a:gd name="T13" fmla="*/ 67 h 336"/>
                <a:gd name="T14" fmla="*/ 101 w 300"/>
                <a:gd name="T15" fmla="*/ 83 h 336"/>
                <a:gd name="T16" fmla="*/ 130 w 300"/>
                <a:gd name="T17" fmla="*/ 83 h 336"/>
                <a:gd name="T18" fmla="*/ 269 w 300"/>
                <a:gd name="T19" fmla="*/ 0 h 336"/>
                <a:gd name="T20" fmla="*/ 283 w 300"/>
                <a:gd name="T21" fmla="*/ 67 h 336"/>
                <a:gd name="T22" fmla="*/ 279 w 300"/>
                <a:gd name="T23" fmla="*/ 74 h 336"/>
                <a:gd name="T24" fmla="*/ 283 w 300"/>
                <a:gd name="T25" fmla="*/ 83 h 336"/>
                <a:gd name="T26" fmla="*/ 300 w 300"/>
                <a:gd name="T27" fmla="*/ 83 h 336"/>
                <a:gd name="T28" fmla="*/ 300 w 300"/>
                <a:gd name="T29" fmla="*/ 90 h 336"/>
                <a:gd name="T30" fmla="*/ 290 w 300"/>
                <a:gd name="T31" fmla="*/ 95 h 336"/>
                <a:gd name="T32" fmla="*/ 283 w 300"/>
                <a:gd name="T33" fmla="*/ 107 h 336"/>
                <a:gd name="T34" fmla="*/ 139 w 300"/>
                <a:gd name="T35" fmla="*/ 145 h 336"/>
                <a:gd name="T36" fmla="*/ 210 w 300"/>
                <a:gd name="T37" fmla="*/ 234 h 336"/>
                <a:gd name="T38" fmla="*/ 182 w 300"/>
                <a:gd name="T39" fmla="*/ 239 h 336"/>
                <a:gd name="T40" fmla="*/ 177 w 300"/>
                <a:gd name="T41" fmla="*/ 274 h 336"/>
                <a:gd name="T42" fmla="*/ 123 w 300"/>
                <a:gd name="T43" fmla="*/ 279 h 336"/>
                <a:gd name="T44" fmla="*/ 108 w 300"/>
                <a:gd name="T45" fmla="*/ 312 h 336"/>
                <a:gd name="T46" fmla="*/ 75 w 300"/>
                <a:gd name="T47" fmla="*/ 336 h 336"/>
                <a:gd name="T48" fmla="*/ 0 w 300"/>
                <a:gd name="T49" fmla="*/ 317 h 336"/>
                <a:gd name="T50" fmla="*/ 0 w 300"/>
                <a:gd name="T51" fmla="*/ 308 h 336"/>
                <a:gd name="T52" fmla="*/ 16 w 300"/>
                <a:gd name="T53" fmla="*/ 256 h 336"/>
                <a:gd name="T54" fmla="*/ 16 w 300"/>
                <a:gd name="T55" fmla="*/ 234 h 336"/>
                <a:gd name="T56" fmla="*/ 33 w 300"/>
                <a:gd name="T57" fmla="*/ 178 h 336"/>
                <a:gd name="T58" fmla="*/ 33 w 300"/>
                <a:gd name="T59" fmla="*/ 168 h 336"/>
                <a:gd name="T60" fmla="*/ 38 w 300"/>
                <a:gd name="T61" fmla="*/ 152 h 336"/>
                <a:gd name="T62" fmla="*/ 38 w 300"/>
                <a:gd name="T63" fmla="*/ 152 h 336"/>
                <a:gd name="T64" fmla="*/ 38 w 300"/>
                <a:gd name="T65" fmla="*/ 152 h 3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00" h="336">
                  <a:moveTo>
                    <a:pt x="38" y="152"/>
                  </a:moveTo>
                  <a:lnTo>
                    <a:pt x="38" y="90"/>
                  </a:lnTo>
                  <a:lnTo>
                    <a:pt x="38" y="83"/>
                  </a:lnTo>
                  <a:lnTo>
                    <a:pt x="38" y="55"/>
                  </a:lnTo>
                  <a:lnTo>
                    <a:pt x="49" y="55"/>
                  </a:lnTo>
                  <a:lnTo>
                    <a:pt x="71" y="50"/>
                  </a:lnTo>
                  <a:lnTo>
                    <a:pt x="75" y="67"/>
                  </a:lnTo>
                  <a:lnTo>
                    <a:pt x="101" y="83"/>
                  </a:lnTo>
                  <a:lnTo>
                    <a:pt x="130" y="83"/>
                  </a:lnTo>
                  <a:lnTo>
                    <a:pt x="269" y="0"/>
                  </a:lnTo>
                  <a:lnTo>
                    <a:pt x="283" y="67"/>
                  </a:lnTo>
                  <a:lnTo>
                    <a:pt x="279" y="74"/>
                  </a:lnTo>
                  <a:lnTo>
                    <a:pt x="283" y="83"/>
                  </a:lnTo>
                  <a:lnTo>
                    <a:pt x="300" y="83"/>
                  </a:lnTo>
                  <a:lnTo>
                    <a:pt x="300" y="90"/>
                  </a:lnTo>
                  <a:lnTo>
                    <a:pt x="290" y="95"/>
                  </a:lnTo>
                  <a:lnTo>
                    <a:pt x="283" y="107"/>
                  </a:lnTo>
                  <a:lnTo>
                    <a:pt x="139" y="145"/>
                  </a:lnTo>
                  <a:lnTo>
                    <a:pt x="210" y="234"/>
                  </a:lnTo>
                  <a:lnTo>
                    <a:pt x="182" y="239"/>
                  </a:lnTo>
                  <a:lnTo>
                    <a:pt x="177" y="274"/>
                  </a:lnTo>
                  <a:lnTo>
                    <a:pt x="123" y="279"/>
                  </a:lnTo>
                  <a:lnTo>
                    <a:pt x="108" y="312"/>
                  </a:lnTo>
                  <a:lnTo>
                    <a:pt x="75" y="336"/>
                  </a:lnTo>
                  <a:lnTo>
                    <a:pt x="0" y="317"/>
                  </a:lnTo>
                  <a:lnTo>
                    <a:pt x="0" y="308"/>
                  </a:lnTo>
                  <a:lnTo>
                    <a:pt x="16" y="256"/>
                  </a:lnTo>
                  <a:lnTo>
                    <a:pt x="16" y="234"/>
                  </a:lnTo>
                  <a:lnTo>
                    <a:pt x="33" y="178"/>
                  </a:lnTo>
                  <a:lnTo>
                    <a:pt x="33" y="168"/>
                  </a:lnTo>
                  <a:lnTo>
                    <a:pt x="38" y="152"/>
                  </a:lnTo>
                  <a:lnTo>
                    <a:pt x="38" y="152"/>
                  </a:lnTo>
                  <a:lnTo>
                    <a:pt x="38" y="152"/>
                  </a:lnTo>
                  <a:close/>
                </a:path>
              </a:pathLst>
            </a:custGeom>
            <a:solidFill>
              <a:schemeClr val="bg2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38" name="Freeform 481">
              <a:extLst>
                <a:ext uri="{FF2B5EF4-FFF2-40B4-BE49-F238E27FC236}">
                  <a16:creationId xmlns:a16="http://schemas.microsoft.com/office/drawing/2014/main" id="{91632938-54FF-43FA-85FD-2B92F89E6DF2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525817" y="2690987"/>
              <a:ext cx="86253" cy="103607"/>
            </a:xfrm>
            <a:custGeom>
              <a:avLst/>
              <a:gdLst>
                <a:gd name="T0" fmla="*/ 0 w 562"/>
                <a:gd name="T1" fmla="*/ 408 h 675"/>
                <a:gd name="T2" fmla="*/ 7 w 562"/>
                <a:gd name="T3" fmla="*/ 347 h 675"/>
                <a:gd name="T4" fmla="*/ 0 w 562"/>
                <a:gd name="T5" fmla="*/ 331 h 675"/>
                <a:gd name="T6" fmla="*/ 23 w 562"/>
                <a:gd name="T7" fmla="*/ 290 h 675"/>
                <a:gd name="T8" fmla="*/ 38 w 562"/>
                <a:gd name="T9" fmla="*/ 274 h 675"/>
                <a:gd name="T10" fmla="*/ 45 w 562"/>
                <a:gd name="T11" fmla="*/ 253 h 675"/>
                <a:gd name="T12" fmla="*/ 71 w 562"/>
                <a:gd name="T13" fmla="*/ 241 h 675"/>
                <a:gd name="T14" fmla="*/ 61 w 562"/>
                <a:gd name="T15" fmla="*/ 234 h 675"/>
                <a:gd name="T16" fmla="*/ 75 w 562"/>
                <a:gd name="T17" fmla="*/ 212 h 675"/>
                <a:gd name="T18" fmla="*/ 75 w 562"/>
                <a:gd name="T19" fmla="*/ 196 h 675"/>
                <a:gd name="T20" fmla="*/ 71 w 562"/>
                <a:gd name="T21" fmla="*/ 156 h 675"/>
                <a:gd name="T22" fmla="*/ 61 w 562"/>
                <a:gd name="T23" fmla="*/ 130 h 675"/>
                <a:gd name="T24" fmla="*/ 45 w 562"/>
                <a:gd name="T25" fmla="*/ 123 h 675"/>
                <a:gd name="T26" fmla="*/ 38 w 562"/>
                <a:gd name="T27" fmla="*/ 90 h 675"/>
                <a:gd name="T28" fmla="*/ 38 w 562"/>
                <a:gd name="T29" fmla="*/ 68 h 675"/>
                <a:gd name="T30" fmla="*/ 23 w 562"/>
                <a:gd name="T31" fmla="*/ 57 h 675"/>
                <a:gd name="T32" fmla="*/ 7 w 562"/>
                <a:gd name="T33" fmla="*/ 28 h 675"/>
                <a:gd name="T34" fmla="*/ 38 w 562"/>
                <a:gd name="T35" fmla="*/ 0 h 675"/>
                <a:gd name="T36" fmla="*/ 146 w 562"/>
                <a:gd name="T37" fmla="*/ 0 h 675"/>
                <a:gd name="T38" fmla="*/ 153 w 562"/>
                <a:gd name="T39" fmla="*/ 12 h 675"/>
                <a:gd name="T40" fmla="*/ 222 w 562"/>
                <a:gd name="T41" fmla="*/ 19 h 675"/>
                <a:gd name="T42" fmla="*/ 305 w 562"/>
                <a:gd name="T43" fmla="*/ 73 h 675"/>
                <a:gd name="T44" fmla="*/ 326 w 562"/>
                <a:gd name="T45" fmla="*/ 73 h 675"/>
                <a:gd name="T46" fmla="*/ 394 w 562"/>
                <a:gd name="T47" fmla="*/ 90 h 675"/>
                <a:gd name="T48" fmla="*/ 418 w 562"/>
                <a:gd name="T49" fmla="*/ 52 h 675"/>
                <a:gd name="T50" fmla="*/ 486 w 562"/>
                <a:gd name="T51" fmla="*/ 28 h 675"/>
                <a:gd name="T52" fmla="*/ 510 w 562"/>
                <a:gd name="T53" fmla="*/ 52 h 675"/>
                <a:gd name="T54" fmla="*/ 562 w 562"/>
                <a:gd name="T55" fmla="*/ 45 h 675"/>
                <a:gd name="T56" fmla="*/ 524 w 562"/>
                <a:gd name="T57" fmla="*/ 106 h 675"/>
                <a:gd name="T58" fmla="*/ 503 w 562"/>
                <a:gd name="T59" fmla="*/ 130 h 675"/>
                <a:gd name="T60" fmla="*/ 503 w 562"/>
                <a:gd name="T61" fmla="*/ 401 h 675"/>
                <a:gd name="T62" fmla="*/ 541 w 562"/>
                <a:gd name="T63" fmla="*/ 458 h 675"/>
                <a:gd name="T64" fmla="*/ 524 w 562"/>
                <a:gd name="T65" fmla="*/ 475 h 675"/>
                <a:gd name="T66" fmla="*/ 494 w 562"/>
                <a:gd name="T67" fmla="*/ 479 h 675"/>
                <a:gd name="T68" fmla="*/ 494 w 562"/>
                <a:gd name="T69" fmla="*/ 508 h 675"/>
                <a:gd name="T70" fmla="*/ 486 w 562"/>
                <a:gd name="T71" fmla="*/ 496 h 675"/>
                <a:gd name="T72" fmla="*/ 486 w 562"/>
                <a:gd name="T73" fmla="*/ 508 h 675"/>
                <a:gd name="T74" fmla="*/ 472 w 562"/>
                <a:gd name="T75" fmla="*/ 520 h 675"/>
                <a:gd name="T76" fmla="*/ 465 w 562"/>
                <a:gd name="T77" fmla="*/ 520 h 675"/>
                <a:gd name="T78" fmla="*/ 449 w 562"/>
                <a:gd name="T79" fmla="*/ 529 h 675"/>
                <a:gd name="T80" fmla="*/ 439 w 562"/>
                <a:gd name="T81" fmla="*/ 569 h 675"/>
                <a:gd name="T82" fmla="*/ 423 w 562"/>
                <a:gd name="T83" fmla="*/ 574 h 675"/>
                <a:gd name="T84" fmla="*/ 385 w 562"/>
                <a:gd name="T85" fmla="*/ 675 h 675"/>
                <a:gd name="T86" fmla="*/ 368 w 562"/>
                <a:gd name="T87" fmla="*/ 675 h 675"/>
                <a:gd name="T88" fmla="*/ 260 w 562"/>
                <a:gd name="T89" fmla="*/ 586 h 675"/>
                <a:gd name="T90" fmla="*/ 271 w 562"/>
                <a:gd name="T91" fmla="*/ 574 h 675"/>
                <a:gd name="T92" fmla="*/ 260 w 562"/>
                <a:gd name="T93" fmla="*/ 553 h 675"/>
                <a:gd name="T94" fmla="*/ 0 w 562"/>
                <a:gd name="T95" fmla="*/ 408 h 675"/>
                <a:gd name="T96" fmla="*/ 0 w 562"/>
                <a:gd name="T97" fmla="*/ 408 h 675"/>
                <a:gd name="T98" fmla="*/ 0 w 562"/>
                <a:gd name="T99" fmla="*/ 408 h 675"/>
                <a:gd name="T100" fmla="*/ 503 w 562"/>
                <a:gd name="T101" fmla="*/ 496 h 675"/>
                <a:gd name="T102" fmla="*/ 503 w 562"/>
                <a:gd name="T103" fmla="*/ 491 h 675"/>
                <a:gd name="T104" fmla="*/ 510 w 562"/>
                <a:gd name="T105" fmla="*/ 491 h 675"/>
                <a:gd name="T106" fmla="*/ 503 w 562"/>
                <a:gd name="T107" fmla="*/ 496 h 675"/>
                <a:gd name="T108" fmla="*/ 503 w 562"/>
                <a:gd name="T109" fmla="*/ 496 h 675"/>
                <a:gd name="T110" fmla="*/ 503 w 562"/>
                <a:gd name="T111" fmla="*/ 496 h 6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562" h="675">
                  <a:moveTo>
                    <a:pt x="0" y="408"/>
                  </a:moveTo>
                  <a:lnTo>
                    <a:pt x="7" y="347"/>
                  </a:lnTo>
                  <a:lnTo>
                    <a:pt x="0" y="331"/>
                  </a:lnTo>
                  <a:lnTo>
                    <a:pt x="23" y="290"/>
                  </a:lnTo>
                  <a:lnTo>
                    <a:pt x="38" y="274"/>
                  </a:lnTo>
                  <a:lnTo>
                    <a:pt x="45" y="253"/>
                  </a:lnTo>
                  <a:lnTo>
                    <a:pt x="71" y="241"/>
                  </a:lnTo>
                  <a:lnTo>
                    <a:pt x="61" y="234"/>
                  </a:lnTo>
                  <a:lnTo>
                    <a:pt x="75" y="212"/>
                  </a:lnTo>
                  <a:lnTo>
                    <a:pt x="75" y="196"/>
                  </a:lnTo>
                  <a:lnTo>
                    <a:pt x="71" y="156"/>
                  </a:lnTo>
                  <a:lnTo>
                    <a:pt x="61" y="130"/>
                  </a:lnTo>
                  <a:lnTo>
                    <a:pt x="45" y="123"/>
                  </a:lnTo>
                  <a:lnTo>
                    <a:pt x="38" y="90"/>
                  </a:lnTo>
                  <a:lnTo>
                    <a:pt x="38" y="68"/>
                  </a:lnTo>
                  <a:lnTo>
                    <a:pt x="23" y="57"/>
                  </a:lnTo>
                  <a:lnTo>
                    <a:pt x="7" y="28"/>
                  </a:lnTo>
                  <a:lnTo>
                    <a:pt x="38" y="0"/>
                  </a:lnTo>
                  <a:lnTo>
                    <a:pt x="146" y="0"/>
                  </a:lnTo>
                  <a:lnTo>
                    <a:pt x="153" y="12"/>
                  </a:lnTo>
                  <a:lnTo>
                    <a:pt x="222" y="19"/>
                  </a:lnTo>
                  <a:lnTo>
                    <a:pt x="305" y="73"/>
                  </a:lnTo>
                  <a:lnTo>
                    <a:pt x="326" y="73"/>
                  </a:lnTo>
                  <a:lnTo>
                    <a:pt x="394" y="90"/>
                  </a:lnTo>
                  <a:lnTo>
                    <a:pt x="418" y="52"/>
                  </a:lnTo>
                  <a:lnTo>
                    <a:pt x="486" y="28"/>
                  </a:lnTo>
                  <a:lnTo>
                    <a:pt x="510" y="52"/>
                  </a:lnTo>
                  <a:lnTo>
                    <a:pt x="562" y="45"/>
                  </a:lnTo>
                  <a:lnTo>
                    <a:pt x="524" y="106"/>
                  </a:lnTo>
                  <a:lnTo>
                    <a:pt x="503" y="130"/>
                  </a:lnTo>
                  <a:lnTo>
                    <a:pt x="503" y="401"/>
                  </a:lnTo>
                  <a:lnTo>
                    <a:pt x="541" y="458"/>
                  </a:lnTo>
                  <a:lnTo>
                    <a:pt x="524" y="475"/>
                  </a:lnTo>
                  <a:lnTo>
                    <a:pt x="494" y="479"/>
                  </a:lnTo>
                  <a:lnTo>
                    <a:pt x="494" y="508"/>
                  </a:lnTo>
                  <a:lnTo>
                    <a:pt x="486" y="496"/>
                  </a:lnTo>
                  <a:lnTo>
                    <a:pt x="486" y="508"/>
                  </a:lnTo>
                  <a:lnTo>
                    <a:pt x="472" y="520"/>
                  </a:lnTo>
                  <a:lnTo>
                    <a:pt x="465" y="520"/>
                  </a:lnTo>
                  <a:lnTo>
                    <a:pt x="449" y="529"/>
                  </a:lnTo>
                  <a:lnTo>
                    <a:pt x="439" y="569"/>
                  </a:lnTo>
                  <a:lnTo>
                    <a:pt x="423" y="574"/>
                  </a:lnTo>
                  <a:lnTo>
                    <a:pt x="385" y="675"/>
                  </a:lnTo>
                  <a:lnTo>
                    <a:pt x="368" y="675"/>
                  </a:lnTo>
                  <a:lnTo>
                    <a:pt x="260" y="586"/>
                  </a:lnTo>
                  <a:lnTo>
                    <a:pt x="271" y="574"/>
                  </a:lnTo>
                  <a:lnTo>
                    <a:pt x="260" y="553"/>
                  </a:lnTo>
                  <a:lnTo>
                    <a:pt x="0" y="408"/>
                  </a:lnTo>
                  <a:lnTo>
                    <a:pt x="0" y="408"/>
                  </a:lnTo>
                  <a:lnTo>
                    <a:pt x="0" y="408"/>
                  </a:lnTo>
                  <a:close/>
                  <a:moveTo>
                    <a:pt x="503" y="496"/>
                  </a:moveTo>
                  <a:lnTo>
                    <a:pt x="503" y="491"/>
                  </a:lnTo>
                  <a:lnTo>
                    <a:pt x="510" y="491"/>
                  </a:lnTo>
                  <a:lnTo>
                    <a:pt x="503" y="496"/>
                  </a:lnTo>
                  <a:lnTo>
                    <a:pt x="503" y="496"/>
                  </a:lnTo>
                  <a:lnTo>
                    <a:pt x="503" y="496"/>
                  </a:lnTo>
                  <a:close/>
                </a:path>
              </a:pathLst>
            </a:custGeom>
            <a:solidFill>
              <a:schemeClr val="bg2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39" name="Freeform 482">
              <a:extLst>
                <a:ext uri="{FF2B5EF4-FFF2-40B4-BE49-F238E27FC236}">
                  <a16:creationId xmlns:a16="http://schemas.microsoft.com/office/drawing/2014/main" id="{DCF39E27-B863-4003-B1B4-DD79B5DCEE18}"/>
                </a:ext>
              </a:extLst>
            </p:cNvPr>
            <p:cNvSpPr>
              <a:spLocks/>
            </p:cNvSpPr>
            <p:nvPr/>
          </p:nvSpPr>
          <p:spPr bwMode="gray">
            <a:xfrm>
              <a:off x="6907202" y="2231892"/>
              <a:ext cx="117408" cy="53415"/>
            </a:xfrm>
            <a:custGeom>
              <a:avLst/>
              <a:gdLst>
                <a:gd name="T0" fmla="*/ 397 w 765"/>
                <a:gd name="T1" fmla="*/ 255 h 348"/>
                <a:gd name="T2" fmla="*/ 359 w 765"/>
                <a:gd name="T3" fmla="*/ 272 h 348"/>
                <a:gd name="T4" fmla="*/ 321 w 765"/>
                <a:gd name="T5" fmla="*/ 305 h 348"/>
                <a:gd name="T6" fmla="*/ 321 w 765"/>
                <a:gd name="T7" fmla="*/ 326 h 348"/>
                <a:gd name="T8" fmla="*/ 271 w 765"/>
                <a:gd name="T9" fmla="*/ 331 h 348"/>
                <a:gd name="T10" fmla="*/ 212 w 765"/>
                <a:gd name="T11" fmla="*/ 348 h 348"/>
                <a:gd name="T12" fmla="*/ 168 w 765"/>
                <a:gd name="T13" fmla="*/ 343 h 348"/>
                <a:gd name="T14" fmla="*/ 158 w 765"/>
                <a:gd name="T15" fmla="*/ 326 h 348"/>
                <a:gd name="T16" fmla="*/ 125 w 765"/>
                <a:gd name="T17" fmla="*/ 326 h 348"/>
                <a:gd name="T18" fmla="*/ 104 w 765"/>
                <a:gd name="T19" fmla="*/ 331 h 348"/>
                <a:gd name="T20" fmla="*/ 87 w 765"/>
                <a:gd name="T21" fmla="*/ 315 h 348"/>
                <a:gd name="T22" fmla="*/ 0 w 765"/>
                <a:gd name="T23" fmla="*/ 293 h 348"/>
                <a:gd name="T24" fmla="*/ 7 w 765"/>
                <a:gd name="T25" fmla="*/ 289 h 348"/>
                <a:gd name="T26" fmla="*/ 16 w 765"/>
                <a:gd name="T27" fmla="*/ 272 h 348"/>
                <a:gd name="T28" fmla="*/ 87 w 765"/>
                <a:gd name="T29" fmla="*/ 277 h 348"/>
                <a:gd name="T30" fmla="*/ 92 w 765"/>
                <a:gd name="T31" fmla="*/ 289 h 348"/>
                <a:gd name="T32" fmla="*/ 113 w 765"/>
                <a:gd name="T33" fmla="*/ 272 h 348"/>
                <a:gd name="T34" fmla="*/ 146 w 765"/>
                <a:gd name="T35" fmla="*/ 255 h 348"/>
                <a:gd name="T36" fmla="*/ 196 w 765"/>
                <a:gd name="T37" fmla="*/ 260 h 348"/>
                <a:gd name="T38" fmla="*/ 201 w 765"/>
                <a:gd name="T39" fmla="*/ 248 h 348"/>
                <a:gd name="T40" fmla="*/ 217 w 765"/>
                <a:gd name="T41" fmla="*/ 232 h 348"/>
                <a:gd name="T42" fmla="*/ 250 w 765"/>
                <a:gd name="T43" fmla="*/ 222 h 348"/>
                <a:gd name="T44" fmla="*/ 234 w 765"/>
                <a:gd name="T45" fmla="*/ 206 h 348"/>
                <a:gd name="T46" fmla="*/ 201 w 765"/>
                <a:gd name="T47" fmla="*/ 199 h 348"/>
                <a:gd name="T48" fmla="*/ 184 w 765"/>
                <a:gd name="T49" fmla="*/ 182 h 348"/>
                <a:gd name="T50" fmla="*/ 168 w 765"/>
                <a:gd name="T51" fmla="*/ 149 h 348"/>
                <a:gd name="T52" fmla="*/ 146 w 765"/>
                <a:gd name="T53" fmla="*/ 166 h 348"/>
                <a:gd name="T54" fmla="*/ 108 w 765"/>
                <a:gd name="T55" fmla="*/ 178 h 348"/>
                <a:gd name="T56" fmla="*/ 87 w 765"/>
                <a:gd name="T57" fmla="*/ 161 h 348"/>
                <a:gd name="T58" fmla="*/ 104 w 765"/>
                <a:gd name="T59" fmla="*/ 123 h 348"/>
                <a:gd name="T60" fmla="*/ 108 w 765"/>
                <a:gd name="T61" fmla="*/ 107 h 348"/>
                <a:gd name="T62" fmla="*/ 125 w 765"/>
                <a:gd name="T63" fmla="*/ 78 h 348"/>
                <a:gd name="T64" fmla="*/ 108 w 765"/>
                <a:gd name="T65" fmla="*/ 78 h 348"/>
                <a:gd name="T66" fmla="*/ 168 w 765"/>
                <a:gd name="T67" fmla="*/ 41 h 348"/>
                <a:gd name="T68" fmla="*/ 293 w 765"/>
                <a:gd name="T69" fmla="*/ 74 h 348"/>
                <a:gd name="T70" fmla="*/ 305 w 765"/>
                <a:gd name="T71" fmla="*/ 17 h 348"/>
                <a:gd name="T72" fmla="*/ 385 w 765"/>
                <a:gd name="T73" fmla="*/ 24 h 348"/>
                <a:gd name="T74" fmla="*/ 456 w 765"/>
                <a:gd name="T75" fmla="*/ 24 h 348"/>
                <a:gd name="T76" fmla="*/ 543 w 765"/>
                <a:gd name="T77" fmla="*/ 24 h 348"/>
                <a:gd name="T78" fmla="*/ 699 w 765"/>
                <a:gd name="T79" fmla="*/ 41 h 348"/>
                <a:gd name="T80" fmla="*/ 711 w 765"/>
                <a:gd name="T81" fmla="*/ 74 h 348"/>
                <a:gd name="T82" fmla="*/ 765 w 765"/>
                <a:gd name="T83" fmla="*/ 95 h 348"/>
                <a:gd name="T84" fmla="*/ 742 w 765"/>
                <a:gd name="T85" fmla="*/ 111 h 348"/>
                <a:gd name="T86" fmla="*/ 704 w 765"/>
                <a:gd name="T87" fmla="*/ 128 h 348"/>
                <a:gd name="T88" fmla="*/ 635 w 765"/>
                <a:gd name="T89" fmla="*/ 178 h 348"/>
                <a:gd name="T90" fmla="*/ 536 w 765"/>
                <a:gd name="T91" fmla="*/ 199 h 348"/>
                <a:gd name="T92" fmla="*/ 520 w 765"/>
                <a:gd name="T93" fmla="*/ 232 h 348"/>
                <a:gd name="T94" fmla="*/ 482 w 765"/>
                <a:gd name="T95" fmla="*/ 248 h 348"/>
                <a:gd name="T96" fmla="*/ 439 w 765"/>
                <a:gd name="T97" fmla="*/ 232 h 348"/>
                <a:gd name="T98" fmla="*/ 385 w 765"/>
                <a:gd name="T99" fmla="*/ 239 h 348"/>
                <a:gd name="T100" fmla="*/ 385 w 765"/>
                <a:gd name="T101" fmla="*/ 239 h 3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765" h="348">
                  <a:moveTo>
                    <a:pt x="385" y="239"/>
                  </a:moveTo>
                  <a:lnTo>
                    <a:pt x="397" y="255"/>
                  </a:lnTo>
                  <a:lnTo>
                    <a:pt x="380" y="255"/>
                  </a:lnTo>
                  <a:lnTo>
                    <a:pt x="359" y="272"/>
                  </a:lnTo>
                  <a:lnTo>
                    <a:pt x="331" y="277"/>
                  </a:lnTo>
                  <a:lnTo>
                    <a:pt x="321" y="305"/>
                  </a:lnTo>
                  <a:lnTo>
                    <a:pt x="326" y="315"/>
                  </a:lnTo>
                  <a:lnTo>
                    <a:pt x="321" y="326"/>
                  </a:lnTo>
                  <a:lnTo>
                    <a:pt x="309" y="326"/>
                  </a:lnTo>
                  <a:lnTo>
                    <a:pt x="271" y="331"/>
                  </a:lnTo>
                  <a:lnTo>
                    <a:pt x="217" y="331"/>
                  </a:lnTo>
                  <a:lnTo>
                    <a:pt x="212" y="348"/>
                  </a:lnTo>
                  <a:lnTo>
                    <a:pt x="196" y="331"/>
                  </a:lnTo>
                  <a:lnTo>
                    <a:pt x="168" y="343"/>
                  </a:lnTo>
                  <a:lnTo>
                    <a:pt x="168" y="326"/>
                  </a:lnTo>
                  <a:lnTo>
                    <a:pt x="158" y="326"/>
                  </a:lnTo>
                  <a:lnTo>
                    <a:pt x="158" y="315"/>
                  </a:lnTo>
                  <a:lnTo>
                    <a:pt x="125" y="326"/>
                  </a:lnTo>
                  <a:lnTo>
                    <a:pt x="113" y="331"/>
                  </a:lnTo>
                  <a:lnTo>
                    <a:pt x="104" y="331"/>
                  </a:lnTo>
                  <a:lnTo>
                    <a:pt x="92" y="315"/>
                  </a:lnTo>
                  <a:lnTo>
                    <a:pt x="87" y="315"/>
                  </a:lnTo>
                  <a:lnTo>
                    <a:pt x="0" y="315"/>
                  </a:lnTo>
                  <a:lnTo>
                    <a:pt x="0" y="293"/>
                  </a:lnTo>
                  <a:lnTo>
                    <a:pt x="0" y="277"/>
                  </a:lnTo>
                  <a:lnTo>
                    <a:pt x="7" y="289"/>
                  </a:lnTo>
                  <a:lnTo>
                    <a:pt x="16" y="289"/>
                  </a:lnTo>
                  <a:lnTo>
                    <a:pt x="16" y="272"/>
                  </a:lnTo>
                  <a:lnTo>
                    <a:pt x="54" y="260"/>
                  </a:lnTo>
                  <a:lnTo>
                    <a:pt x="87" y="277"/>
                  </a:lnTo>
                  <a:lnTo>
                    <a:pt x="87" y="289"/>
                  </a:lnTo>
                  <a:lnTo>
                    <a:pt x="92" y="289"/>
                  </a:lnTo>
                  <a:lnTo>
                    <a:pt x="92" y="272"/>
                  </a:lnTo>
                  <a:lnTo>
                    <a:pt x="113" y="272"/>
                  </a:lnTo>
                  <a:lnTo>
                    <a:pt x="113" y="260"/>
                  </a:lnTo>
                  <a:lnTo>
                    <a:pt x="146" y="255"/>
                  </a:lnTo>
                  <a:lnTo>
                    <a:pt x="168" y="272"/>
                  </a:lnTo>
                  <a:lnTo>
                    <a:pt x="196" y="260"/>
                  </a:lnTo>
                  <a:lnTo>
                    <a:pt x="196" y="255"/>
                  </a:lnTo>
                  <a:lnTo>
                    <a:pt x="201" y="248"/>
                  </a:lnTo>
                  <a:lnTo>
                    <a:pt x="217" y="248"/>
                  </a:lnTo>
                  <a:lnTo>
                    <a:pt x="217" y="232"/>
                  </a:lnTo>
                  <a:lnTo>
                    <a:pt x="234" y="239"/>
                  </a:lnTo>
                  <a:lnTo>
                    <a:pt x="250" y="222"/>
                  </a:lnTo>
                  <a:lnTo>
                    <a:pt x="271" y="215"/>
                  </a:lnTo>
                  <a:lnTo>
                    <a:pt x="234" y="206"/>
                  </a:lnTo>
                  <a:lnTo>
                    <a:pt x="217" y="194"/>
                  </a:lnTo>
                  <a:lnTo>
                    <a:pt x="201" y="199"/>
                  </a:lnTo>
                  <a:lnTo>
                    <a:pt x="201" y="182"/>
                  </a:lnTo>
                  <a:lnTo>
                    <a:pt x="184" y="182"/>
                  </a:lnTo>
                  <a:lnTo>
                    <a:pt x="184" y="166"/>
                  </a:lnTo>
                  <a:lnTo>
                    <a:pt x="168" y="149"/>
                  </a:lnTo>
                  <a:lnTo>
                    <a:pt x="163" y="166"/>
                  </a:lnTo>
                  <a:lnTo>
                    <a:pt x="146" y="166"/>
                  </a:lnTo>
                  <a:lnTo>
                    <a:pt x="146" y="182"/>
                  </a:lnTo>
                  <a:lnTo>
                    <a:pt x="108" y="178"/>
                  </a:lnTo>
                  <a:lnTo>
                    <a:pt x="104" y="161"/>
                  </a:lnTo>
                  <a:lnTo>
                    <a:pt x="87" y="161"/>
                  </a:lnTo>
                  <a:lnTo>
                    <a:pt x="61" y="149"/>
                  </a:lnTo>
                  <a:lnTo>
                    <a:pt x="104" y="123"/>
                  </a:lnTo>
                  <a:lnTo>
                    <a:pt x="108" y="123"/>
                  </a:lnTo>
                  <a:lnTo>
                    <a:pt x="108" y="107"/>
                  </a:lnTo>
                  <a:lnTo>
                    <a:pt x="142" y="95"/>
                  </a:lnTo>
                  <a:lnTo>
                    <a:pt x="125" y="78"/>
                  </a:lnTo>
                  <a:lnTo>
                    <a:pt x="113" y="90"/>
                  </a:lnTo>
                  <a:lnTo>
                    <a:pt x="108" y="78"/>
                  </a:lnTo>
                  <a:lnTo>
                    <a:pt x="130" y="50"/>
                  </a:lnTo>
                  <a:lnTo>
                    <a:pt x="168" y="41"/>
                  </a:lnTo>
                  <a:lnTo>
                    <a:pt x="212" y="41"/>
                  </a:lnTo>
                  <a:lnTo>
                    <a:pt x="293" y="74"/>
                  </a:lnTo>
                  <a:lnTo>
                    <a:pt x="293" y="57"/>
                  </a:lnTo>
                  <a:lnTo>
                    <a:pt x="305" y="17"/>
                  </a:lnTo>
                  <a:lnTo>
                    <a:pt x="347" y="0"/>
                  </a:lnTo>
                  <a:lnTo>
                    <a:pt x="385" y="24"/>
                  </a:lnTo>
                  <a:lnTo>
                    <a:pt x="451" y="41"/>
                  </a:lnTo>
                  <a:lnTo>
                    <a:pt x="456" y="24"/>
                  </a:lnTo>
                  <a:lnTo>
                    <a:pt x="520" y="33"/>
                  </a:lnTo>
                  <a:lnTo>
                    <a:pt x="543" y="24"/>
                  </a:lnTo>
                  <a:lnTo>
                    <a:pt x="557" y="33"/>
                  </a:lnTo>
                  <a:lnTo>
                    <a:pt x="699" y="41"/>
                  </a:lnTo>
                  <a:lnTo>
                    <a:pt x="699" y="50"/>
                  </a:lnTo>
                  <a:lnTo>
                    <a:pt x="711" y="74"/>
                  </a:lnTo>
                  <a:lnTo>
                    <a:pt x="753" y="74"/>
                  </a:lnTo>
                  <a:lnTo>
                    <a:pt x="765" y="95"/>
                  </a:lnTo>
                  <a:lnTo>
                    <a:pt x="765" y="107"/>
                  </a:lnTo>
                  <a:lnTo>
                    <a:pt x="742" y="111"/>
                  </a:lnTo>
                  <a:lnTo>
                    <a:pt x="737" y="123"/>
                  </a:lnTo>
                  <a:lnTo>
                    <a:pt x="704" y="128"/>
                  </a:lnTo>
                  <a:lnTo>
                    <a:pt x="645" y="161"/>
                  </a:lnTo>
                  <a:lnTo>
                    <a:pt x="635" y="178"/>
                  </a:lnTo>
                  <a:lnTo>
                    <a:pt x="619" y="194"/>
                  </a:lnTo>
                  <a:lnTo>
                    <a:pt x="536" y="199"/>
                  </a:lnTo>
                  <a:lnTo>
                    <a:pt x="520" y="215"/>
                  </a:lnTo>
                  <a:lnTo>
                    <a:pt x="520" y="232"/>
                  </a:lnTo>
                  <a:lnTo>
                    <a:pt x="494" y="255"/>
                  </a:lnTo>
                  <a:lnTo>
                    <a:pt x="482" y="248"/>
                  </a:lnTo>
                  <a:lnTo>
                    <a:pt x="451" y="255"/>
                  </a:lnTo>
                  <a:lnTo>
                    <a:pt x="439" y="232"/>
                  </a:lnTo>
                  <a:lnTo>
                    <a:pt x="418" y="248"/>
                  </a:lnTo>
                  <a:lnTo>
                    <a:pt x="385" y="239"/>
                  </a:lnTo>
                  <a:lnTo>
                    <a:pt x="385" y="239"/>
                  </a:lnTo>
                  <a:lnTo>
                    <a:pt x="385" y="239"/>
                  </a:lnTo>
                  <a:close/>
                </a:path>
              </a:pathLst>
            </a:custGeom>
            <a:solidFill>
              <a:schemeClr val="bg2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40" name="Freeform 483">
              <a:extLst>
                <a:ext uri="{FF2B5EF4-FFF2-40B4-BE49-F238E27FC236}">
                  <a16:creationId xmlns:a16="http://schemas.microsoft.com/office/drawing/2014/main" id="{D9CAE62F-3646-450F-8949-7929AD17DA69}"/>
                </a:ext>
              </a:extLst>
            </p:cNvPr>
            <p:cNvSpPr>
              <a:spLocks/>
            </p:cNvSpPr>
            <p:nvPr/>
          </p:nvSpPr>
          <p:spPr bwMode="gray">
            <a:xfrm>
              <a:off x="7499154" y="2235269"/>
              <a:ext cx="68603" cy="69992"/>
            </a:xfrm>
            <a:custGeom>
              <a:avLst/>
              <a:gdLst>
                <a:gd name="T0" fmla="*/ 45 w 447"/>
                <a:gd name="T1" fmla="*/ 217 h 456"/>
                <a:gd name="T2" fmla="*/ 55 w 447"/>
                <a:gd name="T3" fmla="*/ 217 h 456"/>
                <a:gd name="T4" fmla="*/ 104 w 447"/>
                <a:gd name="T5" fmla="*/ 184 h 456"/>
                <a:gd name="T6" fmla="*/ 156 w 447"/>
                <a:gd name="T7" fmla="*/ 144 h 456"/>
                <a:gd name="T8" fmla="*/ 189 w 447"/>
                <a:gd name="T9" fmla="*/ 106 h 456"/>
                <a:gd name="T10" fmla="*/ 270 w 447"/>
                <a:gd name="T11" fmla="*/ 144 h 456"/>
                <a:gd name="T12" fmla="*/ 270 w 447"/>
                <a:gd name="T13" fmla="*/ 106 h 456"/>
                <a:gd name="T14" fmla="*/ 324 w 447"/>
                <a:gd name="T15" fmla="*/ 89 h 456"/>
                <a:gd name="T16" fmla="*/ 357 w 447"/>
                <a:gd name="T17" fmla="*/ 49 h 456"/>
                <a:gd name="T18" fmla="*/ 378 w 447"/>
                <a:gd name="T19" fmla="*/ 49 h 456"/>
                <a:gd name="T20" fmla="*/ 421 w 447"/>
                <a:gd name="T21" fmla="*/ 11 h 456"/>
                <a:gd name="T22" fmla="*/ 442 w 447"/>
                <a:gd name="T23" fmla="*/ 45 h 456"/>
                <a:gd name="T24" fmla="*/ 447 w 447"/>
                <a:gd name="T25" fmla="*/ 66 h 456"/>
                <a:gd name="T26" fmla="*/ 378 w 447"/>
                <a:gd name="T27" fmla="*/ 122 h 456"/>
                <a:gd name="T28" fmla="*/ 388 w 447"/>
                <a:gd name="T29" fmla="*/ 144 h 456"/>
                <a:gd name="T30" fmla="*/ 350 w 447"/>
                <a:gd name="T31" fmla="*/ 200 h 456"/>
                <a:gd name="T32" fmla="*/ 303 w 447"/>
                <a:gd name="T33" fmla="*/ 238 h 456"/>
                <a:gd name="T34" fmla="*/ 286 w 447"/>
                <a:gd name="T35" fmla="*/ 255 h 456"/>
                <a:gd name="T36" fmla="*/ 260 w 447"/>
                <a:gd name="T37" fmla="*/ 271 h 456"/>
                <a:gd name="T38" fmla="*/ 232 w 447"/>
                <a:gd name="T39" fmla="*/ 323 h 456"/>
                <a:gd name="T40" fmla="*/ 218 w 447"/>
                <a:gd name="T41" fmla="*/ 311 h 456"/>
                <a:gd name="T42" fmla="*/ 248 w 447"/>
                <a:gd name="T43" fmla="*/ 340 h 456"/>
                <a:gd name="T44" fmla="*/ 281 w 447"/>
                <a:gd name="T45" fmla="*/ 394 h 456"/>
                <a:gd name="T46" fmla="*/ 206 w 447"/>
                <a:gd name="T47" fmla="*/ 406 h 456"/>
                <a:gd name="T48" fmla="*/ 163 w 447"/>
                <a:gd name="T49" fmla="*/ 451 h 456"/>
                <a:gd name="T50" fmla="*/ 135 w 447"/>
                <a:gd name="T51" fmla="*/ 451 h 456"/>
                <a:gd name="T52" fmla="*/ 121 w 447"/>
                <a:gd name="T53" fmla="*/ 439 h 456"/>
                <a:gd name="T54" fmla="*/ 109 w 447"/>
                <a:gd name="T55" fmla="*/ 432 h 456"/>
                <a:gd name="T56" fmla="*/ 104 w 447"/>
                <a:gd name="T57" fmla="*/ 439 h 456"/>
                <a:gd name="T58" fmla="*/ 88 w 447"/>
                <a:gd name="T59" fmla="*/ 439 h 456"/>
                <a:gd name="T60" fmla="*/ 71 w 447"/>
                <a:gd name="T61" fmla="*/ 422 h 456"/>
                <a:gd name="T62" fmla="*/ 45 w 447"/>
                <a:gd name="T63" fmla="*/ 406 h 456"/>
                <a:gd name="T64" fmla="*/ 83 w 447"/>
                <a:gd name="T65" fmla="*/ 366 h 456"/>
                <a:gd name="T66" fmla="*/ 66 w 447"/>
                <a:gd name="T67" fmla="*/ 361 h 456"/>
                <a:gd name="T68" fmla="*/ 71 w 447"/>
                <a:gd name="T69" fmla="*/ 304 h 456"/>
                <a:gd name="T70" fmla="*/ 55 w 447"/>
                <a:gd name="T71" fmla="*/ 295 h 456"/>
                <a:gd name="T72" fmla="*/ 33 w 447"/>
                <a:gd name="T73" fmla="*/ 288 h 456"/>
                <a:gd name="T74" fmla="*/ 17 w 447"/>
                <a:gd name="T75" fmla="*/ 283 h 456"/>
                <a:gd name="T76" fmla="*/ 12 w 447"/>
                <a:gd name="T77" fmla="*/ 250 h 456"/>
                <a:gd name="T78" fmla="*/ 12 w 447"/>
                <a:gd name="T79" fmla="*/ 250 h 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447" h="456">
                  <a:moveTo>
                    <a:pt x="12" y="250"/>
                  </a:moveTo>
                  <a:lnTo>
                    <a:pt x="45" y="217"/>
                  </a:lnTo>
                  <a:lnTo>
                    <a:pt x="55" y="229"/>
                  </a:lnTo>
                  <a:lnTo>
                    <a:pt x="55" y="217"/>
                  </a:lnTo>
                  <a:lnTo>
                    <a:pt x="83" y="200"/>
                  </a:lnTo>
                  <a:lnTo>
                    <a:pt x="104" y="184"/>
                  </a:lnTo>
                  <a:lnTo>
                    <a:pt x="125" y="184"/>
                  </a:lnTo>
                  <a:lnTo>
                    <a:pt x="156" y="144"/>
                  </a:lnTo>
                  <a:lnTo>
                    <a:pt x="163" y="122"/>
                  </a:lnTo>
                  <a:lnTo>
                    <a:pt x="189" y="106"/>
                  </a:lnTo>
                  <a:lnTo>
                    <a:pt x="210" y="139"/>
                  </a:lnTo>
                  <a:lnTo>
                    <a:pt x="270" y="144"/>
                  </a:lnTo>
                  <a:lnTo>
                    <a:pt x="281" y="122"/>
                  </a:lnTo>
                  <a:lnTo>
                    <a:pt x="270" y="106"/>
                  </a:lnTo>
                  <a:lnTo>
                    <a:pt x="265" y="89"/>
                  </a:lnTo>
                  <a:lnTo>
                    <a:pt x="324" y="89"/>
                  </a:lnTo>
                  <a:lnTo>
                    <a:pt x="350" y="66"/>
                  </a:lnTo>
                  <a:lnTo>
                    <a:pt x="357" y="49"/>
                  </a:lnTo>
                  <a:lnTo>
                    <a:pt x="366" y="56"/>
                  </a:lnTo>
                  <a:lnTo>
                    <a:pt x="378" y="49"/>
                  </a:lnTo>
                  <a:lnTo>
                    <a:pt x="395" y="0"/>
                  </a:lnTo>
                  <a:lnTo>
                    <a:pt x="421" y="11"/>
                  </a:lnTo>
                  <a:lnTo>
                    <a:pt x="421" y="28"/>
                  </a:lnTo>
                  <a:lnTo>
                    <a:pt x="442" y="45"/>
                  </a:lnTo>
                  <a:lnTo>
                    <a:pt x="442" y="49"/>
                  </a:lnTo>
                  <a:lnTo>
                    <a:pt x="447" y="66"/>
                  </a:lnTo>
                  <a:lnTo>
                    <a:pt x="433" y="56"/>
                  </a:lnTo>
                  <a:lnTo>
                    <a:pt x="378" y="122"/>
                  </a:lnTo>
                  <a:lnTo>
                    <a:pt x="378" y="139"/>
                  </a:lnTo>
                  <a:lnTo>
                    <a:pt x="388" y="144"/>
                  </a:lnTo>
                  <a:lnTo>
                    <a:pt x="378" y="193"/>
                  </a:lnTo>
                  <a:lnTo>
                    <a:pt x="350" y="200"/>
                  </a:lnTo>
                  <a:lnTo>
                    <a:pt x="340" y="217"/>
                  </a:lnTo>
                  <a:lnTo>
                    <a:pt x="303" y="238"/>
                  </a:lnTo>
                  <a:lnTo>
                    <a:pt x="303" y="250"/>
                  </a:lnTo>
                  <a:lnTo>
                    <a:pt x="286" y="255"/>
                  </a:lnTo>
                  <a:lnTo>
                    <a:pt x="265" y="255"/>
                  </a:lnTo>
                  <a:lnTo>
                    <a:pt x="260" y="271"/>
                  </a:lnTo>
                  <a:lnTo>
                    <a:pt x="227" y="283"/>
                  </a:lnTo>
                  <a:lnTo>
                    <a:pt x="232" y="323"/>
                  </a:lnTo>
                  <a:lnTo>
                    <a:pt x="227" y="311"/>
                  </a:lnTo>
                  <a:lnTo>
                    <a:pt x="218" y="311"/>
                  </a:lnTo>
                  <a:lnTo>
                    <a:pt x="218" y="328"/>
                  </a:lnTo>
                  <a:lnTo>
                    <a:pt x="248" y="340"/>
                  </a:lnTo>
                  <a:lnTo>
                    <a:pt x="286" y="378"/>
                  </a:lnTo>
                  <a:lnTo>
                    <a:pt x="281" y="394"/>
                  </a:lnTo>
                  <a:lnTo>
                    <a:pt x="265" y="399"/>
                  </a:lnTo>
                  <a:lnTo>
                    <a:pt x="206" y="406"/>
                  </a:lnTo>
                  <a:lnTo>
                    <a:pt x="173" y="439"/>
                  </a:lnTo>
                  <a:lnTo>
                    <a:pt x="163" y="451"/>
                  </a:lnTo>
                  <a:lnTo>
                    <a:pt x="151" y="439"/>
                  </a:lnTo>
                  <a:lnTo>
                    <a:pt x="135" y="451"/>
                  </a:lnTo>
                  <a:lnTo>
                    <a:pt x="135" y="456"/>
                  </a:lnTo>
                  <a:lnTo>
                    <a:pt x="121" y="439"/>
                  </a:lnTo>
                  <a:lnTo>
                    <a:pt x="121" y="451"/>
                  </a:lnTo>
                  <a:lnTo>
                    <a:pt x="109" y="432"/>
                  </a:lnTo>
                  <a:lnTo>
                    <a:pt x="97" y="422"/>
                  </a:lnTo>
                  <a:lnTo>
                    <a:pt x="104" y="439"/>
                  </a:lnTo>
                  <a:lnTo>
                    <a:pt x="71" y="456"/>
                  </a:lnTo>
                  <a:lnTo>
                    <a:pt x="88" y="439"/>
                  </a:lnTo>
                  <a:lnTo>
                    <a:pt x="50" y="432"/>
                  </a:lnTo>
                  <a:lnTo>
                    <a:pt x="71" y="422"/>
                  </a:lnTo>
                  <a:lnTo>
                    <a:pt x="29" y="415"/>
                  </a:lnTo>
                  <a:lnTo>
                    <a:pt x="45" y="406"/>
                  </a:lnTo>
                  <a:lnTo>
                    <a:pt x="50" y="382"/>
                  </a:lnTo>
                  <a:lnTo>
                    <a:pt x="83" y="366"/>
                  </a:lnTo>
                  <a:lnTo>
                    <a:pt x="97" y="378"/>
                  </a:lnTo>
                  <a:lnTo>
                    <a:pt x="66" y="361"/>
                  </a:lnTo>
                  <a:lnTo>
                    <a:pt x="83" y="323"/>
                  </a:lnTo>
                  <a:lnTo>
                    <a:pt x="71" y="304"/>
                  </a:lnTo>
                  <a:lnTo>
                    <a:pt x="83" y="295"/>
                  </a:lnTo>
                  <a:lnTo>
                    <a:pt x="55" y="295"/>
                  </a:lnTo>
                  <a:lnTo>
                    <a:pt x="33" y="283"/>
                  </a:lnTo>
                  <a:lnTo>
                    <a:pt x="33" y="288"/>
                  </a:lnTo>
                  <a:lnTo>
                    <a:pt x="29" y="295"/>
                  </a:lnTo>
                  <a:lnTo>
                    <a:pt x="17" y="283"/>
                  </a:lnTo>
                  <a:lnTo>
                    <a:pt x="0" y="267"/>
                  </a:lnTo>
                  <a:lnTo>
                    <a:pt x="12" y="250"/>
                  </a:lnTo>
                  <a:lnTo>
                    <a:pt x="12" y="250"/>
                  </a:lnTo>
                  <a:lnTo>
                    <a:pt x="12" y="250"/>
                  </a:lnTo>
                  <a:close/>
                </a:path>
              </a:pathLst>
            </a:custGeom>
            <a:solidFill>
              <a:schemeClr val="bg2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41" name="Freeform 485">
              <a:extLst>
                <a:ext uri="{FF2B5EF4-FFF2-40B4-BE49-F238E27FC236}">
                  <a16:creationId xmlns:a16="http://schemas.microsoft.com/office/drawing/2014/main" id="{CF180C7B-FFE7-4C43-8528-B2A0E12504F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503145" y="2293289"/>
              <a:ext cx="67529" cy="67690"/>
            </a:xfrm>
            <a:custGeom>
              <a:avLst/>
              <a:gdLst>
                <a:gd name="T0" fmla="*/ 239 w 440"/>
                <a:gd name="T1" fmla="*/ 23 h 441"/>
                <a:gd name="T2" fmla="*/ 277 w 440"/>
                <a:gd name="T3" fmla="*/ 40 h 441"/>
                <a:gd name="T4" fmla="*/ 340 w 440"/>
                <a:gd name="T5" fmla="*/ 155 h 441"/>
                <a:gd name="T6" fmla="*/ 347 w 440"/>
                <a:gd name="T7" fmla="*/ 210 h 441"/>
                <a:gd name="T8" fmla="*/ 314 w 440"/>
                <a:gd name="T9" fmla="*/ 292 h 441"/>
                <a:gd name="T10" fmla="*/ 260 w 440"/>
                <a:gd name="T11" fmla="*/ 297 h 441"/>
                <a:gd name="T12" fmla="*/ 260 w 440"/>
                <a:gd name="T13" fmla="*/ 297 h 441"/>
                <a:gd name="T14" fmla="*/ 206 w 440"/>
                <a:gd name="T15" fmla="*/ 304 h 441"/>
                <a:gd name="T16" fmla="*/ 206 w 440"/>
                <a:gd name="T17" fmla="*/ 333 h 441"/>
                <a:gd name="T18" fmla="*/ 201 w 440"/>
                <a:gd name="T19" fmla="*/ 333 h 441"/>
                <a:gd name="T20" fmla="*/ 189 w 440"/>
                <a:gd name="T21" fmla="*/ 333 h 441"/>
                <a:gd name="T22" fmla="*/ 163 w 440"/>
                <a:gd name="T23" fmla="*/ 349 h 441"/>
                <a:gd name="T24" fmla="*/ 114 w 440"/>
                <a:gd name="T25" fmla="*/ 321 h 441"/>
                <a:gd name="T26" fmla="*/ 130 w 440"/>
                <a:gd name="T27" fmla="*/ 333 h 441"/>
                <a:gd name="T28" fmla="*/ 137 w 440"/>
                <a:gd name="T29" fmla="*/ 314 h 441"/>
                <a:gd name="T30" fmla="*/ 125 w 440"/>
                <a:gd name="T31" fmla="*/ 314 h 441"/>
                <a:gd name="T32" fmla="*/ 114 w 440"/>
                <a:gd name="T33" fmla="*/ 292 h 441"/>
                <a:gd name="T34" fmla="*/ 125 w 440"/>
                <a:gd name="T35" fmla="*/ 281 h 441"/>
                <a:gd name="T36" fmla="*/ 147 w 440"/>
                <a:gd name="T37" fmla="*/ 248 h 441"/>
                <a:gd name="T38" fmla="*/ 137 w 440"/>
                <a:gd name="T39" fmla="*/ 226 h 441"/>
                <a:gd name="T40" fmla="*/ 147 w 440"/>
                <a:gd name="T41" fmla="*/ 222 h 441"/>
                <a:gd name="T42" fmla="*/ 125 w 440"/>
                <a:gd name="T43" fmla="*/ 155 h 441"/>
                <a:gd name="T44" fmla="*/ 109 w 440"/>
                <a:gd name="T45" fmla="*/ 155 h 441"/>
                <a:gd name="T46" fmla="*/ 125 w 440"/>
                <a:gd name="T47" fmla="*/ 148 h 441"/>
                <a:gd name="T48" fmla="*/ 130 w 440"/>
                <a:gd name="T49" fmla="*/ 148 h 441"/>
                <a:gd name="T50" fmla="*/ 151 w 440"/>
                <a:gd name="T51" fmla="*/ 155 h 441"/>
                <a:gd name="T52" fmla="*/ 151 w 440"/>
                <a:gd name="T53" fmla="*/ 115 h 441"/>
                <a:gd name="T54" fmla="*/ 151 w 440"/>
                <a:gd name="T55" fmla="*/ 111 h 441"/>
                <a:gd name="T56" fmla="*/ 130 w 440"/>
                <a:gd name="T57" fmla="*/ 73 h 441"/>
                <a:gd name="T58" fmla="*/ 147 w 440"/>
                <a:gd name="T59" fmla="*/ 61 h 441"/>
                <a:gd name="T60" fmla="*/ 7 w 440"/>
                <a:gd name="T61" fmla="*/ 61 h 441"/>
                <a:gd name="T62" fmla="*/ 7 w 440"/>
                <a:gd name="T63" fmla="*/ 56 h 441"/>
                <a:gd name="T64" fmla="*/ 130 w 440"/>
                <a:gd name="T65" fmla="*/ 82 h 441"/>
                <a:gd name="T66" fmla="*/ 130 w 440"/>
                <a:gd name="T67" fmla="*/ 73 h 441"/>
                <a:gd name="T68" fmla="*/ 440 w 440"/>
                <a:gd name="T69" fmla="*/ 94 h 441"/>
                <a:gd name="T70" fmla="*/ 440 w 440"/>
                <a:gd name="T71" fmla="*/ 94 h 441"/>
                <a:gd name="T72" fmla="*/ 125 w 440"/>
                <a:gd name="T73" fmla="*/ 181 h 441"/>
                <a:gd name="T74" fmla="*/ 125 w 440"/>
                <a:gd name="T75" fmla="*/ 181 h 441"/>
                <a:gd name="T76" fmla="*/ 288 w 440"/>
                <a:gd name="T77" fmla="*/ 304 h 441"/>
                <a:gd name="T78" fmla="*/ 277 w 440"/>
                <a:gd name="T79" fmla="*/ 314 h 441"/>
                <a:gd name="T80" fmla="*/ 288 w 440"/>
                <a:gd name="T81" fmla="*/ 304 h 441"/>
                <a:gd name="T82" fmla="*/ 234 w 440"/>
                <a:gd name="T83" fmla="*/ 314 h 441"/>
                <a:gd name="T84" fmla="*/ 222 w 440"/>
                <a:gd name="T85" fmla="*/ 321 h 441"/>
                <a:gd name="T86" fmla="*/ 234 w 440"/>
                <a:gd name="T87" fmla="*/ 304 h 441"/>
                <a:gd name="T88" fmla="*/ 222 w 440"/>
                <a:gd name="T89" fmla="*/ 333 h 441"/>
                <a:gd name="T90" fmla="*/ 222 w 440"/>
                <a:gd name="T91" fmla="*/ 333 h 441"/>
                <a:gd name="T92" fmla="*/ 114 w 440"/>
                <a:gd name="T93" fmla="*/ 349 h 441"/>
                <a:gd name="T94" fmla="*/ 125 w 440"/>
                <a:gd name="T95" fmla="*/ 337 h 441"/>
                <a:gd name="T96" fmla="*/ 222 w 440"/>
                <a:gd name="T97" fmla="*/ 337 h 441"/>
                <a:gd name="T98" fmla="*/ 222 w 440"/>
                <a:gd name="T99" fmla="*/ 337 h 441"/>
                <a:gd name="T100" fmla="*/ 184 w 440"/>
                <a:gd name="T101" fmla="*/ 337 h 441"/>
                <a:gd name="T102" fmla="*/ 184 w 440"/>
                <a:gd name="T103" fmla="*/ 337 h 441"/>
                <a:gd name="T104" fmla="*/ 147 w 440"/>
                <a:gd name="T105" fmla="*/ 349 h 441"/>
                <a:gd name="T106" fmla="*/ 147 w 440"/>
                <a:gd name="T107" fmla="*/ 349 h 441"/>
                <a:gd name="T108" fmla="*/ 151 w 440"/>
                <a:gd name="T109" fmla="*/ 415 h 441"/>
                <a:gd name="T110" fmla="*/ 114 w 440"/>
                <a:gd name="T111" fmla="*/ 441 h 441"/>
                <a:gd name="T112" fmla="*/ 151 w 440"/>
                <a:gd name="T113" fmla="*/ 415 h 4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440" h="441">
                  <a:moveTo>
                    <a:pt x="147" y="61"/>
                  </a:moveTo>
                  <a:lnTo>
                    <a:pt x="180" y="28"/>
                  </a:lnTo>
                  <a:lnTo>
                    <a:pt x="239" y="23"/>
                  </a:lnTo>
                  <a:lnTo>
                    <a:pt x="255" y="16"/>
                  </a:lnTo>
                  <a:lnTo>
                    <a:pt x="260" y="0"/>
                  </a:lnTo>
                  <a:lnTo>
                    <a:pt x="277" y="40"/>
                  </a:lnTo>
                  <a:lnTo>
                    <a:pt x="310" y="78"/>
                  </a:lnTo>
                  <a:lnTo>
                    <a:pt x="340" y="132"/>
                  </a:lnTo>
                  <a:lnTo>
                    <a:pt x="340" y="155"/>
                  </a:lnTo>
                  <a:lnTo>
                    <a:pt x="331" y="210"/>
                  </a:lnTo>
                  <a:lnTo>
                    <a:pt x="340" y="222"/>
                  </a:lnTo>
                  <a:lnTo>
                    <a:pt x="347" y="210"/>
                  </a:lnTo>
                  <a:lnTo>
                    <a:pt x="347" y="210"/>
                  </a:lnTo>
                  <a:lnTo>
                    <a:pt x="340" y="248"/>
                  </a:lnTo>
                  <a:lnTo>
                    <a:pt x="314" y="292"/>
                  </a:lnTo>
                  <a:lnTo>
                    <a:pt x="293" y="292"/>
                  </a:lnTo>
                  <a:lnTo>
                    <a:pt x="277" y="281"/>
                  </a:lnTo>
                  <a:lnTo>
                    <a:pt x="260" y="297"/>
                  </a:lnTo>
                  <a:lnTo>
                    <a:pt x="272" y="297"/>
                  </a:lnTo>
                  <a:lnTo>
                    <a:pt x="272" y="314"/>
                  </a:lnTo>
                  <a:lnTo>
                    <a:pt x="260" y="297"/>
                  </a:lnTo>
                  <a:lnTo>
                    <a:pt x="255" y="304"/>
                  </a:lnTo>
                  <a:lnTo>
                    <a:pt x="239" y="297"/>
                  </a:lnTo>
                  <a:lnTo>
                    <a:pt x="206" y="304"/>
                  </a:lnTo>
                  <a:lnTo>
                    <a:pt x="206" y="314"/>
                  </a:lnTo>
                  <a:lnTo>
                    <a:pt x="222" y="314"/>
                  </a:lnTo>
                  <a:lnTo>
                    <a:pt x="206" y="333"/>
                  </a:lnTo>
                  <a:lnTo>
                    <a:pt x="201" y="304"/>
                  </a:lnTo>
                  <a:lnTo>
                    <a:pt x="189" y="321"/>
                  </a:lnTo>
                  <a:lnTo>
                    <a:pt x="201" y="333"/>
                  </a:lnTo>
                  <a:lnTo>
                    <a:pt x="189" y="337"/>
                  </a:lnTo>
                  <a:lnTo>
                    <a:pt x="180" y="337"/>
                  </a:lnTo>
                  <a:lnTo>
                    <a:pt x="189" y="333"/>
                  </a:lnTo>
                  <a:lnTo>
                    <a:pt x="189" y="321"/>
                  </a:lnTo>
                  <a:lnTo>
                    <a:pt x="168" y="333"/>
                  </a:lnTo>
                  <a:lnTo>
                    <a:pt x="163" y="349"/>
                  </a:lnTo>
                  <a:lnTo>
                    <a:pt x="151" y="333"/>
                  </a:lnTo>
                  <a:lnTo>
                    <a:pt x="137" y="354"/>
                  </a:lnTo>
                  <a:lnTo>
                    <a:pt x="114" y="321"/>
                  </a:lnTo>
                  <a:lnTo>
                    <a:pt x="114" y="321"/>
                  </a:lnTo>
                  <a:lnTo>
                    <a:pt x="130" y="333"/>
                  </a:lnTo>
                  <a:lnTo>
                    <a:pt x="130" y="333"/>
                  </a:lnTo>
                  <a:lnTo>
                    <a:pt x="137" y="333"/>
                  </a:lnTo>
                  <a:lnTo>
                    <a:pt x="130" y="321"/>
                  </a:lnTo>
                  <a:lnTo>
                    <a:pt x="137" y="314"/>
                  </a:lnTo>
                  <a:lnTo>
                    <a:pt x="130" y="304"/>
                  </a:lnTo>
                  <a:lnTo>
                    <a:pt x="130" y="314"/>
                  </a:lnTo>
                  <a:lnTo>
                    <a:pt x="125" y="314"/>
                  </a:lnTo>
                  <a:lnTo>
                    <a:pt x="125" y="297"/>
                  </a:lnTo>
                  <a:lnTo>
                    <a:pt x="114" y="304"/>
                  </a:lnTo>
                  <a:lnTo>
                    <a:pt x="114" y="292"/>
                  </a:lnTo>
                  <a:lnTo>
                    <a:pt x="125" y="281"/>
                  </a:lnTo>
                  <a:lnTo>
                    <a:pt x="125" y="297"/>
                  </a:lnTo>
                  <a:lnTo>
                    <a:pt x="125" y="281"/>
                  </a:lnTo>
                  <a:lnTo>
                    <a:pt x="125" y="264"/>
                  </a:lnTo>
                  <a:lnTo>
                    <a:pt x="130" y="259"/>
                  </a:lnTo>
                  <a:lnTo>
                    <a:pt x="147" y="248"/>
                  </a:lnTo>
                  <a:lnTo>
                    <a:pt x="130" y="243"/>
                  </a:lnTo>
                  <a:lnTo>
                    <a:pt x="151" y="226"/>
                  </a:lnTo>
                  <a:lnTo>
                    <a:pt x="137" y="226"/>
                  </a:lnTo>
                  <a:lnTo>
                    <a:pt x="137" y="222"/>
                  </a:lnTo>
                  <a:lnTo>
                    <a:pt x="151" y="210"/>
                  </a:lnTo>
                  <a:lnTo>
                    <a:pt x="147" y="222"/>
                  </a:lnTo>
                  <a:lnTo>
                    <a:pt x="130" y="205"/>
                  </a:lnTo>
                  <a:lnTo>
                    <a:pt x="130" y="155"/>
                  </a:lnTo>
                  <a:lnTo>
                    <a:pt x="125" y="155"/>
                  </a:lnTo>
                  <a:lnTo>
                    <a:pt x="114" y="172"/>
                  </a:lnTo>
                  <a:lnTo>
                    <a:pt x="114" y="155"/>
                  </a:lnTo>
                  <a:lnTo>
                    <a:pt x="109" y="155"/>
                  </a:lnTo>
                  <a:lnTo>
                    <a:pt x="114" y="139"/>
                  </a:lnTo>
                  <a:lnTo>
                    <a:pt x="114" y="148"/>
                  </a:lnTo>
                  <a:lnTo>
                    <a:pt x="125" y="148"/>
                  </a:lnTo>
                  <a:lnTo>
                    <a:pt x="125" y="132"/>
                  </a:lnTo>
                  <a:lnTo>
                    <a:pt x="125" y="132"/>
                  </a:lnTo>
                  <a:lnTo>
                    <a:pt x="130" y="148"/>
                  </a:lnTo>
                  <a:lnTo>
                    <a:pt x="130" y="132"/>
                  </a:lnTo>
                  <a:lnTo>
                    <a:pt x="151" y="139"/>
                  </a:lnTo>
                  <a:lnTo>
                    <a:pt x="151" y="155"/>
                  </a:lnTo>
                  <a:lnTo>
                    <a:pt x="168" y="139"/>
                  </a:lnTo>
                  <a:lnTo>
                    <a:pt x="147" y="132"/>
                  </a:lnTo>
                  <a:lnTo>
                    <a:pt x="151" y="115"/>
                  </a:lnTo>
                  <a:lnTo>
                    <a:pt x="137" y="127"/>
                  </a:lnTo>
                  <a:lnTo>
                    <a:pt x="137" y="115"/>
                  </a:lnTo>
                  <a:lnTo>
                    <a:pt x="151" y="111"/>
                  </a:lnTo>
                  <a:lnTo>
                    <a:pt x="147" y="111"/>
                  </a:lnTo>
                  <a:lnTo>
                    <a:pt x="130" y="78"/>
                  </a:lnTo>
                  <a:lnTo>
                    <a:pt x="130" y="73"/>
                  </a:lnTo>
                  <a:lnTo>
                    <a:pt x="147" y="78"/>
                  </a:lnTo>
                  <a:lnTo>
                    <a:pt x="147" y="61"/>
                  </a:lnTo>
                  <a:lnTo>
                    <a:pt x="147" y="61"/>
                  </a:lnTo>
                  <a:lnTo>
                    <a:pt x="147" y="61"/>
                  </a:lnTo>
                  <a:close/>
                  <a:moveTo>
                    <a:pt x="7" y="56"/>
                  </a:moveTo>
                  <a:lnTo>
                    <a:pt x="7" y="61"/>
                  </a:lnTo>
                  <a:lnTo>
                    <a:pt x="0" y="56"/>
                  </a:lnTo>
                  <a:lnTo>
                    <a:pt x="7" y="56"/>
                  </a:lnTo>
                  <a:lnTo>
                    <a:pt x="7" y="56"/>
                  </a:lnTo>
                  <a:lnTo>
                    <a:pt x="7" y="56"/>
                  </a:lnTo>
                  <a:close/>
                  <a:moveTo>
                    <a:pt x="130" y="73"/>
                  </a:moveTo>
                  <a:lnTo>
                    <a:pt x="130" y="82"/>
                  </a:lnTo>
                  <a:lnTo>
                    <a:pt x="125" y="82"/>
                  </a:lnTo>
                  <a:lnTo>
                    <a:pt x="125" y="73"/>
                  </a:lnTo>
                  <a:lnTo>
                    <a:pt x="130" y="73"/>
                  </a:lnTo>
                  <a:lnTo>
                    <a:pt x="130" y="73"/>
                  </a:lnTo>
                  <a:lnTo>
                    <a:pt x="130" y="73"/>
                  </a:lnTo>
                  <a:close/>
                  <a:moveTo>
                    <a:pt x="440" y="94"/>
                  </a:moveTo>
                  <a:lnTo>
                    <a:pt x="440" y="99"/>
                  </a:lnTo>
                  <a:lnTo>
                    <a:pt x="433" y="94"/>
                  </a:lnTo>
                  <a:lnTo>
                    <a:pt x="440" y="94"/>
                  </a:lnTo>
                  <a:lnTo>
                    <a:pt x="440" y="94"/>
                  </a:lnTo>
                  <a:lnTo>
                    <a:pt x="440" y="94"/>
                  </a:lnTo>
                  <a:close/>
                  <a:moveTo>
                    <a:pt x="125" y="181"/>
                  </a:moveTo>
                  <a:lnTo>
                    <a:pt x="125" y="181"/>
                  </a:lnTo>
                  <a:lnTo>
                    <a:pt x="125" y="165"/>
                  </a:lnTo>
                  <a:lnTo>
                    <a:pt x="125" y="181"/>
                  </a:lnTo>
                  <a:lnTo>
                    <a:pt x="125" y="181"/>
                  </a:lnTo>
                  <a:lnTo>
                    <a:pt x="125" y="181"/>
                  </a:lnTo>
                  <a:close/>
                  <a:moveTo>
                    <a:pt x="288" y="304"/>
                  </a:moveTo>
                  <a:lnTo>
                    <a:pt x="288" y="314"/>
                  </a:lnTo>
                  <a:lnTo>
                    <a:pt x="277" y="321"/>
                  </a:lnTo>
                  <a:lnTo>
                    <a:pt x="277" y="314"/>
                  </a:lnTo>
                  <a:lnTo>
                    <a:pt x="272" y="304"/>
                  </a:lnTo>
                  <a:lnTo>
                    <a:pt x="288" y="304"/>
                  </a:lnTo>
                  <a:lnTo>
                    <a:pt x="288" y="304"/>
                  </a:lnTo>
                  <a:lnTo>
                    <a:pt x="288" y="304"/>
                  </a:lnTo>
                  <a:close/>
                  <a:moveTo>
                    <a:pt x="234" y="304"/>
                  </a:moveTo>
                  <a:lnTo>
                    <a:pt x="234" y="314"/>
                  </a:lnTo>
                  <a:lnTo>
                    <a:pt x="239" y="314"/>
                  </a:lnTo>
                  <a:lnTo>
                    <a:pt x="239" y="321"/>
                  </a:lnTo>
                  <a:lnTo>
                    <a:pt x="222" y="321"/>
                  </a:lnTo>
                  <a:lnTo>
                    <a:pt x="222" y="304"/>
                  </a:lnTo>
                  <a:lnTo>
                    <a:pt x="234" y="304"/>
                  </a:lnTo>
                  <a:lnTo>
                    <a:pt x="234" y="304"/>
                  </a:lnTo>
                  <a:lnTo>
                    <a:pt x="234" y="304"/>
                  </a:lnTo>
                  <a:close/>
                  <a:moveTo>
                    <a:pt x="222" y="333"/>
                  </a:moveTo>
                  <a:lnTo>
                    <a:pt x="222" y="333"/>
                  </a:lnTo>
                  <a:lnTo>
                    <a:pt x="218" y="333"/>
                  </a:lnTo>
                  <a:lnTo>
                    <a:pt x="222" y="333"/>
                  </a:lnTo>
                  <a:lnTo>
                    <a:pt x="222" y="333"/>
                  </a:lnTo>
                  <a:lnTo>
                    <a:pt x="222" y="333"/>
                  </a:lnTo>
                  <a:close/>
                  <a:moveTo>
                    <a:pt x="125" y="337"/>
                  </a:moveTo>
                  <a:lnTo>
                    <a:pt x="114" y="349"/>
                  </a:lnTo>
                  <a:lnTo>
                    <a:pt x="99" y="349"/>
                  </a:lnTo>
                  <a:lnTo>
                    <a:pt x="114" y="333"/>
                  </a:lnTo>
                  <a:lnTo>
                    <a:pt x="125" y="337"/>
                  </a:lnTo>
                  <a:lnTo>
                    <a:pt x="125" y="337"/>
                  </a:lnTo>
                  <a:lnTo>
                    <a:pt x="125" y="337"/>
                  </a:lnTo>
                  <a:close/>
                  <a:moveTo>
                    <a:pt x="222" y="337"/>
                  </a:moveTo>
                  <a:lnTo>
                    <a:pt x="222" y="337"/>
                  </a:lnTo>
                  <a:lnTo>
                    <a:pt x="218" y="337"/>
                  </a:lnTo>
                  <a:lnTo>
                    <a:pt x="222" y="337"/>
                  </a:lnTo>
                  <a:lnTo>
                    <a:pt x="222" y="337"/>
                  </a:lnTo>
                  <a:lnTo>
                    <a:pt x="222" y="337"/>
                  </a:lnTo>
                  <a:close/>
                  <a:moveTo>
                    <a:pt x="184" y="337"/>
                  </a:moveTo>
                  <a:lnTo>
                    <a:pt x="184" y="349"/>
                  </a:lnTo>
                  <a:lnTo>
                    <a:pt x="180" y="349"/>
                  </a:lnTo>
                  <a:lnTo>
                    <a:pt x="184" y="337"/>
                  </a:lnTo>
                  <a:lnTo>
                    <a:pt x="184" y="337"/>
                  </a:lnTo>
                  <a:lnTo>
                    <a:pt x="184" y="337"/>
                  </a:lnTo>
                  <a:close/>
                  <a:moveTo>
                    <a:pt x="147" y="349"/>
                  </a:moveTo>
                  <a:lnTo>
                    <a:pt x="147" y="354"/>
                  </a:lnTo>
                  <a:lnTo>
                    <a:pt x="137" y="354"/>
                  </a:lnTo>
                  <a:lnTo>
                    <a:pt x="147" y="349"/>
                  </a:lnTo>
                  <a:lnTo>
                    <a:pt x="147" y="349"/>
                  </a:lnTo>
                  <a:lnTo>
                    <a:pt x="147" y="349"/>
                  </a:lnTo>
                  <a:close/>
                  <a:moveTo>
                    <a:pt x="151" y="415"/>
                  </a:moveTo>
                  <a:lnTo>
                    <a:pt x="163" y="425"/>
                  </a:lnTo>
                  <a:lnTo>
                    <a:pt x="151" y="432"/>
                  </a:lnTo>
                  <a:lnTo>
                    <a:pt x="114" y="441"/>
                  </a:lnTo>
                  <a:lnTo>
                    <a:pt x="109" y="441"/>
                  </a:lnTo>
                  <a:lnTo>
                    <a:pt x="114" y="425"/>
                  </a:lnTo>
                  <a:lnTo>
                    <a:pt x="151" y="415"/>
                  </a:lnTo>
                  <a:lnTo>
                    <a:pt x="151" y="415"/>
                  </a:lnTo>
                  <a:lnTo>
                    <a:pt x="151" y="415"/>
                  </a:lnTo>
                  <a:close/>
                </a:path>
              </a:pathLst>
            </a:custGeom>
            <a:solidFill>
              <a:schemeClr val="bg2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42" name="Freeform 486">
              <a:extLst>
                <a:ext uri="{FF2B5EF4-FFF2-40B4-BE49-F238E27FC236}">
                  <a16:creationId xmlns:a16="http://schemas.microsoft.com/office/drawing/2014/main" id="{3C8E9C2E-D0EE-4EF8-BFF4-9145805DFE98}"/>
                </a:ext>
              </a:extLst>
            </p:cNvPr>
            <p:cNvSpPr>
              <a:spLocks/>
            </p:cNvSpPr>
            <p:nvPr/>
          </p:nvSpPr>
          <p:spPr bwMode="gray">
            <a:xfrm>
              <a:off x="7297949" y="2857065"/>
              <a:ext cx="1074" cy="2456"/>
            </a:xfrm>
            <a:custGeom>
              <a:avLst/>
              <a:gdLst>
                <a:gd name="T0" fmla="*/ 7 w 7"/>
                <a:gd name="T1" fmla="*/ 16 h 16"/>
                <a:gd name="T2" fmla="*/ 0 w 7"/>
                <a:gd name="T3" fmla="*/ 7 h 16"/>
                <a:gd name="T4" fmla="*/ 7 w 7"/>
                <a:gd name="T5" fmla="*/ 0 h 16"/>
                <a:gd name="T6" fmla="*/ 7 w 7"/>
                <a:gd name="T7" fmla="*/ 16 h 16"/>
                <a:gd name="T8" fmla="*/ 7 w 7"/>
                <a:gd name="T9" fmla="*/ 16 h 16"/>
                <a:gd name="T10" fmla="*/ 7 w 7"/>
                <a:gd name="T11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" h="16">
                  <a:moveTo>
                    <a:pt x="7" y="16"/>
                  </a:moveTo>
                  <a:lnTo>
                    <a:pt x="0" y="7"/>
                  </a:lnTo>
                  <a:lnTo>
                    <a:pt x="7" y="0"/>
                  </a:lnTo>
                  <a:lnTo>
                    <a:pt x="7" y="16"/>
                  </a:lnTo>
                  <a:lnTo>
                    <a:pt x="7" y="16"/>
                  </a:lnTo>
                  <a:lnTo>
                    <a:pt x="7" y="16"/>
                  </a:lnTo>
                  <a:close/>
                </a:path>
              </a:pathLst>
            </a:custGeom>
            <a:solidFill>
              <a:schemeClr val="bg2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43" name="Freeform 487">
              <a:extLst>
                <a:ext uri="{FF2B5EF4-FFF2-40B4-BE49-F238E27FC236}">
                  <a16:creationId xmlns:a16="http://schemas.microsoft.com/office/drawing/2014/main" id="{E3433BB1-EA68-466D-ACAE-BCEC92391B0D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662102" y="2399505"/>
              <a:ext cx="19952" cy="18880"/>
            </a:xfrm>
            <a:custGeom>
              <a:avLst/>
              <a:gdLst>
                <a:gd name="T0" fmla="*/ 0 w 130"/>
                <a:gd name="T1" fmla="*/ 73 h 123"/>
                <a:gd name="T2" fmla="*/ 33 w 130"/>
                <a:gd name="T3" fmla="*/ 45 h 123"/>
                <a:gd name="T4" fmla="*/ 50 w 130"/>
                <a:gd name="T5" fmla="*/ 0 h 123"/>
                <a:gd name="T6" fmla="*/ 87 w 130"/>
                <a:gd name="T7" fmla="*/ 0 h 123"/>
                <a:gd name="T8" fmla="*/ 104 w 130"/>
                <a:gd name="T9" fmla="*/ 0 h 123"/>
                <a:gd name="T10" fmla="*/ 118 w 130"/>
                <a:gd name="T11" fmla="*/ 45 h 123"/>
                <a:gd name="T12" fmla="*/ 104 w 130"/>
                <a:gd name="T13" fmla="*/ 33 h 123"/>
                <a:gd name="T14" fmla="*/ 87 w 130"/>
                <a:gd name="T15" fmla="*/ 56 h 123"/>
                <a:gd name="T16" fmla="*/ 109 w 130"/>
                <a:gd name="T17" fmla="*/ 56 h 123"/>
                <a:gd name="T18" fmla="*/ 130 w 130"/>
                <a:gd name="T19" fmla="*/ 123 h 123"/>
                <a:gd name="T20" fmla="*/ 87 w 130"/>
                <a:gd name="T21" fmla="*/ 123 h 123"/>
                <a:gd name="T22" fmla="*/ 66 w 130"/>
                <a:gd name="T23" fmla="*/ 85 h 123"/>
                <a:gd name="T24" fmla="*/ 0 w 130"/>
                <a:gd name="T25" fmla="*/ 73 h 123"/>
                <a:gd name="T26" fmla="*/ 0 w 130"/>
                <a:gd name="T27" fmla="*/ 73 h 123"/>
                <a:gd name="T28" fmla="*/ 0 w 130"/>
                <a:gd name="T29" fmla="*/ 73 h 123"/>
                <a:gd name="T30" fmla="*/ 0 w 130"/>
                <a:gd name="T31" fmla="*/ 73 h 123"/>
                <a:gd name="T32" fmla="*/ 118 w 130"/>
                <a:gd name="T33" fmla="*/ 9 h 123"/>
                <a:gd name="T34" fmla="*/ 130 w 130"/>
                <a:gd name="T35" fmla="*/ 28 h 123"/>
                <a:gd name="T36" fmla="*/ 118 w 130"/>
                <a:gd name="T37" fmla="*/ 45 h 123"/>
                <a:gd name="T38" fmla="*/ 109 w 130"/>
                <a:gd name="T39" fmla="*/ 28 h 123"/>
                <a:gd name="T40" fmla="*/ 109 w 130"/>
                <a:gd name="T41" fmla="*/ 9 h 123"/>
                <a:gd name="T42" fmla="*/ 118 w 130"/>
                <a:gd name="T43" fmla="*/ 9 h 123"/>
                <a:gd name="T44" fmla="*/ 118 w 130"/>
                <a:gd name="T45" fmla="*/ 9 h 123"/>
                <a:gd name="T46" fmla="*/ 118 w 130"/>
                <a:gd name="T47" fmla="*/ 9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30" h="123">
                  <a:moveTo>
                    <a:pt x="0" y="73"/>
                  </a:moveTo>
                  <a:lnTo>
                    <a:pt x="33" y="45"/>
                  </a:lnTo>
                  <a:lnTo>
                    <a:pt x="50" y="0"/>
                  </a:lnTo>
                  <a:lnTo>
                    <a:pt x="87" y="0"/>
                  </a:lnTo>
                  <a:lnTo>
                    <a:pt x="104" y="0"/>
                  </a:lnTo>
                  <a:lnTo>
                    <a:pt x="118" y="45"/>
                  </a:lnTo>
                  <a:lnTo>
                    <a:pt x="104" y="33"/>
                  </a:lnTo>
                  <a:lnTo>
                    <a:pt x="87" y="56"/>
                  </a:lnTo>
                  <a:lnTo>
                    <a:pt x="109" y="56"/>
                  </a:lnTo>
                  <a:lnTo>
                    <a:pt x="130" y="123"/>
                  </a:lnTo>
                  <a:lnTo>
                    <a:pt x="87" y="123"/>
                  </a:lnTo>
                  <a:lnTo>
                    <a:pt x="66" y="85"/>
                  </a:lnTo>
                  <a:lnTo>
                    <a:pt x="0" y="73"/>
                  </a:lnTo>
                  <a:lnTo>
                    <a:pt x="0" y="73"/>
                  </a:lnTo>
                  <a:lnTo>
                    <a:pt x="0" y="73"/>
                  </a:lnTo>
                  <a:lnTo>
                    <a:pt x="0" y="73"/>
                  </a:lnTo>
                  <a:close/>
                  <a:moveTo>
                    <a:pt x="118" y="9"/>
                  </a:moveTo>
                  <a:lnTo>
                    <a:pt x="130" y="28"/>
                  </a:lnTo>
                  <a:lnTo>
                    <a:pt x="118" y="45"/>
                  </a:lnTo>
                  <a:lnTo>
                    <a:pt x="109" y="28"/>
                  </a:lnTo>
                  <a:lnTo>
                    <a:pt x="109" y="9"/>
                  </a:lnTo>
                  <a:lnTo>
                    <a:pt x="118" y="9"/>
                  </a:lnTo>
                  <a:lnTo>
                    <a:pt x="118" y="9"/>
                  </a:lnTo>
                  <a:lnTo>
                    <a:pt x="118" y="9"/>
                  </a:lnTo>
                  <a:close/>
                </a:path>
              </a:pathLst>
            </a:custGeom>
            <a:solidFill>
              <a:schemeClr val="bg2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44" name="Freeform 488">
              <a:extLst>
                <a:ext uri="{FF2B5EF4-FFF2-40B4-BE49-F238E27FC236}">
                  <a16:creationId xmlns:a16="http://schemas.microsoft.com/office/drawing/2014/main" id="{35915C11-B3EB-4D88-B51D-BB97232EFD3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662102" y="2056144"/>
              <a:ext cx="439399" cy="211359"/>
            </a:xfrm>
            <a:custGeom>
              <a:avLst/>
              <a:gdLst>
                <a:gd name="T0" fmla="*/ 456 w 2863"/>
                <a:gd name="T1" fmla="*/ 1240 h 1377"/>
                <a:gd name="T2" fmla="*/ 364 w 2863"/>
                <a:gd name="T3" fmla="*/ 1155 h 1377"/>
                <a:gd name="T4" fmla="*/ 267 w 2863"/>
                <a:gd name="T5" fmla="*/ 1015 h 1377"/>
                <a:gd name="T6" fmla="*/ 309 w 2863"/>
                <a:gd name="T7" fmla="*/ 994 h 1377"/>
                <a:gd name="T8" fmla="*/ 465 w 2863"/>
                <a:gd name="T9" fmla="*/ 878 h 1377"/>
                <a:gd name="T10" fmla="*/ 394 w 2863"/>
                <a:gd name="T11" fmla="*/ 829 h 1377"/>
                <a:gd name="T12" fmla="*/ 196 w 2863"/>
                <a:gd name="T13" fmla="*/ 850 h 1377"/>
                <a:gd name="T14" fmla="*/ 158 w 2863"/>
                <a:gd name="T15" fmla="*/ 834 h 1377"/>
                <a:gd name="T16" fmla="*/ 0 w 2863"/>
                <a:gd name="T17" fmla="*/ 678 h 1377"/>
                <a:gd name="T18" fmla="*/ 71 w 2863"/>
                <a:gd name="T19" fmla="*/ 493 h 1377"/>
                <a:gd name="T20" fmla="*/ 158 w 2863"/>
                <a:gd name="T21" fmla="*/ 510 h 1377"/>
                <a:gd name="T22" fmla="*/ 272 w 2863"/>
                <a:gd name="T23" fmla="*/ 399 h 1377"/>
                <a:gd name="T24" fmla="*/ 335 w 2863"/>
                <a:gd name="T25" fmla="*/ 382 h 1377"/>
                <a:gd name="T26" fmla="*/ 411 w 2863"/>
                <a:gd name="T27" fmla="*/ 366 h 1377"/>
                <a:gd name="T28" fmla="*/ 562 w 2863"/>
                <a:gd name="T29" fmla="*/ 456 h 1377"/>
                <a:gd name="T30" fmla="*/ 574 w 2863"/>
                <a:gd name="T31" fmla="*/ 434 h 1377"/>
                <a:gd name="T32" fmla="*/ 713 w 2863"/>
                <a:gd name="T33" fmla="*/ 434 h 1377"/>
                <a:gd name="T34" fmla="*/ 827 w 2863"/>
                <a:gd name="T35" fmla="*/ 423 h 1377"/>
                <a:gd name="T36" fmla="*/ 914 w 2863"/>
                <a:gd name="T37" fmla="*/ 489 h 1377"/>
                <a:gd name="T38" fmla="*/ 1061 w 2863"/>
                <a:gd name="T39" fmla="*/ 418 h 1377"/>
                <a:gd name="T40" fmla="*/ 952 w 2863"/>
                <a:gd name="T41" fmla="*/ 349 h 1377"/>
                <a:gd name="T42" fmla="*/ 1006 w 2863"/>
                <a:gd name="T43" fmla="*/ 278 h 1377"/>
                <a:gd name="T44" fmla="*/ 1028 w 2863"/>
                <a:gd name="T45" fmla="*/ 217 h 1377"/>
                <a:gd name="T46" fmla="*/ 1037 w 2863"/>
                <a:gd name="T47" fmla="*/ 167 h 1377"/>
                <a:gd name="T48" fmla="*/ 1129 w 2863"/>
                <a:gd name="T49" fmla="*/ 160 h 1377"/>
                <a:gd name="T50" fmla="*/ 1226 w 2863"/>
                <a:gd name="T51" fmla="*/ 111 h 1377"/>
                <a:gd name="T52" fmla="*/ 1368 w 2863"/>
                <a:gd name="T53" fmla="*/ 89 h 1377"/>
                <a:gd name="T54" fmla="*/ 1561 w 2863"/>
                <a:gd name="T55" fmla="*/ 12 h 1377"/>
                <a:gd name="T56" fmla="*/ 1687 w 2863"/>
                <a:gd name="T57" fmla="*/ 16 h 1377"/>
                <a:gd name="T58" fmla="*/ 1729 w 2863"/>
                <a:gd name="T59" fmla="*/ 111 h 1377"/>
                <a:gd name="T60" fmla="*/ 1795 w 2863"/>
                <a:gd name="T61" fmla="*/ 106 h 1377"/>
                <a:gd name="T62" fmla="*/ 1838 w 2863"/>
                <a:gd name="T63" fmla="*/ 156 h 1377"/>
                <a:gd name="T64" fmla="*/ 1918 w 2863"/>
                <a:gd name="T65" fmla="*/ 139 h 1377"/>
                <a:gd name="T66" fmla="*/ 1946 w 2863"/>
                <a:gd name="T67" fmla="*/ 184 h 1377"/>
                <a:gd name="T68" fmla="*/ 2027 w 2863"/>
                <a:gd name="T69" fmla="*/ 139 h 1377"/>
                <a:gd name="T70" fmla="*/ 2119 w 2863"/>
                <a:gd name="T71" fmla="*/ 127 h 1377"/>
                <a:gd name="T72" fmla="*/ 2376 w 2863"/>
                <a:gd name="T73" fmla="*/ 423 h 1377"/>
                <a:gd name="T74" fmla="*/ 2523 w 2863"/>
                <a:gd name="T75" fmla="*/ 460 h 1377"/>
                <a:gd name="T76" fmla="*/ 2702 w 2863"/>
                <a:gd name="T77" fmla="*/ 534 h 1377"/>
                <a:gd name="T78" fmla="*/ 2825 w 2863"/>
                <a:gd name="T79" fmla="*/ 550 h 1377"/>
                <a:gd name="T80" fmla="*/ 2837 w 2863"/>
                <a:gd name="T81" fmla="*/ 612 h 1377"/>
                <a:gd name="T82" fmla="*/ 2750 w 2863"/>
                <a:gd name="T83" fmla="*/ 777 h 1377"/>
                <a:gd name="T84" fmla="*/ 2627 w 2863"/>
                <a:gd name="T85" fmla="*/ 810 h 1377"/>
                <a:gd name="T86" fmla="*/ 2485 w 2863"/>
                <a:gd name="T87" fmla="*/ 978 h 1377"/>
                <a:gd name="T88" fmla="*/ 2376 w 2863"/>
                <a:gd name="T89" fmla="*/ 1027 h 1377"/>
                <a:gd name="T90" fmla="*/ 2362 w 2863"/>
                <a:gd name="T91" fmla="*/ 1200 h 1377"/>
                <a:gd name="T92" fmla="*/ 2157 w 2863"/>
                <a:gd name="T93" fmla="*/ 1178 h 1377"/>
                <a:gd name="T94" fmla="*/ 1902 w 2863"/>
                <a:gd name="T95" fmla="*/ 1162 h 1377"/>
                <a:gd name="T96" fmla="*/ 1713 w 2863"/>
                <a:gd name="T97" fmla="*/ 1233 h 1377"/>
                <a:gd name="T98" fmla="*/ 1583 w 2863"/>
                <a:gd name="T99" fmla="*/ 1323 h 1377"/>
                <a:gd name="T100" fmla="*/ 1422 w 2863"/>
                <a:gd name="T101" fmla="*/ 1327 h 1377"/>
                <a:gd name="T102" fmla="*/ 1292 w 2863"/>
                <a:gd name="T103" fmla="*/ 1105 h 1377"/>
                <a:gd name="T104" fmla="*/ 666 w 2863"/>
                <a:gd name="T105" fmla="*/ 1311 h 1377"/>
                <a:gd name="T106" fmla="*/ 456 w 2863"/>
                <a:gd name="T107" fmla="*/ 883 h 1377"/>
                <a:gd name="T108" fmla="*/ 267 w 2863"/>
                <a:gd name="T109" fmla="*/ 994 h 1377"/>
                <a:gd name="T110" fmla="*/ 255 w 2863"/>
                <a:gd name="T111" fmla="*/ 999 h 13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2863" h="1377">
                  <a:moveTo>
                    <a:pt x="666" y="1311"/>
                  </a:moveTo>
                  <a:lnTo>
                    <a:pt x="628" y="1323"/>
                  </a:lnTo>
                  <a:lnTo>
                    <a:pt x="595" y="1273"/>
                  </a:lnTo>
                  <a:lnTo>
                    <a:pt x="595" y="1266"/>
                  </a:lnTo>
                  <a:lnTo>
                    <a:pt x="541" y="1221"/>
                  </a:lnTo>
                  <a:lnTo>
                    <a:pt x="487" y="1233"/>
                  </a:lnTo>
                  <a:lnTo>
                    <a:pt x="456" y="1240"/>
                  </a:lnTo>
                  <a:lnTo>
                    <a:pt x="418" y="1282"/>
                  </a:lnTo>
                  <a:lnTo>
                    <a:pt x="418" y="1266"/>
                  </a:lnTo>
                  <a:lnTo>
                    <a:pt x="411" y="1249"/>
                  </a:lnTo>
                  <a:lnTo>
                    <a:pt x="432" y="1195"/>
                  </a:lnTo>
                  <a:lnTo>
                    <a:pt x="394" y="1178"/>
                  </a:lnTo>
                  <a:lnTo>
                    <a:pt x="380" y="1183"/>
                  </a:lnTo>
                  <a:lnTo>
                    <a:pt x="364" y="1155"/>
                  </a:lnTo>
                  <a:lnTo>
                    <a:pt x="335" y="1155"/>
                  </a:lnTo>
                  <a:lnTo>
                    <a:pt x="335" y="1129"/>
                  </a:lnTo>
                  <a:lnTo>
                    <a:pt x="319" y="1100"/>
                  </a:lnTo>
                  <a:lnTo>
                    <a:pt x="305" y="1067"/>
                  </a:lnTo>
                  <a:lnTo>
                    <a:pt x="267" y="1051"/>
                  </a:lnTo>
                  <a:lnTo>
                    <a:pt x="267" y="1027"/>
                  </a:lnTo>
                  <a:lnTo>
                    <a:pt x="267" y="1015"/>
                  </a:lnTo>
                  <a:lnTo>
                    <a:pt x="305" y="1027"/>
                  </a:lnTo>
                  <a:lnTo>
                    <a:pt x="326" y="1034"/>
                  </a:lnTo>
                  <a:lnTo>
                    <a:pt x="357" y="1034"/>
                  </a:lnTo>
                  <a:lnTo>
                    <a:pt x="335" y="1027"/>
                  </a:lnTo>
                  <a:lnTo>
                    <a:pt x="335" y="1015"/>
                  </a:lnTo>
                  <a:lnTo>
                    <a:pt x="309" y="999"/>
                  </a:lnTo>
                  <a:lnTo>
                    <a:pt x="309" y="994"/>
                  </a:lnTo>
                  <a:lnTo>
                    <a:pt x="335" y="978"/>
                  </a:lnTo>
                  <a:lnTo>
                    <a:pt x="343" y="956"/>
                  </a:lnTo>
                  <a:lnTo>
                    <a:pt x="418" y="956"/>
                  </a:lnTo>
                  <a:lnTo>
                    <a:pt x="470" y="961"/>
                  </a:lnTo>
                  <a:lnTo>
                    <a:pt x="432" y="940"/>
                  </a:lnTo>
                  <a:lnTo>
                    <a:pt x="465" y="900"/>
                  </a:lnTo>
                  <a:lnTo>
                    <a:pt x="465" y="878"/>
                  </a:lnTo>
                  <a:lnTo>
                    <a:pt x="456" y="862"/>
                  </a:lnTo>
                  <a:lnTo>
                    <a:pt x="470" y="845"/>
                  </a:lnTo>
                  <a:lnTo>
                    <a:pt x="470" y="834"/>
                  </a:lnTo>
                  <a:lnTo>
                    <a:pt x="456" y="822"/>
                  </a:lnTo>
                  <a:lnTo>
                    <a:pt x="449" y="810"/>
                  </a:lnTo>
                  <a:lnTo>
                    <a:pt x="418" y="810"/>
                  </a:lnTo>
                  <a:lnTo>
                    <a:pt x="394" y="829"/>
                  </a:lnTo>
                  <a:lnTo>
                    <a:pt x="373" y="822"/>
                  </a:lnTo>
                  <a:lnTo>
                    <a:pt x="357" y="805"/>
                  </a:lnTo>
                  <a:lnTo>
                    <a:pt x="326" y="805"/>
                  </a:lnTo>
                  <a:lnTo>
                    <a:pt x="305" y="822"/>
                  </a:lnTo>
                  <a:lnTo>
                    <a:pt x="272" y="822"/>
                  </a:lnTo>
                  <a:lnTo>
                    <a:pt x="234" y="850"/>
                  </a:lnTo>
                  <a:lnTo>
                    <a:pt x="196" y="850"/>
                  </a:lnTo>
                  <a:lnTo>
                    <a:pt x="201" y="867"/>
                  </a:lnTo>
                  <a:lnTo>
                    <a:pt x="196" y="862"/>
                  </a:lnTo>
                  <a:lnTo>
                    <a:pt x="184" y="867"/>
                  </a:lnTo>
                  <a:lnTo>
                    <a:pt x="142" y="850"/>
                  </a:lnTo>
                  <a:lnTo>
                    <a:pt x="142" y="834"/>
                  </a:lnTo>
                  <a:lnTo>
                    <a:pt x="158" y="834"/>
                  </a:lnTo>
                  <a:lnTo>
                    <a:pt x="158" y="834"/>
                  </a:lnTo>
                  <a:lnTo>
                    <a:pt x="180" y="829"/>
                  </a:lnTo>
                  <a:lnTo>
                    <a:pt x="120" y="751"/>
                  </a:lnTo>
                  <a:lnTo>
                    <a:pt x="66" y="734"/>
                  </a:lnTo>
                  <a:lnTo>
                    <a:pt x="66" y="751"/>
                  </a:lnTo>
                  <a:lnTo>
                    <a:pt x="50" y="734"/>
                  </a:lnTo>
                  <a:lnTo>
                    <a:pt x="38" y="694"/>
                  </a:lnTo>
                  <a:lnTo>
                    <a:pt x="0" y="678"/>
                  </a:lnTo>
                  <a:lnTo>
                    <a:pt x="17" y="628"/>
                  </a:lnTo>
                  <a:lnTo>
                    <a:pt x="38" y="612"/>
                  </a:lnTo>
                  <a:lnTo>
                    <a:pt x="17" y="600"/>
                  </a:lnTo>
                  <a:lnTo>
                    <a:pt x="33" y="550"/>
                  </a:lnTo>
                  <a:lnTo>
                    <a:pt x="54" y="529"/>
                  </a:lnTo>
                  <a:lnTo>
                    <a:pt x="54" y="501"/>
                  </a:lnTo>
                  <a:lnTo>
                    <a:pt x="71" y="493"/>
                  </a:lnTo>
                  <a:lnTo>
                    <a:pt x="76" y="489"/>
                  </a:lnTo>
                  <a:lnTo>
                    <a:pt x="104" y="510"/>
                  </a:lnTo>
                  <a:lnTo>
                    <a:pt x="125" y="545"/>
                  </a:lnTo>
                  <a:lnTo>
                    <a:pt x="130" y="550"/>
                  </a:lnTo>
                  <a:lnTo>
                    <a:pt x="163" y="545"/>
                  </a:lnTo>
                  <a:lnTo>
                    <a:pt x="175" y="529"/>
                  </a:lnTo>
                  <a:lnTo>
                    <a:pt x="158" y="510"/>
                  </a:lnTo>
                  <a:lnTo>
                    <a:pt x="158" y="477"/>
                  </a:lnTo>
                  <a:lnTo>
                    <a:pt x="201" y="456"/>
                  </a:lnTo>
                  <a:lnTo>
                    <a:pt x="201" y="439"/>
                  </a:lnTo>
                  <a:lnTo>
                    <a:pt x="213" y="423"/>
                  </a:lnTo>
                  <a:lnTo>
                    <a:pt x="234" y="434"/>
                  </a:lnTo>
                  <a:lnTo>
                    <a:pt x="272" y="406"/>
                  </a:lnTo>
                  <a:lnTo>
                    <a:pt x="272" y="399"/>
                  </a:lnTo>
                  <a:lnTo>
                    <a:pt x="288" y="389"/>
                  </a:lnTo>
                  <a:lnTo>
                    <a:pt x="288" y="378"/>
                  </a:lnTo>
                  <a:lnTo>
                    <a:pt x="305" y="382"/>
                  </a:lnTo>
                  <a:lnTo>
                    <a:pt x="305" y="366"/>
                  </a:lnTo>
                  <a:lnTo>
                    <a:pt x="343" y="378"/>
                  </a:lnTo>
                  <a:lnTo>
                    <a:pt x="343" y="382"/>
                  </a:lnTo>
                  <a:lnTo>
                    <a:pt x="335" y="382"/>
                  </a:lnTo>
                  <a:lnTo>
                    <a:pt x="335" y="389"/>
                  </a:lnTo>
                  <a:lnTo>
                    <a:pt x="364" y="389"/>
                  </a:lnTo>
                  <a:lnTo>
                    <a:pt x="373" y="389"/>
                  </a:lnTo>
                  <a:lnTo>
                    <a:pt x="373" y="382"/>
                  </a:lnTo>
                  <a:lnTo>
                    <a:pt x="380" y="378"/>
                  </a:lnTo>
                  <a:lnTo>
                    <a:pt x="394" y="378"/>
                  </a:lnTo>
                  <a:lnTo>
                    <a:pt x="411" y="366"/>
                  </a:lnTo>
                  <a:lnTo>
                    <a:pt x="428" y="389"/>
                  </a:lnTo>
                  <a:lnTo>
                    <a:pt x="487" y="389"/>
                  </a:lnTo>
                  <a:lnTo>
                    <a:pt x="503" y="399"/>
                  </a:lnTo>
                  <a:lnTo>
                    <a:pt x="503" y="418"/>
                  </a:lnTo>
                  <a:lnTo>
                    <a:pt x="524" y="423"/>
                  </a:lnTo>
                  <a:lnTo>
                    <a:pt x="553" y="444"/>
                  </a:lnTo>
                  <a:lnTo>
                    <a:pt x="562" y="456"/>
                  </a:lnTo>
                  <a:lnTo>
                    <a:pt x="557" y="472"/>
                  </a:lnTo>
                  <a:lnTo>
                    <a:pt x="562" y="489"/>
                  </a:lnTo>
                  <a:lnTo>
                    <a:pt x="574" y="477"/>
                  </a:lnTo>
                  <a:lnTo>
                    <a:pt x="574" y="444"/>
                  </a:lnTo>
                  <a:lnTo>
                    <a:pt x="562" y="444"/>
                  </a:lnTo>
                  <a:lnTo>
                    <a:pt x="562" y="439"/>
                  </a:lnTo>
                  <a:lnTo>
                    <a:pt x="574" y="434"/>
                  </a:lnTo>
                  <a:lnTo>
                    <a:pt x="645" y="489"/>
                  </a:lnTo>
                  <a:lnTo>
                    <a:pt x="671" y="460"/>
                  </a:lnTo>
                  <a:lnTo>
                    <a:pt x="683" y="444"/>
                  </a:lnTo>
                  <a:lnTo>
                    <a:pt x="687" y="444"/>
                  </a:lnTo>
                  <a:lnTo>
                    <a:pt x="704" y="434"/>
                  </a:lnTo>
                  <a:lnTo>
                    <a:pt x="720" y="439"/>
                  </a:lnTo>
                  <a:lnTo>
                    <a:pt x="713" y="434"/>
                  </a:lnTo>
                  <a:lnTo>
                    <a:pt x="720" y="434"/>
                  </a:lnTo>
                  <a:lnTo>
                    <a:pt x="742" y="434"/>
                  </a:lnTo>
                  <a:lnTo>
                    <a:pt x="772" y="456"/>
                  </a:lnTo>
                  <a:lnTo>
                    <a:pt x="789" y="444"/>
                  </a:lnTo>
                  <a:lnTo>
                    <a:pt x="789" y="434"/>
                  </a:lnTo>
                  <a:lnTo>
                    <a:pt x="822" y="434"/>
                  </a:lnTo>
                  <a:lnTo>
                    <a:pt x="827" y="423"/>
                  </a:lnTo>
                  <a:lnTo>
                    <a:pt x="848" y="434"/>
                  </a:lnTo>
                  <a:lnTo>
                    <a:pt x="843" y="444"/>
                  </a:lnTo>
                  <a:lnTo>
                    <a:pt x="848" y="456"/>
                  </a:lnTo>
                  <a:lnTo>
                    <a:pt x="876" y="472"/>
                  </a:lnTo>
                  <a:lnTo>
                    <a:pt x="914" y="472"/>
                  </a:lnTo>
                  <a:lnTo>
                    <a:pt x="919" y="477"/>
                  </a:lnTo>
                  <a:lnTo>
                    <a:pt x="914" y="489"/>
                  </a:lnTo>
                  <a:lnTo>
                    <a:pt x="914" y="489"/>
                  </a:lnTo>
                  <a:lnTo>
                    <a:pt x="935" y="477"/>
                  </a:lnTo>
                  <a:lnTo>
                    <a:pt x="952" y="456"/>
                  </a:lnTo>
                  <a:lnTo>
                    <a:pt x="968" y="472"/>
                  </a:lnTo>
                  <a:lnTo>
                    <a:pt x="994" y="472"/>
                  </a:lnTo>
                  <a:lnTo>
                    <a:pt x="1044" y="460"/>
                  </a:lnTo>
                  <a:lnTo>
                    <a:pt x="1061" y="418"/>
                  </a:lnTo>
                  <a:lnTo>
                    <a:pt x="1065" y="418"/>
                  </a:lnTo>
                  <a:lnTo>
                    <a:pt x="1049" y="399"/>
                  </a:lnTo>
                  <a:lnTo>
                    <a:pt x="1011" y="389"/>
                  </a:lnTo>
                  <a:lnTo>
                    <a:pt x="1011" y="382"/>
                  </a:lnTo>
                  <a:lnTo>
                    <a:pt x="973" y="378"/>
                  </a:lnTo>
                  <a:lnTo>
                    <a:pt x="985" y="361"/>
                  </a:lnTo>
                  <a:lnTo>
                    <a:pt x="952" y="349"/>
                  </a:lnTo>
                  <a:lnTo>
                    <a:pt x="940" y="345"/>
                  </a:lnTo>
                  <a:lnTo>
                    <a:pt x="985" y="328"/>
                  </a:lnTo>
                  <a:lnTo>
                    <a:pt x="994" y="328"/>
                  </a:lnTo>
                  <a:lnTo>
                    <a:pt x="1023" y="312"/>
                  </a:lnTo>
                  <a:lnTo>
                    <a:pt x="1011" y="295"/>
                  </a:lnTo>
                  <a:lnTo>
                    <a:pt x="1006" y="288"/>
                  </a:lnTo>
                  <a:lnTo>
                    <a:pt x="1006" y="278"/>
                  </a:lnTo>
                  <a:lnTo>
                    <a:pt x="994" y="278"/>
                  </a:lnTo>
                  <a:lnTo>
                    <a:pt x="1023" y="250"/>
                  </a:lnTo>
                  <a:lnTo>
                    <a:pt x="1049" y="238"/>
                  </a:lnTo>
                  <a:lnTo>
                    <a:pt x="1082" y="250"/>
                  </a:lnTo>
                  <a:lnTo>
                    <a:pt x="1098" y="250"/>
                  </a:lnTo>
                  <a:lnTo>
                    <a:pt x="1098" y="234"/>
                  </a:lnTo>
                  <a:lnTo>
                    <a:pt x="1028" y="217"/>
                  </a:lnTo>
                  <a:lnTo>
                    <a:pt x="1037" y="193"/>
                  </a:lnTo>
                  <a:lnTo>
                    <a:pt x="1044" y="201"/>
                  </a:lnTo>
                  <a:lnTo>
                    <a:pt x="1061" y="193"/>
                  </a:lnTo>
                  <a:lnTo>
                    <a:pt x="1049" y="184"/>
                  </a:lnTo>
                  <a:lnTo>
                    <a:pt x="1011" y="184"/>
                  </a:lnTo>
                  <a:lnTo>
                    <a:pt x="1023" y="184"/>
                  </a:lnTo>
                  <a:lnTo>
                    <a:pt x="1037" y="167"/>
                  </a:lnTo>
                  <a:lnTo>
                    <a:pt x="1023" y="160"/>
                  </a:lnTo>
                  <a:lnTo>
                    <a:pt x="1023" y="156"/>
                  </a:lnTo>
                  <a:lnTo>
                    <a:pt x="1044" y="139"/>
                  </a:lnTo>
                  <a:lnTo>
                    <a:pt x="1091" y="156"/>
                  </a:lnTo>
                  <a:lnTo>
                    <a:pt x="1091" y="144"/>
                  </a:lnTo>
                  <a:lnTo>
                    <a:pt x="1113" y="144"/>
                  </a:lnTo>
                  <a:lnTo>
                    <a:pt x="1129" y="160"/>
                  </a:lnTo>
                  <a:lnTo>
                    <a:pt x="1129" y="144"/>
                  </a:lnTo>
                  <a:lnTo>
                    <a:pt x="1167" y="139"/>
                  </a:lnTo>
                  <a:lnTo>
                    <a:pt x="1167" y="127"/>
                  </a:lnTo>
                  <a:lnTo>
                    <a:pt x="1205" y="123"/>
                  </a:lnTo>
                  <a:lnTo>
                    <a:pt x="1221" y="127"/>
                  </a:lnTo>
                  <a:lnTo>
                    <a:pt x="1226" y="123"/>
                  </a:lnTo>
                  <a:lnTo>
                    <a:pt x="1226" y="111"/>
                  </a:lnTo>
                  <a:lnTo>
                    <a:pt x="1292" y="106"/>
                  </a:lnTo>
                  <a:lnTo>
                    <a:pt x="1313" y="111"/>
                  </a:lnTo>
                  <a:lnTo>
                    <a:pt x="1313" y="99"/>
                  </a:lnTo>
                  <a:lnTo>
                    <a:pt x="1330" y="82"/>
                  </a:lnTo>
                  <a:lnTo>
                    <a:pt x="1351" y="89"/>
                  </a:lnTo>
                  <a:lnTo>
                    <a:pt x="1368" y="73"/>
                  </a:lnTo>
                  <a:lnTo>
                    <a:pt x="1368" y="89"/>
                  </a:lnTo>
                  <a:lnTo>
                    <a:pt x="1476" y="66"/>
                  </a:lnTo>
                  <a:lnTo>
                    <a:pt x="1507" y="49"/>
                  </a:lnTo>
                  <a:lnTo>
                    <a:pt x="1524" y="49"/>
                  </a:lnTo>
                  <a:lnTo>
                    <a:pt x="1528" y="45"/>
                  </a:lnTo>
                  <a:lnTo>
                    <a:pt x="1524" y="28"/>
                  </a:lnTo>
                  <a:lnTo>
                    <a:pt x="1552" y="28"/>
                  </a:lnTo>
                  <a:lnTo>
                    <a:pt x="1561" y="12"/>
                  </a:lnTo>
                  <a:lnTo>
                    <a:pt x="1578" y="16"/>
                  </a:lnTo>
                  <a:lnTo>
                    <a:pt x="1578" y="0"/>
                  </a:lnTo>
                  <a:lnTo>
                    <a:pt x="1594" y="16"/>
                  </a:lnTo>
                  <a:lnTo>
                    <a:pt x="1599" y="12"/>
                  </a:lnTo>
                  <a:lnTo>
                    <a:pt x="1620" y="12"/>
                  </a:lnTo>
                  <a:lnTo>
                    <a:pt x="1670" y="33"/>
                  </a:lnTo>
                  <a:lnTo>
                    <a:pt x="1687" y="16"/>
                  </a:lnTo>
                  <a:lnTo>
                    <a:pt x="1708" y="16"/>
                  </a:lnTo>
                  <a:lnTo>
                    <a:pt x="1708" y="16"/>
                  </a:lnTo>
                  <a:lnTo>
                    <a:pt x="1713" y="45"/>
                  </a:lnTo>
                  <a:lnTo>
                    <a:pt x="1724" y="66"/>
                  </a:lnTo>
                  <a:lnTo>
                    <a:pt x="1741" y="82"/>
                  </a:lnTo>
                  <a:lnTo>
                    <a:pt x="1729" y="89"/>
                  </a:lnTo>
                  <a:lnTo>
                    <a:pt x="1729" y="111"/>
                  </a:lnTo>
                  <a:lnTo>
                    <a:pt x="1713" y="111"/>
                  </a:lnTo>
                  <a:lnTo>
                    <a:pt x="1729" y="139"/>
                  </a:lnTo>
                  <a:lnTo>
                    <a:pt x="1746" y="127"/>
                  </a:lnTo>
                  <a:lnTo>
                    <a:pt x="1762" y="139"/>
                  </a:lnTo>
                  <a:lnTo>
                    <a:pt x="1767" y="123"/>
                  </a:lnTo>
                  <a:lnTo>
                    <a:pt x="1800" y="139"/>
                  </a:lnTo>
                  <a:lnTo>
                    <a:pt x="1795" y="106"/>
                  </a:lnTo>
                  <a:lnTo>
                    <a:pt x="1800" y="111"/>
                  </a:lnTo>
                  <a:lnTo>
                    <a:pt x="1817" y="123"/>
                  </a:lnTo>
                  <a:lnTo>
                    <a:pt x="1809" y="127"/>
                  </a:lnTo>
                  <a:lnTo>
                    <a:pt x="1821" y="127"/>
                  </a:lnTo>
                  <a:lnTo>
                    <a:pt x="1817" y="156"/>
                  </a:lnTo>
                  <a:lnTo>
                    <a:pt x="1821" y="156"/>
                  </a:lnTo>
                  <a:lnTo>
                    <a:pt x="1838" y="156"/>
                  </a:lnTo>
                  <a:lnTo>
                    <a:pt x="1838" y="139"/>
                  </a:lnTo>
                  <a:lnTo>
                    <a:pt x="1821" y="144"/>
                  </a:lnTo>
                  <a:lnTo>
                    <a:pt x="1833" y="127"/>
                  </a:lnTo>
                  <a:lnTo>
                    <a:pt x="1854" y="139"/>
                  </a:lnTo>
                  <a:lnTo>
                    <a:pt x="1864" y="144"/>
                  </a:lnTo>
                  <a:lnTo>
                    <a:pt x="1876" y="156"/>
                  </a:lnTo>
                  <a:lnTo>
                    <a:pt x="1918" y="139"/>
                  </a:lnTo>
                  <a:lnTo>
                    <a:pt x="1909" y="160"/>
                  </a:lnTo>
                  <a:lnTo>
                    <a:pt x="1892" y="160"/>
                  </a:lnTo>
                  <a:lnTo>
                    <a:pt x="1876" y="184"/>
                  </a:lnTo>
                  <a:lnTo>
                    <a:pt x="1892" y="201"/>
                  </a:lnTo>
                  <a:lnTo>
                    <a:pt x="1909" y="184"/>
                  </a:lnTo>
                  <a:lnTo>
                    <a:pt x="1923" y="184"/>
                  </a:lnTo>
                  <a:lnTo>
                    <a:pt x="1946" y="184"/>
                  </a:lnTo>
                  <a:lnTo>
                    <a:pt x="1961" y="201"/>
                  </a:lnTo>
                  <a:lnTo>
                    <a:pt x="1961" y="177"/>
                  </a:lnTo>
                  <a:lnTo>
                    <a:pt x="1977" y="177"/>
                  </a:lnTo>
                  <a:lnTo>
                    <a:pt x="1984" y="160"/>
                  </a:lnTo>
                  <a:lnTo>
                    <a:pt x="1998" y="167"/>
                  </a:lnTo>
                  <a:lnTo>
                    <a:pt x="2031" y="144"/>
                  </a:lnTo>
                  <a:lnTo>
                    <a:pt x="2027" y="139"/>
                  </a:lnTo>
                  <a:lnTo>
                    <a:pt x="2031" y="139"/>
                  </a:lnTo>
                  <a:lnTo>
                    <a:pt x="2086" y="123"/>
                  </a:lnTo>
                  <a:lnTo>
                    <a:pt x="2086" y="111"/>
                  </a:lnTo>
                  <a:lnTo>
                    <a:pt x="2102" y="111"/>
                  </a:lnTo>
                  <a:lnTo>
                    <a:pt x="2124" y="106"/>
                  </a:lnTo>
                  <a:lnTo>
                    <a:pt x="2135" y="123"/>
                  </a:lnTo>
                  <a:lnTo>
                    <a:pt x="2119" y="127"/>
                  </a:lnTo>
                  <a:lnTo>
                    <a:pt x="2102" y="127"/>
                  </a:lnTo>
                  <a:lnTo>
                    <a:pt x="2107" y="144"/>
                  </a:lnTo>
                  <a:lnTo>
                    <a:pt x="2199" y="217"/>
                  </a:lnTo>
                  <a:lnTo>
                    <a:pt x="2355" y="460"/>
                  </a:lnTo>
                  <a:lnTo>
                    <a:pt x="2355" y="456"/>
                  </a:lnTo>
                  <a:lnTo>
                    <a:pt x="2388" y="439"/>
                  </a:lnTo>
                  <a:lnTo>
                    <a:pt x="2376" y="423"/>
                  </a:lnTo>
                  <a:lnTo>
                    <a:pt x="2393" y="418"/>
                  </a:lnTo>
                  <a:lnTo>
                    <a:pt x="2405" y="406"/>
                  </a:lnTo>
                  <a:lnTo>
                    <a:pt x="2431" y="423"/>
                  </a:lnTo>
                  <a:lnTo>
                    <a:pt x="2426" y="444"/>
                  </a:lnTo>
                  <a:lnTo>
                    <a:pt x="2447" y="439"/>
                  </a:lnTo>
                  <a:lnTo>
                    <a:pt x="2459" y="460"/>
                  </a:lnTo>
                  <a:lnTo>
                    <a:pt x="2523" y="460"/>
                  </a:lnTo>
                  <a:lnTo>
                    <a:pt x="2539" y="456"/>
                  </a:lnTo>
                  <a:lnTo>
                    <a:pt x="2539" y="444"/>
                  </a:lnTo>
                  <a:lnTo>
                    <a:pt x="2594" y="439"/>
                  </a:lnTo>
                  <a:lnTo>
                    <a:pt x="2627" y="456"/>
                  </a:lnTo>
                  <a:lnTo>
                    <a:pt x="2657" y="510"/>
                  </a:lnTo>
                  <a:lnTo>
                    <a:pt x="2702" y="529"/>
                  </a:lnTo>
                  <a:lnTo>
                    <a:pt x="2702" y="534"/>
                  </a:lnTo>
                  <a:lnTo>
                    <a:pt x="2702" y="545"/>
                  </a:lnTo>
                  <a:lnTo>
                    <a:pt x="2712" y="545"/>
                  </a:lnTo>
                  <a:lnTo>
                    <a:pt x="2717" y="571"/>
                  </a:lnTo>
                  <a:lnTo>
                    <a:pt x="2750" y="571"/>
                  </a:lnTo>
                  <a:lnTo>
                    <a:pt x="2787" y="583"/>
                  </a:lnTo>
                  <a:lnTo>
                    <a:pt x="2809" y="550"/>
                  </a:lnTo>
                  <a:lnTo>
                    <a:pt x="2825" y="550"/>
                  </a:lnTo>
                  <a:lnTo>
                    <a:pt x="2825" y="555"/>
                  </a:lnTo>
                  <a:lnTo>
                    <a:pt x="2809" y="571"/>
                  </a:lnTo>
                  <a:lnTo>
                    <a:pt x="2837" y="583"/>
                  </a:lnTo>
                  <a:lnTo>
                    <a:pt x="2837" y="600"/>
                  </a:lnTo>
                  <a:lnTo>
                    <a:pt x="2863" y="604"/>
                  </a:lnTo>
                  <a:lnTo>
                    <a:pt x="2863" y="623"/>
                  </a:lnTo>
                  <a:lnTo>
                    <a:pt x="2837" y="612"/>
                  </a:lnTo>
                  <a:lnTo>
                    <a:pt x="2820" y="628"/>
                  </a:lnTo>
                  <a:lnTo>
                    <a:pt x="2825" y="656"/>
                  </a:lnTo>
                  <a:lnTo>
                    <a:pt x="2809" y="666"/>
                  </a:lnTo>
                  <a:lnTo>
                    <a:pt x="2754" y="682"/>
                  </a:lnTo>
                  <a:lnTo>
                    <a:pt x="2740" y="723"/>
                  </a:lnTo>
                  <a:lnTo>
                    <a:pt x="2740" y="767"/>
                  </a:lnTo>
                  <a:lnTo>
                    <a:pt x="2750" y="777"/>
                  </a:lnTo>
                  <a:lnTo>
                    <a:pt x="2750" y="789"/>
                  </a:lnTo>
                  <a:lnTo>
                    <a:pt x="2740" y="805"/>
                  </a:lnTo>
                  <a:lnTo>
                    <a:pt x="2717" y="805"/>
                  </a:lnTo>
                  <a:lnTo>
                    <a:pt x="2686" y="829"/>
                  </a:lnTo>
                  <a:lnTo>
                    <a:pt x="2686" y="822"/>
                  </a:lnTo>
                  <a:lnTo>
                    <a:pt x="2679" y="810"/>
                  </a:lnTo>
                  <a:lnTo>
                    <a:pt x="2627" y="810"/>
                  </a:lnTo>
                  <a:lnTo>
                    <a:pt x="2565" y="789"/>
                  </a:lnTo>
                  <a:lnTo>
                    <a:pt x="2565" y="810"/>
                  </a:lnTo>
                  <a:lnTo>
                    <a:pt x="2513" y="940"/>
                  </a:lnTo>
                  <a:lnTo>
                    <a:pt x="2535" y="956"/>
                  </a:lnTo>
                  <a:lnTo>
                    <a:pt x="2535" y="978"/>
                  </a:lnTo>
                  <a:lnTo>
                    <a:pt x="2513" y="973"/>
                  </a:lnTo>
                  <a:lnTo>
                    <a:pt x="2485" y="978"/>
                  </a:lnTo>
                  <a:lnTo>
                    <a:pt x="2468" y="961"/>
                  </a:lnTo>
                  <a:lnTo>
                    <a:pt x="2355" y="989"/>
                  </a:lnTo>
                  <a:lnTo>
                    <a:pt x="2339" y="999"/>
                  </a:lnTo>
                  <a:lnTo>
                    <a:pt x="2350" y="1011"/>
                  </a:lnTo>
                  <a:lnTo>
                    <a:pt x="2372" y="1011"/>
                  </a:lnTo>
                  <a:lnTo>
                    <a:pt x="2388" y="1015"/>
                  </a:lnTo>
                  <a:lnTo>
                    <a:pt x="2376" y="1027"/>
                  </a:lnTo>
                  <a:lnTo>
                    <a:pt x="2376" y="1067"/>
                  </a:lnTo>
                  <a:lnTo>
                    <a:pt x="2405" y="1129"/>
                  </a:lnTo>
                  <a:lnTo>
                    <a:pt x="2409" y="1155"/>
                  </a:lnTo>
                  <a:lnTo>
                    <a:pt x="2376" y="1167"/>
                  </a:lnTo>
                  <a:lnTo>
                    <a:pt x="2393" y="1178"/>
                  </a:lnTo>
                  <a:lnTo>
                    <a:pt x="2372" y="1183"/>
                  </a:lnTo>
                  <a:lnTo>
                    <a:pt x="2362" y="1200"/>
                  </a:lnTo>
                  <a:lnTo>
                    <a:pt x="2372" y="1233"/>
                  </a:lnTo>
                  <a:lnTo>
                    <a:pt x="2362" y="1240"/>
                  </a:lnTo>
                  <a:lnTo>
                    <a:pt x="2350" y="1216"/>
                  </a:lnTo>
                  <a:lnTo>
                    <a:pt x="2308" y="1216"/>
                  </a:lnTo>
                  <a:lnTo>
                    <a:pt x="2296" y="1195"/>
                  </a:lnTo>
                  <a:lnTo>
                    <a:pt x="2296" y="1183"/>
                  </a:lnTo>
                  <a:lnTo>
                    <a:pt x="2157" y="1178"/>
                  </a:lnTo>
                  <a:lnTo>
                    <a:pt x="2140" y="1167"/>
                  </a:lnTo>
                  <a:lnTo>
                    <a:pt x="2119" y="1178"/>
                  </a:lnTo>
                  <a:lnTo>
                    <a:pt x="2053" y="1167"/>
                  </a:lnTo>
                  <a:lnTo>
                    <a:pt x="2048" y="1183"/>
                  </a:lnTo>
                  <a:lnTo>
                    <a:pt x="1984" y="1167"/>
                  </a:lnTo>
                  <a:lnTo>
                    <a:pt x="1946" y="1145"/>
                  </a:lnTo>
                  <a:lnTo>
                    <a:pt x="1902" y="1162"/>
                  </a:lnTo>
                  <a:lnTo>
                    <a:pt x="1892" y="1200"/>
                  </a:lnTo>
                  <a:lnTo>
                    <a:pt x="1892" y="1216"/>
                  </a:lnTo>
                  <a:lnTo>
                    <a:pt x="1809" y="1183"/>
                  </a:lnTo>
                  <a:lnTo>
                    <a:pt x="1767" y="1183"/>
                  </a:lnTo>
                  <a:lnTo>
                    <a:pt x="1729" y="1195"/>
                  </a:lnTo>
                  <a:lnTo>
                    <a:pt x="1708" y="1221"/>
                  </a:lnTo>
                  <a:lnTo>
                    <a:pt x="1713" y="1233"/>
                  </a:lnTo>
                  <a:lnTo>
                    <a:pt x="1703" y="1240"/>
                  </a:lnTo>
                  <a:lnTo>
                    <a:pt x="1691" y="1256"/>
                  </a:lnTo>
                  <a:lnTo>
                    <a:pt x="1675" y="1249"/>
                  </a:lnTo>
                  <a:lnTo>
                    <a:pt x="1649" y="1282"/>
                  </a:lnTo>
                  <a:lnTo>
                    <a:pt x="1620" y="1282"/>
                  </a:lnTo>
                  <a:lnTo>
                    <a:pt x="1583" y="1311"/>
                  </a:lnTo>
                  <a:lnTo>
                    <a:pt x="1583" y="1323"/>
                  </a:lnTo>
                  <a:lnTo>
                    <a:pt x="1552" y="1351"/>
                  </a:lnTo>
                  <a:lnTo>
                    <a:pt x="1552" y="1377"/>
                  </a:lnTo>
                  <a:lnTo>
                    <a:pt x="1540" y="1377"/>
                  </a:lnTo>
                  <a:lnTo>
                    <a:pt x="1514" y="1360"/>
                  </a:lnTo>
                  <a:lnTo>
                    <a:pt x="1524" y="1339"/>
                  </a:lnTo>
                  <a:lnTo>
                    <a:pt x="1507" y="1327"/>
                  </a:lnTo>
                  <a:lnTo>
                    <a:pt x="1422" y="1327"/>
                  </a:lnTo>
                  <a:lnTo>
                    <a:pt x="1405" y="1256"/>
                  </a:lnTo>
                  <a:lnTo>
                    <a:pt x="1368" y="1256"/>
                  </a:lnTo>
                  <a:lnTo>
                    <a:pt x="1377" y="1167"/>
                  </a:lnTo>
                  <a:lnTo>
                    <a:pt x="1351" y="1178"/>
                  </a:lnTo>
                  <a:lnTo>
                    <a:pt x="1335" y="1138"/>
                  </a:lnTo>
                  <a:lnTo>
                    <a:pt x="1313" y="1129"/>
                  </a:lnTo>
                  <a:lnTo>
                    <a:pt x="1292" y="1105"/>
                  </a:lnTo>
                  <a:lnTo>
                    <a:pt x="1259" y="1122"/>
                  </a:lnTo>
                  <a:lnTo>
                    <a:pt x="1174" y="1110"/>
                  </a:lnTo>
                  <a:lnTo>
                    <a:pt x="1091" y="1122"/>
                  </a:lnTo>
                  <a:lnTo>
                    <a:pt x="1028" y="1056"/>
                  </a:lnTo>
                  <a:lnTo>
                    <a:pt x="843" y="940"/>
                  </a:lnTo>
                  <a:lnTo>
                    <a:pt x="666" y="994"/>
                  </a:lnTo>
                  <a:lnTo>
                    <a:pt x="666" y="1311"/>
                  </a:lnTo>
                  <a:lnTo>
                    <a:pt x="666" y="1311"/>
                  </a:lnTo>
                  <a:lnTo>
                    <a:pt x="666" y="1311"/>
                  </a:lnTo>
                  <a:close/>
                  <a:moveTo>
                    <a:pt x="456" y="883"/>
                  </a:moveTo>
                  <a:lnTo>
                    <a:pt x="449" y="878"/>
                  </a:lnTo>
                  <a:lnTo>
                    <a:pt x="456" y="867"/>
                  </a:lnTo>
                  <a:lnTo>
                    <a:pt x="465" y="878"/>
                  </a:lnTo>
                  <a:lnTo>
                    <a:pt x="456" y="883"/>
                  </a:lnTo>
                  <a:lnTo>
                    <a:pt x="456" y="883"/>
                  </a:lnTo>
                  <a:lnTo>
                    <a:pt x="456" y="883"/>
                  </a:lnTo>
                  <a:close/>
                  <a:moveTo>
                    <a:pt x="267" y="994"/>
                  </a:moveTo>
                  <a:lnTo>
                    <a:pt x="267" y="989"/>
                  </a:lnTo>
                  <a:lnTo>
                    <a:pt x="272" y="989"/>
                  </a:lnTo>
                  <a:lnTo>
                    <a:pt x="267" y="994"/>
                  </a:lnTo>
                  <a:lnTo>
                    <a:pt x="267" y="994"/>
                  </a:lnTo>
                  <a:lnTo>
                    <a:pt x="267" y="994"/>
                  </a:lnTo>
                  <a:close/>
                  <a:moveTo>
                    <a:pt x="255" y="1011"/>
                  </a:moveTo>
                  <a:lnTo>
                    <a:pt x="239" y="994"/>
                  </a:lnTo>
                  <a:lnTo>
                    <a:pt x="250" y="989"/>
                  </a:lnTo>
                  <a:lnTo>
                    <a:pt x="255" y="989"/>
                  </a:lnTo>
                  <a:lnTo>
                    <a:pt x="250" y="994"/>
                  </a:lnTo>
                  <a:lnTo>
                    <a:pt x="255" y="999"/>
                  </a:lnTo>
                  <a:lnTo>
                    <a:pt x="255" y="1011"/>
                  </a:lnTo>
                  <a:lnTo>
                    <a:pt x="255" y="1011"/>
                  </a:lnTo>
                  <a:lnTo>
                    <a:pt x="255" y="1011"/>
                  </a:lnTo>
                  <a:close/>
                </a:path>
              </a:pathLst>
            </a:custGeom>
            <a:solidFill>
              <a:schemeClr val="bg2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45" name="Freeform 489">
              <a:extLst>
                <a:ext uri="{FF2B5EF4-FFF2-40B4-BE49-F238E27FC236}">
                  <a16:creationId xmlns:a16="http://schemas.microsoft.com/office/drawing/2014/main" id="{F0FE37D4-937B-4B25-BB8C-E5210713F3DD}"/>
                </a:ext>
              </a:extLst>
            </p:cNvPr>
            <p:cNvSpPr>
              <a:spLocks/>
            </p:cNvSpPr>
            <p:nvPr/>
          </p:nvSpPr>
          <p:spPr bwMode="gray">
            <a:xfrm>
              <a:off x="7238554" y="2489759"/>
              <a:ext cx="82263" cy="97928"/>
            </a:xfrm>
            <a:custGeom>
              <a:avLst/>
              <a:gdLst>
                <a:gd name="T0" fmla="*/ 5 w 536"/>
                <a:gd name="T1" fmla="*/ 127 h 638"/>
                <a:gd name="T2" fmla="*/ 33 w 536"/>
                <a:gd name="T3" fmla="*/ 120 h 638"/>
                <a:gd name="T4" fmla="*/ 49 w 536"/>
                <a:gd name="T5" fmla="*/ 87 h 638"/>
                <a:gd name="T6" fmla="*/ 75 w 536"/>
                <a:gd name="T7" fmla="*/ 66 h 638"/>
                <a:gd name="T8" fmla="*/ 104 w 536"/>
                <a:gd name="T9" fmla="*/ 94 h 638"/>
                <a:gd name="T10" fmla="*/ 125 w 536"/>
                <a:gd name="T11" fmla="*/ 94 h 638"/>
                <a:gd name="T12" fmla="*/ 113 w 536"/>
                <a:gd name="T13" fmla="*/ 49 h 638"/>
                <a:gd name="T14" fmla="*/ 104 w 536"/>
                <a:gd name="T15" fmla="*/ 16 h 638"/>
                <a:gd name="T16" fmla="*/ 146 w 536"/>
                <a:gd name="T17" fmla="*/ 9 h 638"/>
                <a:gd name="T18" fmla="*/ 179 w 536"/>
                <a:gd name="T19" fmla="*/ 66 h 638"/>
                <a:gd name="T20" fmla="*/ 196 w 536"/>
                <a:gd name="T21" fmla="*/ 87 h 638"/>
                <a:gd name="T22" fmla="*/ 255 w 536"/>
                <a:gd name="T23" fmla="*/ 137 h 638"/>
                <a:gd name="T24" fmla="*/ 276 w 536"/>
                <a:gd name="T25" fmla="*/ 111 h 638"/>
                <a:gd name="T26" fmla="*/ 305 w 536"/>
                <a:gd name="T27" fmla="*/ 149 h 638"/>
                <a:gd name="T28" fmla="*/ 342 w 536"/>
                <a:gd name="T29" fmla="*/ 177 h 638"/>
                <a:gd name="T30" fmla="*/ 331 w 536"/>
                <a:gd name="T31" fmla="*/ 194 h 638"/>
                <a:gd name="T32" fmla="*/ 319 w 536"/>
                <a:gd name="T33" fmla="*/ 215 h 638"/>
                <a:gd name="T34" fmla="*/ 276 w 536"/>
                <a:gd name="T35" fmla="*/ 222 h 638"/>
                <a:gd name="T36" fmla="*/ 288 w 536"/>
                <a:gd name="T37" fmla="*/ 248 h 638"/>
                <a:gd name="T38" fmla="*/ 357 w 536"/>
                <a:gd name="T39" fmla="*/ 288 h 638"/>
                <a:gd name="T40" fmla="*/ 357 w 536"/>
                <a:gd name="T41" fmla="*/ 309 h 638"/>
                <a:gd name="T42" fmla="*/ 380 w 536"/>
                <a:gd name="T43" fmla="*/ 326 h 638"/>
                <a:gd name="T44" fmla="*/ 439 w 536"/>
                <a:gd name="T45" fmla="*/ 399 h 638"/>
                <a:gd name="T46" fmla="*/ 456 w 536"/>
                <a:gd name="T47" fmla="*/ 416 h 638"/>
                <a:gd name="T48" fmla="*/ 465 w 536"/>
                <a:gd name="T49" fmla="*/ 456 h 638"/>
                <a:gd name="T50" fmla="*/ 482 w 536"/>
                <a:gd name="T51" fmla="*/ 444 h 638"/>
                <a:gd name="T52" fmla="*/ 494 w 536"/>
                <a:gd name="T53" fmla="*/ 460 h 638"/>
                <a:gd name="T54" fmla="*/ 520 w 536"/>
                <a:gd name="T55" fmla="*/ 477 h 638"/>
                <a:gd name="T56" fmla="*/ 494 w 536"/>
                <a:gd name="T57" fmla="*/ 498 h 638"/>
                <a:gd name="T58" fmla="*/ 527 w 536"/>
                <a:gd name="T59" fmla="*/ 555 h 638"/>
                <a:gd name="T60" fmla="*/ 527 w 536"/>
                <a:gd name="T61" fmla="*/ 583 h 638"/>
                <a:gd name="T62" fmla="*/ 456 w 536"/>
                <a:gd name="T63" fmla="*/ 588 h 638"/>
                <a:gd name="T64" fmla="*/ 435 w 536"/>
                <a:gd name="T65" fmla="*/ 593 h 638"/>
                <a:gd name="T66" fmla="*/ 418 w 536"/>
                <a:gd name="T67" fmla="*/ 605 h 638"/>
                <a:gd name="T68" fmla="*/ 418 w 536"/>
                <a:gd name="T69" fmla="*/ 638 h 638"/>
                <a:gd name="T70" fmla="*/ 385 w 536"/>
                <a:gd name="T71" fmla="*/ 621 h 638"/>
                <a:gd name="T72" fmla="*/ 357 w 536"/>
                <a:gd name="T73" fmla="*/ 605 h 638"/>
                <a:gd name="T74" fmla="*/ 385 w 536"/>
                <a:gd name="T75" fmla="*/ 555 h 638"/>
                <a:gd name="T76" fmla="*/ 385 w 536"/>
                <a:gd name="T77" fmla="*/ 510 h 638"/>
                <a:gd name="T78" fmla="*/ 373 w 536"/>
                <a:gd name="T79" fmla="*/ 494 h 638"/>
                <a:gd name="T80" fmla="*/ 347 w 536"/>
                <a:gd name="T81" fmla="*/ 477 h 638"/>
                <a:gd name="T82" fmla="*/ 331 w 536"/>
                <a:gd name="T83" fmla="*/ 387 h 638"/>
                <a:gd name="T84" fmla="*/ 293 w 536"/>
                <a:gd name="T85" fmla="*/ 349 h 638"/>
                <a:gd name="T86" fmla="*/ 234 w 536"/>
                <a:gd name="T87" fmla="*/ 305 h 638"/>
                <a:gd name="T88" fmla="*/ 222 w 536"/>
                <a:gd name="T89" fmla="*/ 316 h 638"/>
                <a:gd name="T90" fmla="*/ 212 w 536"/>
                <a:gd name="T91" fmla="*/ 333 h 638"/>
                <a:gd name="T92" fmla="*/ 179 w 536"/>
                <a:gd name="T93" fmla="*/ 349 h 638"/>
                <a:gd name="T94" fmla="*/ 163 w 536"/>
                <a:gd name="T95" fmla="*/ 333 h 638"/>
                <a:gd name="T96" fmla="*/ 125 w 536"/>
                <a:gd name="T97" fmla="*/ 333 h 638"/>
                <a:gd name="T98" fmla="*/ 104 w 536"/>
                <a:gd name="T99" fmla="*/ 349 h 638"/>
                <a:gd name="T100" fmla="*/ 59 w 536"/>
                <a:gd name="T101" fmla="*/ 366 h 638"/>
                <a:gd name="T102" fmla="*/ 75 w 536"/>
                <a:gd name="T103" fmla="*/ 309 h 638"/>
                <a:gd name="T104" fmla="*/ 87 w 536"/>
                <a:gd name="T105" fmla="*/ 288 h 638"/>
                <a:gd name="T106" fmla="*/ 87 w 536"/>
                <a:gd name="T107" fmla="*/ 255 h 638"/>
                <a:gd name="T108" fmla="*/ 87 w 536"/>
                <a:gd name="T109" fmla="*/ 222 h 638"/>
                <a:gd name="T110" fmla="*/ 49 w 536"/>
                <a:gd name="T111" fmla="*/ 222 h 638"/>
                <a:gd name="T112" fmla="*/ 21 w 536"/>
                <a:gd name="T113" fmla="*/ 205 h 638"/>
                <a:gd name="T114" fmla="*/ 21 w 536"/>
                <a:gd name="T115" fmla="*/ 177 h 638"/>
                <a:gd name="T116" fmla="*/ 5 w 536"/>
                <a:gd name="T117" fmla="*/ 165 h 638"/>
                <a:gd name="T118" fmla="*/ 0 w 536"/>
                <a:gd name="T119" fmla="*/ 160 h 6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36" h="638">
                  <a:moveTo>
                    <a:pt x="0" y="160"/>
                  </a:moveTo>
                  <a:lnTo>
                    <a:pt x="5" y="127"/>
                  </a:lnTo>
                  <a:lnTo>
                    <a:pt x="38" y="120"/>
                  </a:lnTo>
                  <a:lnTo>
                    <a:pt x="33" y="120"/>
                  </a:lnTo>
                  <a:lnTo>
                    <a:pt x="33" y="111"/>
                  </a:lnTo>
                  <a:lnTo>
                    <a:pt x="49" y="87"/>
                  </a:lnTo>
                  <a:lnTo>
                    <a:pt x="59" y="83"/>
                  </a:lnTo>
                  <a:lnTo>
                    <a:pt x="75" y="66"/>
                  </a:lnTo>
                  <a:lnTo>
                    <a:pt x="87" y="94"/>
                  </a:lnTo>
                  <a:lnTo>
                    <a:pt x="104" y="94"/>
                  </a:lnTo>
                  <a:lnTo>
                    <a:pt x="113" y="104"/>
                  </a:lnTo>
                  <a:lnTo>
                    <a:pt x="125" y="94"/>
                  </a:lnTo>
                  <a:lnTo>
                    <a:pt x="113" y="87"/>
                  </a:lnTo>
                  <a:lnTo>
                    <a:pt x="113" y="49"/>
                  </a:lnTo>
                  <a:lnTo>
                    <a:pt x="109" y="38"/>
                  </a:lnTo>
                  <a:lnTo>
                    <a:pt x="104" y="16"/>
                  </a:lnTo>
                  <a:lnTo>
                    <a:pt x="113" y="0"/>
                  </a:lnTo>
                  <a:lnTo>
                    <a:pt x="146" y="9"/>
                  </a:lnTo>
                  <a:lnTo>
                    <a:pt x="179" y="38"/>
                  </a:lnTo>
                  <a:lnTo>
                    <a:pt x="179" y="66"/>
                  </a:lnTo>
                  <a:lnTo>
                    <a:pt x="201" y="54"/>
                  </a:lnTo>
                  <a:lnTo>
                    <a:pt x="196" y="87"/>
                  </a:lnTo>
                  <a:lnTo>
                    <a:pt x="217" y="120"/>
                  </a:lnTo>
                  <a:lnTo>
                    <a:pt x="255" y="137"/>
                  </a:lnTo>
                  <a:lnTo>
                    <a:pt x="264" y="120"/>
                  </a:lnTo>
                  <a:lnTo>
                    <a:pt x="276" y="111"/>
                  </a:lnTo>
                  <a:lnTo>
                    <a:pt x="319" y="137"/>
                  </a:lnTo>
                  <a:lnTo>
                    <a:pt x="305" y="149"/>
                  </a:lnTo>
                  <a:lnTo>
                    <a:pt x="319" y="149"/>
                  </a:lnTo>
                  <a:lnTo>
                    <a:pt x="342" y="177"/>
                  </a:lnTo>
                  <a:lnTo>
                    <a:pt x="342" y="182"/>
                  </a:lnTo>
                  <a:lnTo>
                    <a:pt x="331" y="194"/>
                  </a:lnTo>
                  <a:lnTo>
                    <a:pt x="331" y="198"/>
                  </a:lnTo>
                  <a:lnTo>
                    <a:pt x="319" y="215"/>
                  </a:lnTo>
                  <a:lnTo>
                    <a:pt x="276" y="205"/>
                  </a:lnTo>
                  <a:lnTo>
                    <a:pt x="276" y="222"/>
                  </a:lnTo>
                  <a:lnTo>
                    <a:pt x="264" y="238"/>
                  </a:lnTo>
                  <a:lnTo>
                    <a:pt x="288" y="248"/>
                  </a:lnTo>
                  <a:lnTo>
                    <a:pt x="326" y="276"/>
                  </a:lnTo>
                  <a:lnTo>
                    <a:pt x="357" y="288"/>
                  </a:lnTo>
                  <a:lnTo>
                    <a:pt x="357" y="305"/>
                  </a:lnTo>
                  <a:lnTo>
                    <a:pt x="357" y="309"/>
                  </a:lnTo>
                  <a:lnTo>
                    <a:pt x="373" y="326"/>
                  </a:lnTo>
                  <a:lnTo>
                    <a:pt x="380" y="326"/>
                  </a:lnTo>
                  <a:lnTo>
                    <a:pt x="397" y="361"/>
                  </a:lnTo>
                  <a:lnTo>
                    <a:pt x="439" y="399"/>
                  </a:lnTo>
                  <a:lnTo>
                    <a:pt x="449" y="416"/>
                  </a:lnTo>
                  <a:lnTo>
                    <a:pt x="456" y="416"/>
                  </a:lnTo>
                  <a:lnTo>
                    <a:pt x="456" y="437"/>
                  </a:lnTo>
                  <a:lnTo>
                    <a:pt x="465" y="456"/>
                  </a:lnTo>
                  <a:lnTo>
                    <a:pt x="472" y="456"/>
                  </a:lnTo>
                  <a:lnTo>
                    <a:pt x="482" y="444"/>
                  </a:lnTo>
                  <a:lnTo>
                    <a:pt x="489" y="460"/>
                  </a:lnTo>
                  <a:lnTo>
                    <a:pt x="494" y="460"/>
                  </a:lnTo>
                  <a:lnTo>
                    <a:pt x="510" y="477"/>
                  </a:lnTo>
                  <a:lnTo>
                    <a:pt x="520" y="477"/>
                  </a:lnTo>
                  <a:lnTo>
                    <a:pt x="510" y="494"/>
                  </a:lnTo>
                  <a:lnTo>
                    <a:pt x="494" y="498"/>
                  </a:lnTo>
                  <a:lnTo>
                    <a:pt x="536" y="538"/>
                  </a:lnTo>
                  <a:lnTo>
                    <a:pt x="527" y="555"/>
                  </a:lnTo>
                  <a:lnTo>
                    <a:pt x="520" y="555"/>
                  </a:lnTo>
                  <a:lnTo>
                    <a:pt x="527" y="583"/>
                  </a:lnTo>
                  <a:lnTo>
                    <a:pt x="472" y="609"/>
                  </a:lnTo>
                  <a:lnTo>
                    <a:pt x="456" y="588"/>
                  </a:lnTo>
                  <a:lnTo>
                    <a:pt x="439" y="593"/>
                  </a:lnTo>
                  <a:lnTo>
                    <a:pt x="435" y="593"/>
                  </a:lnTo>
                  <a:lnTo>
                    <a:pt x="435" y="605"/>
                  </a:lnTo>
                  <a:lnTo>
                    <a:pt x="418" y="605"/>
                  </a:lnTo>
                  <a:lnTo>
                    <a:pt x="427" y="628"/>
                  </a:lnTo>
                  <a:lnTo>
                    <a:pt x="418" y="638"/>
                  </a:lnTo>
                  <a:lnTo>
                    <a:pt x="411" y="638"/>
                  </a:lnTo>
                  <a:lnTo>
                    <a:pt x="385" y="621"/>
                  </a:lnTo>
                  <a:lnTo>
                    <a:pt x="373" y="628"/>
                  </a:lnTo>
                  <a:lnTo>
                    <a:pt x="357" y="605"/>
                  </a:lnTo>
                  <a:lnTo>
                    <a:pt x="380" y="588"/>
                  </a:lnTo>
                  <a:lnTo>
                    <a:pt x="385" y="555"/>
                  </a:lnTo>
                  <a:lnTo>
                    <a:pt x="380" y="550"/>
                  </a:lnTo>
                  <a:lnTo>
                    <a:pt x="385" y="510"/>
                  </a:lnTo>
                  <a:lnTo>
                    <a:pt x="373" y="498"/>
                  </a:lnTo>
                  <a:lnTo>
                    <a:pt x="373" y="494"/>
                  </a:lnTo>
                  <a:lnTo>
                    <a:pt x="373" y="482"/>
                  </a:lnTo>
                  <a:lnTo>
                    <a:pt x="347" y="477"/>
                  </a:lnTo>
                  <a:lnTo>
                    <a:pt x="326" y="444"/>
                  </a:lnTo>
                  <a:lnTo>
                    <a:pt x="331" y="387"/>
                  </a:lnTo>
                  <a:lnTo>
                    <a:pt x="326" y="371"/>
                  </a:lnTo>
                  <a:lnTo>
                    <a:pt x="293" y="349"/>
                  </a:lnTo>
                  <a:lnTo>
                    <a:pt x="272" y="309"/>
                  </a:lnTo>
                  <a:lnTo>
                    <a:pt x="234" y="305"/>
                  </a:lnTo>
                  <a:lnTo>
                    <a:pt x="222" y="309"/>
                  </a:lnTo>
                  <a:lnTo>
                    <a:pt x="222" y="316"/>
                  </a:lnTo>
                  <a:lnTo>
                    <a:pt x="212" y="326"/>
                  </a:lnTo>
                  <a:lnTo>
                    <a:pt x="212" y="333"/>
                  </a:lnTo>
                  <a:lnTo>
                    <a:pt x="196" y="333"/>
                  </a:lnTo>
                  <a:lnTo>
                    <a:pt x="179" y="349"/>
                  </a:lnTo>
                  <a:lnTo>
                    <a:pt x="179" y="342"/>
                  </a:lnTo>
                  <a:lnTo>
                    <a:pt x="163" y="333"/>
                  </a:lnTo>
                  <a:lnTo>
                    <a:pt x="142" y="316"/>
                  </a:lnTo>
                  <a:lnTo>
                    <a:pt x="125" y="333"/>
                  </a:lnTo>
                  <a:lnTo>
                    <a:pt x="113" y="333"/>
                  </a:lnTo>
                  <a:lnTo>
                    <a:pt x="104" y="349"/>
                  </a:lnTo>
                  <a:lnTo>
                    <a:pt x="75" y="371"/>
                  </a:lnTo>
                  <a:lnTo>
                    <a:pt x="59" y="366"/>
                  </a:lnTo>
                  <a:lnTo>
                    <a:pt x="75" y="326"/>
                  </a:lnTo>
                  <a:lnTo>
                    <a:pt x="75" y="309"/>
                  </a:lnTo>
                  <a:lnTo>
                    <a:pt x="71" y="305"/>
                  </a:lnTo>
                  <a:lnTo>
                    <a:pt x="87" y="288"/>
                  </a:lnTo>
                  <a:lnTo>
                    <a:pt x="75" y="272"/>
                  </a:lnTo>
                  <a:lnTo>
                    <a:pt x="87" y="255"/>
                  </a:lnTo>
                  <a:lnTo>
                    <a:pt x="75" y="231"/>
                  </a:lnTo>
                  <a:lnTo>
                    <a:pt x="87" y="222"/>
                  </a:lnTo>
                  <a:lnTo>
                    <a:pt x="54" y="215"/>
                  </a:lnTo>
                  <a:lnTo>
                    <a:pt x="49" y="222"/>
                  </a:lnTo>
                  <a:lnTo>
                    <a:pt x="33" y="222"/>
                  </a:lnTo>
                  <a:lnTo>
                    <a:pt x="21" y="205"/>
                  </a:lnTo>
                  <a:lnTo>
                    <a:pt x="33" y="177"/>
                  </a:lnTo>
                  <a:lnTo>
                    <a:pt x="21" y="177"/>
                  </a:lnTo>
                  <a:lnTo>
                    <a:pt x="16" y="160"/>
                  </a:lnTo>
                  <a:lnTo>
                    <a:pt x="5" y="165"/>
                  </a:lnTo>
                  <a:lnTo>
                    <a:pt x="0" y="160"/>
                  </a:lnTo>
                  <a:lnTo>
                    <a:pt x="0" y="160"/>
                  </a:lnTo>
                  <a:lnTo>
                    <a:pt x="0" y="160"/>
                  </a:lnTo>
                  <a:close/>
                </a:path>
              </a:pathLst>
            </a:custGeom>
            <a:solidFill>
              <a:schemeClr val="bg2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46" name="Freeform 490">
              <a:extLst>
                <a:ext uri="{FF2B5EF4-FFF2-40B4-BE49-F238E27FC236}">
                  <a16:creationId xmlns:a16="http://schemas.microsoft.com/office/drawing/2014/main" id="{C81DC3CB-EB60-4514-B87A-0B750DE71DC0}"/>
                </a:ext>
              </a:extLst>
            </p:cNvPr>
            <p:cNvSpPr>
              <a:spLocks/>
            </p:cNvSpPr>
            <p:nvPr/>
          </p:nvSpPr>
          <p:spPr bwMode="gray">
            <a:xfrm>
              <a:off x="6539169" y="2343941"/>
              <a:ext cx="17036" cy="19954"/>
            </a:xfrm>
            <a:custGeom>
              <a:avLst/>
              <a:gdLst>
                <a:gd name="T0" fmla="*/ 38 w 111"/>
                <a:gd name="T1" fmla="*/ 111 h 130"/>
                <a:gd name="T2" fmla="*/ 21 w 111"/>
                <a:gd name="T3" fmla="*/ 130 h 130"/>
                <a:gd name="T4" fmla="*/ 0 w 111"/>
                <a:gd name="T5" fmla="*/ 118 h 130"/>
                <a:gd name="T6" fmla="*/ 21 w 111"/>
                <a:gd name="T7" fmla="*/ 57 h 130"/>
                <a:gd name="T8" fmla="*/ 38 w 111"/>
                <a:gd name="T9" fmla="*/ 45 h 130"/>
                <a:gd name="T10" fmla="*/ 38 w 111"/>
                <a:gd name="T11" fmla="*/ 24 h 130"/>
                <a:gd name="T12" fmla="*/ 62 w 111"/>
                <a:gd name="T13" fmla="*/ 5 h 130"/>
                <a:gd name="T14" fmla="*/ 62 w 111"/>
                <a:gd name="T15" fmla="*/ 0 h 130"/>
                <a:gd name="T16" fmla="*/ 95 w 111"/>
                <a:gd name="T17" fmla="*/ 0 h 130"/>
                <a:gd name="T18" fmla="*/ 83 w 111"/>
                <a:gd name="T19" fmla="*/ 5 h 130"/>
                <a:gd name="T20" fmla="*/ 99 w 111"/>
                <a:gd name="T21" fmla="*/ 17 h 130"/>
                <a:gd name="T22" fmla="*/ 111 w 111"/>
                <a:gd name="T23" fmla="*/ 29 h 130"/>
                <a:gd name="T24" fmla="*/ 83 w 111"/>
                <a:gd name="T25" fmla="*/ 57 h 130"/>
                <a:gd name="T26" fmla="*/ 95 w 111"/>
                <a:gd name="T27" fmla="*/ 62 h 130"/>
                <a:gd name="T28" fmla="*/ 66 w 111"/>
                <a:gd name="T29" fmla="*/ 62 h 130"/>
                <a:gd name="T30" fmla="*/ 62 w 111"/>
                <a:gd name="T31" fmla="*/ 78 h 130"/>
                <a:gd name="T32" fmla="*/ 66 w 111"/>
                <a:gd name="T33" fmla="*/ 78 h 130"/>
                <a:gd name="T34" fmla="*/ 38 w 111"/>
                <a:gd name="T35" fmla="*/ 111 h 130"/>
                <a:gd name="T36" fmla="*/ 38 w 111"/>
                <a:gd name="T37" fmla="*/ 111 h 130"/>
                <a:gd name="T38" fmla="*/ 38 w 111"/>
                <a:gd name="T39" fmla="*/ 111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11" h="130">
                  <a:moveTo>
                    <a:pt x="38" y="111"/>
                  </a:moveTo>
                  <a:lnTo>
                    <a:pt x="21" y="130"/>
                  </a:lnTo>
                  <a:lnTo>
                    <a:pt x="0" y="118"/>
                  </a:lnTo>
                  <a:lnTo>
                    <a:pt x="21" y="57"/>
                  </a:lnTo>
                  <a:lnTo>
                    <a:pt x="38" y="45"/>
                  </a:lnTo>
                  <a:lnTo>
                    <a:pt x="38" y="24"/>
                  </a:lnTo>
                  <a:lnTo>
                    <a:pt x="62" y="5"/>
                  </a:lnTo>
                  <a:lnTo>
                    <a:pt x="62" y="0"/>
                  </a:lnTo>
                  <a:lnTo>
                    <a:pt x="95" y="0"/>
                  </a:lnTo>
                  <a:lnTo>
                    <a:pt x="83" y="5"/>
                  </a:lnTo>
                  <a:lnTo>
                    <a:pt x="99" y="17"/>
                  </a:lnTo>
                  <a:lnTo>
                    <a:pt x="111" y="29"/>
                  </a:lnTo>
                  <a:lnTo>
                    <a:pt x="83" y="57"/>
                  </a:lnTo>
                  <a:lnTo>
                    <a:pt x="95" y="62"/>
                  </a:lnTo>
                  <a:lnTo>
                    <a:pt x="66" y="62"/>
                  </a:lnTo>
                  <a:lnTo>
                    <a:pt x="62" y="78"/>
                  </a:lnTo>
                  <a:lnTo>
                    <a:pt x="66" y="78"/>
                  </a:lnTo>
                  <a:lnTo>
                    <a:pt x="38" y="111"/>
                  </a:lnTo>
                  <a:lnTo>
                    <a:pt x="38" y="111"/>
                  </a:lnTo>
                  <a:lnTo>
                    <a:pt x="38" y="111"/>
                  </a:lnTo>
                  <a:close/>
                </a:path>
              </a:pathLst>
            </a:custGeom>
            <a:solidFill>
              <a:schemeClr val="bg2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47" name="Freeform 491">
              <a:extLst>
                <a:ext uri="{FF2B5EF4-FFF2-40B4-BE49-F238E27FC236}">
                  <a16:creationId xmlns:a16="http://schemas.microsoft.com/office/drawing/2014/main" id="{71D3F6CB-6704-48BC-9663-FBBBE445972C}"/>
                </a:ext>
              </a:extLst>
            </p:cNvPr>
            <p:cNvSpPr>
              <a:spLocks/>
            </p:cNvSpPr>
            <p:nvPr/>
          </p:nvSpPr>
          <p:spPr bwMode="gray">
            <a:xfrm>
              <a:off x="6387689" y="2015468"/>
              <a:ext cx="78272" cy="37299"/>
            </a:xfrm>
            <a:custGeom>
              <a:avLst/>
              <a:gdLst>
                <a:gd name="T0" fmla="*/ 234 w 510"/>
                <a:gd name="T1" fmla="*/ 21 h 243"/>
                <a:gd name="T2" fmla="*/ 288 w 510"/>
                <a:gd name="T3" fmla="*/ 0 h 243"/>
                <a:gd name="T4" fmla="*/ 297 w 510"/>
                <a:gd name="T5" fmla="*/ 5 h 243"/>
                <a:gd name="T6" fmla="*/ 297 w 510"/>
                <a:gd name="T7" fmla="*/ 0 h 243"/>
                <a:gd name="T8" fmla="*/ 352 w 510"/>
                <a:gd name="T9" fmla="*/ 21 h 243"/>
                <a:gd name="T10" fmla="*/ 385 w 510"/>
                <a:gd name="T11" fmla="*/ 55 h 243"/>
                <a:gd name="T12" fmla="*/ 418 w 510"/>
                <a:gd name="T13" fmla="*/ 43 h 243"/>
                <a:gd name="T14" fmla="*/ 451 w 510"/>
                <a:gd name="T15" fmla="*/ 55 h 243"/>
                <a:gd name="T16" fmla="*/ 456 w 510"/>
                <a:gd name="T17" fmla="*/ 55 h 243"/>
                <a:gd name="T18" fmla="*/ 456 w 510"/>
                <a:gd name="T19" fmla="*/ 59 h 243"/>
                <a:gd name="T20" fmla="*/ 477 w 510"/>
                <a:gd name="T21" fmla="*/ 76 h 243"/>
                <a:gd name="T22" fmla="*/ 472 w 510"/>
                <a:gd name="T23" fmla="*/ 116 h 243"/>
                <a:gd name="T24" fmla="*/ 489 w 510"/>
                <a:gd name="T25" fmla="*/ 128 h 243"/>
                <a:gd name="T26" fmla="*/ 510 w 510"/>
                <a:gd name="T27" fmla="*/ 182 h 243"/>
                <a:gd name="T28" fmla="*/ 505 w 510"/>
                <a:gd name="T29" fmla="*/ 199 h 243"/>
                <a:gd name="T30" fmla="*/ 489 w 510"/>
                <a:gd name="T31" fmla="*/ 199 h 243"/>
                <a:gd name="T32" fmla="*/ 460 w 510"/>
                <a:gd name="T33" fmla="*/ 222 h 243"/>
                <a:gd name="T34" fmla="*/ 460 w 510"/>
                <a:gd name="T35" fmla="*/ 239 h 243"/>
                <a:gd name="T36" fmla="*/ 418 w 510"/>
                <a:gd name="T37" fmla="*/ 227 h 243"/>
                <a:gd name="T38" fmla="*/ 406 w 510"/>
                <a:gd name="T39" fmla="*/ 243 h 243"/>
                <a:gd name="T40" fmla="*/ 397 w 510"/>
                <a:gd name="T41" fmla="*/ 243 h 243"/>
                <a:gd name="T42" fmla="*/ 368 w 510"/>
                <a:gd name="T43" fmla="*/ 239 h 243"/>
                <a:gd name="T44" fmla="*/ 331 w 510"/>
                <a:gd name="T45" fmla="*/ 199 h 243"/>
                <a:gd name="T46" fmla="*/ 288 w 510"/>
                <a:gd name="T47" fmla="*/ 189 h 243"/>
                <a:gd name="T48" fmla="*/ 271 w 510"/>
                <a:gd name="T49" fmla="*/ 166 h 243"/>
                <a:gd name="T50" fmla="*/ 243 w 510"/>
                <a:gd name="T51" fmla="*/ 182 h 243"/>
                <a:gd name="T52" fmla="*/ 222 w 510"/>
                <a:gd name="T53" fmla="*/ 189 h 243"/>
                <a:gd name="T54" fmla="*/ 163 w 510"/>
                <a:gd name="T55" fmla="*/ 170 h 243"/>
                <a:gd name="T56" fmla="*/ 146 w 510"/>
                <a:gd name="T57" fmla="*/ 182 h 243"/>
                <a:gd name="T58" fmla="*/ 134 w 510"/>
                <a:gd name="T59" fmla="*/ 170 h 243"/>
                <a:gd name="T60" fmla="*/ 113 w 510"/>
                <a:gd name="T61" fmla="*/ 170 h 243"/>
                <a:gd name="T62" fmla="*/ 75 w 510"/>
                <a:gd name="T63" fmla="*/ 170 h 243"/>
                <a:gd name="T64" fmla="*/ 21 w 510"/>
                <a:gd name="T65" fmla="*/ 189 h 243"/>
                <a:gd name="T66" fmla="*/ 16 w 510"/>
                <a:gd name="T67" fmla="*/ 206 h 243"/>
                <a:gd name="T68" fmla="*/ 0 w 510"/>
                <a:gd name="T69" fmla="*/ 206 h 243"/>
                <a:gd name="T70" fmla="*/ 0 w 510"/>
                <a:gd name="T71" fmla="*/ 170 h 243"/>
                <a:gd name="T72" fmla="*/ 0 w 510"/>
                <a:gd name="T73" fmla="*/ 154 h 243"/>
                <a:gd name="T74" fmla="*/ 5 w 510"/>
                <a:gd name="T75" fmla="*/ 166 h 243"/>
                <a:gd name="T76" fmla="*/ 0 w 510"/>
                <a:gd name="T77" fmla="*/ 128 h 243"/>
                <a:gd name="T78" fmla="*/ 21 w 510"/>
                <a:gd name="T79" fmla="*/ 111 h 243"/>
                <a:gd name="T80" fmla="*/ 26 w 510"/>
                <a:gd name="T81" fmla="*/ 76 h 243"/>
                <a:gd name="T82" fmla="*/ 54 w 510"/>
                <a:gd name="T83" fmla="*/ 55 h 243"/>
                <a:gd name="T84" fmla="*/ 113 w 510"/>
                <a:gd name="T85" fmla="*/ 33 h 243"/>
                <a:gd name="T86" fmla="*/ 113 w 510"/>
                <a:gd name="T87" fmla="*/ 43 h 243"/>
                <a:gd name="T88" fmla="*/ 146 w 510"/>
                <a:gd name="T89" fmla="*/ 71 h 243"/>
                <a:gd name="T90" fmla="*/ 151 w 510"/>
                <a:gd name="T91" fmla="*/ 99 h 243"/>
                <a:gd name="T92" fmla="*/ 189 w 510"/>
                <a:gd name="T93" fmla="*/ 111 h 243"/>
                <a:gd name="T94" fmla="*/ 238 w 510"/>
                <a:gd name="T95" fmla="*/ 88 h 243"/>
                <a:gd name="T96" fmla="*/ 234 w 510"/>
                <a:gd name="T97" fmla="*/ 21 h 243"/>
                <a:gd name="T98" fmla="*/ 234 w 510"/>
                <a:gd name="T99" fmla="*/ 21 h 243"/>
                <a:gd name="T100" fmla="*/ 234 w 510"/>
                <a:gd name="T101" fmla="*/ 21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510" h="243">
                  <a:moveTo>
                    <a:pt x="234" y="21"/>
                  </a:moveTo>
                  <a:lnTo>
                    <a:pt x="288" y="0"/>
                  </a:lnTo>
                  <a:lnTo>
                    <a:pt x="297" y="5"/>
                  </a:lnTo>
                  <a:lnTo>
                    <a:pt x="297" y="0"/>
                  </a:lnTo>
                  <a:lnTo>
                    <a:pt x="352" y="21"/>
                  </a:lnTo>
                  <a:lnTo>
                    <a:pt x="385" y="55"/>
                  </a:lnTo>
                  <a:lnTo>
                    <a:pt x="418" y="43"/>
                  </a:lnTo>
                  <a:lnTo>
                    <a:pt x="451" y="55"/>
                  </a:lnTo>
                  <a:lnTo>
                    <a:pt x="456" y="55"/>
                  </a:lnTo>
                  <a:lnTo>
                    <a:pt x="456" y="59"/>
                  </a:lnTo>
                  <a:lnTo>
                    <a:pt x="477" y="76"/>
                  </a:lnTo>
                  <a:lnTo>
                    <a:pt x="472" y="116"/>
                  </a:lnTo>
                  <a:lnTo>
                    <a:pt x="489" y="128"/>
                  </a:lnTo>
                  <a:lnTo>
                    <a:pt x="510" y="182"/>
                  </a:lnTo>
                  <a:lnTo>
                    <a:pt x="505" y="199"/>
                  </a:lnTo>
                  <a:lnTo>
                    <a:pt x="489" y="199"/>
                  </a:lnTo>
                  <a:lnTo>
                    <a:pt x="460" y="222"/>
                  </a:lnTo>
                  <a:lnTo>
                    <a:pt x="460" y="239"/>
                  </a:lnTo>
                  <a:lnTo>
                    <a:pt x="418" y="227"/>
                  </a:lnTo>
                  <a:lnTo>
                    <a:pt x="406" y="243"/>
                  </a:lnTo>
                  <a:lnTo>
                    <a:pt x="397" y="243"/>
                  </a:lnTo>
                  <a:lnTo>
                    <a:pt x="368" y="239"/>
                  </a:lnTo>
                  <a:lnTo>
                    <a:pt x="331" y="199"/>
                  </a:lnTo>
                  <a:lnTo>
                    <a:pt x="288" y="189"/>
                  </a:lnTo>
                  <a:lnTo>
                    <a:pt x="271" y="166"/>
                  </a:lnTo>
                  <a:lnTo>
                    <a:pt x="243" y="182"/>
                  </a:lnTo>
                  <a:lnTo>
                    <a:pt x="222" y="189"/>
                  </a:lnTo>
                  <a:lnTo>
                    <a:pt x="163" y="170"/>
                  </a:lnTo>
                  <a:lnTo>
                    <a:pt x="146" y="182"/>
                  </a:lnTo>
                  <a:lnTo>
                    <a:pt x="134" y="170"/>
                  </a:lnTo>
                  <a:lnTo>
                    <a:pt x="113" y="170"/>
                  </a:lnTo>
                  <a:lnTo>
                    <a:pt x="75" y="170"/>
                  </a:lnTo>
                  <a:lnTo>
                    <a:pt x="21" y="189"/>
                  </a:lnTo>
                  <a:lnTo>
                    <a:pt x="16" y="206"/>
                  </a:lnTo>
                  <a:lnTo>
                    <a:pt x="0" y="206"/>
                  </a:lnTo>
                  <a:lnTo>
                    <a:pt x="0" y="170"/>
                  </a:lnTo>
                  <a:lnTo>
                    <a:pt x="0" y="154"/>
                  </a:lnTo>
                  <a:lnTo>
                    <a:pt x="5" y="166"/>
                  </a:lnTo>
                  <a:lnTo>
                    <a:pt x="0" y="128"/>
                  </a:lnTo>
                  <a:lnTo>
                    <a:pt x="21" y="111"/>
                  </a:lnTo>
                  <a:lnTo>
                    <a:pt x="26" y="76"/>
                  </a:lnTo>
                  <a:lnTo>
                    <a:pt x="54" y="55"/>
                  </a:lnTo>
                  <a:lnTo>
                    <a:pt x="113" y="33"/>
                  </a:lnTo>
                  <a:lnTo>
                    <a:pt x="113" y="43"/>
                  </a:lnTo>
                  <a:lnTo>
                    <a:pt x="146" y="71"/>
                  </a:lnTo>
                  <a:lnTo>
                    <a:pt x="151" y="99"/>
                  </a:lnTo>
                  <a:lnTo>
                    <a:pt x="189" y="111"/>
                  </a:lnTo>
                  <a:lnTo>
                    <a:pt x="238" y="88"/>
                  </a:lnTo>
                  <a:lnTo>
                    <a:pt x="234" y="21"/>
                  </a:lnTo>
                  <a:lnTo>
                    <a:pt x="234" y="21"/>
                  </a:lnTo>
                  <a:lnTo>
                    <a:pt x="234" y="21"/>
                  </a:lnTo>
                  <a:close/>
                </a:path>
              </a:pathLst>
            </a:custGeom>
            <a:solidFill>
              <a:schemeClr val="bg2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48" name="Freeform 492">
              <a:extLst>
                <a:ext uri="{FF2B5EF4-FFF2-40B4-BE49-F238E27FC236}">
                  <a16:creationId xmlns:a16="http://schemas.microsoft.com/office/drawing/2014/main" id="{F245788C-8731-497C-9823-D4F0923D66C7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386154" y="2040948"/>
              <a:ext cx="64153" cy="40215"/>
            </a:xfrm>
            <a:custGeom>
              <a:avLst/>
              <a:gdLst>
                <a:gd name="T0" fmla="*/ 137 w 418"/>
                <a:gd name="T1" fmla="*/ 212 h 262"/>
                <a:gd name="T2" fmla="*/ 126 w 418"/>
                <a:gd name="T3" fmla="*/ 200 h 262"/>
                <a:gd name="T4" fmla="*/ 137 w 418"/>
                <a:gd name="T5" fmla="*/ 184 h 262"/>
                <a:gd name="T6" fmla="*/ 142 w 418"/>
                <a:gd name="T7" fmla="*/ 167 h 262"/>
                <a:gd name="T8" fmla="*/ 121 w 418"/>
                <a:gd name="T9" fmla="*/ 146 h 262"/>
                <a:gd name="T10" fmla="*/ 88 w 418"/>
                <a:gd name="T11" fmla="*/ 146 h 262"/>
                <a:gd name="T12" fmla="*/ 33 w 418"/>
                <a:gd name="T13" fmla="*/ 118 h 262"/>
                <a:gd name="T14" fmla="*/ 29 w 418"/>
                <a:gd name="T15" fmla="*/ 129 h 262"/>
                <a:gd name="T16" fmla="*/ 29 w 418"/>
                <a:gd name="T17" fmla="*/ 113 h 262"/>
                <a:gd name="T18" fmla="*/ 29 w 418"/>
                <a:gd name="T19" fmla="*/ 113 h 262"/>
                <a:gd name="T20" fmla="*/ 29 w 418"/>
                <a:gd name="T21" fmla="*/ 101 h 262"/>
                <a:gd name="T22" fmla="*/ 12 w 418"/>
                <a:gd name="T23" fmla="*/ 73 h 262"/>
                <a:gd name="T24" fmla="*/ 12 w 418"/>
                <a:gd name="T25" fmla="*/ 40 h 262"/>
                <a:gd name="T26" fmla="*/ 29 w 418"/>
                <a:gd name="T27" fmla="*/ 40 h 262"/>
                <a:gd name="T28" fmla="*/ 33 w 418"/>
                <a:gd name="T29" fmla="*/ 23 h 262"/>
                <a:gd name="T30" fmla="*/ 88 w 418"/>
                <a:gd name="T31" fmla="*/ 7 h 262"/>
                <a:gd name="T32" fmla="*/ 126 w 418"/>
                <a:gd name="T33" fmla="*/ 7 h 262"/>
                <a:gd name="T34" fmla="*/ 147 w 418"/>
                <a:gd name="T35" fmla="*/ 7 h 262"/>
                <a:gd name="T36" fmla="*/ 159 w 418"/>
                <a:gd name="T37" fmla="*/ 16 h 262"/>
                <a:gd name="T38" fmla="*/ 175 w 418"/>
                <a:gd name="T39" fmla="*/ 7 h 262"/>
                <a:gd name="T40" fmla="*/ 234 w 418"/>
                <a:gd name="T41" fmla="*/ 23 h 262"/>
                <a:gd name="T42" fmla="*/ 256 w 418"/>
                <a:gd name="T43" fmla="*/ 16 h 262"/>
                <a:gd name="T44" fmla="*/ 281 w 418"/>
                <a:gd name="T45" fmla="*/ 0 h 262"/>
                <a:gd name="T46" fmla="*/ 298 w 418"/>
                <a:gd name="T47" fmla="*/ 23 h 262"/>
                <a:gd name="T48" fmla="*/ 341 w 418"/>
                <a:gd name="T49" fmla="*/ 35 h 262"/>
                <a:gd name="T50" fmla="*/ 378 w 418"/>
                <a:gd name="T51" fmla="*/ 73 h 262"/>
                <a:gd name="T52" fmla="*/ 407 w 418"/>
                <a:gd name="T53" fmla="*/ 77 h 262"/>
                <a:gd name="T54" fmla="*/ 395 w 418"/>
                <a:gd name="T55" fmla="*/ 113 h 262"/>
                <a:gd name="T56" fmla="*/ 418 w 418"/>
                <a:gd name="T57" fmla="*/ 118 h 262"/>
                <a:gd name="T58" fmla="*/ 395 w 418"/>
                <a:gd name="T59" fmla="*/ 134 h 262"/>
                <a:gd name="T60" fmla="*/ 378 w 418"/>
                <a:gd name="T61" fmla="*/ 134 h 262"/>
                <a:gd name="T62" fmla="*/ 374 w 418"/>
                <a:gd name="T63" fmla="*/ 151 h 262"/>
                <a:gd name="T64" fmla="*/ 341 w 418"/>
                <a:gd name="T65" fmla="*/ 155 h 262"/>
                <a:gd name="T66" fmla="*/ 341 w 418"/>
                <a:gd name="T67" fmla="*/ 191 h 262"/>
                <a:gd name="T68" fmla="*/ 326 w 418"/>
                <a:gd name="T69" fmla="*/ 212 h 262"/>
                <a:gd name="T70" fmla="*/ 341 w 418"/>
                <a:gd name="T71" fmla="*/ 212 h 262"/>
                <a:gd name="T72" fmla="*/ 341 w 418"/>
                <a:gd name="T73" fmla="*/ 229 h 262"/>
                <a:gd name="T74" fmla="*/ 326 w 418"/>
                <a:gd name="T75" fmla="*/ 229 h 262"/>
                <a:gd name="T76" fmla="*/ 336 w 418"/>
                <a:gd name="T77" fmla="*/ 224 h 262"/>
                <a:gd name="T78" fmla="*/ 326 w 418"/>
                <a:gd name="T79" fmla="*/ 212 h 262"/>
                <a:gd name="T80" fmla="*/ 298 w 418"/>
                <a:gd name="T81" fmla="*/ 240 h 262"/>
                <a:gd name="T82" fmla="*/ 281 w 418"/>
                <a:gd name="T83" fmla="*/ 229 h 262"/>
                <a:gd name="T84" fmla="*/ 281 w 418"/>
                <a:gd name="T85" fmla="*/ 257 h 262"/>
                <a:gd name="T86" fmla="*/ 265 w 418"/>
                <a:gd name="T87" fmla="*/ 245 h 262"/>
                <a:gd name="T88" fmla="*/ 251 w 418"/>
                <a:gd name="T89" fmla="*/ 262 h 262"/>
                <a:gd name="T90" fmla="*/ 234 w 418"/>
                <a:gd name="T91" fmla="*/ 257 h 262"/>
                <a:gd name="T92" fmla="*/ 189 w 418"/>
                <a:gd name="T93" fmla="*/ 257 h 262"/>
                <a:gd name="T94" fmla="*/ 180 w 418"/>
                <a:gd name="T95" fmla="*/ 240 h 262"/>
                <a:gd name="T96" fmla="*/ 175 w 418"/>
                <a:gd name="T97" fmla="*/ 224 h 262"/>
                <a:gd name="T98" fmla="*/ 147 w 418"/>
                <a:gd name="T99" fmla="*/ 207 h 262"/>
                <a:gd name="T100" fmla="*/ 137 w 418"/>
                <a:gd name="T101" fmla="*/ 212 h 262"/>
                <a:gd name="T102" fmla="*/ 137 w 418"/>
                <a:gd name="T103" fmla="*/ 212 h 262"/>
                <a:gd name="T104" fmla="*/ 137 w 418"/>
                <a:gd name="T105" fmla="*/ 212 h 262"/>
                <a:gd name="T106" fmla="*/ 12 w 418"/>
                <a:gd name="T107" fmla="*/ 118 h 262"/>
                <a:gd name="T108" fmla="*/ 0 w 418"/>
                <a:gd name="T109" fmla="*/ 118 h 262"/>
                <a:gd name="T110" fmla="*/ 17 w 418"/>
                <a:gd name="T111" fmla="*/ 94 h 262"/>
                <a:gd name="T112" fmla="*/ 17 w 418"/>
                <a:gd name="T113" fmla="*/ 77 h 262"/>
                <a:gd name="T114" fmla="*/ 17 w 418"/>
                <a:gd name="T115" fmla="*/ 101 h 262"/>
                <a:gd name="T116" fmla="*/ 12 w 418"/>
                <a:gd name="T117" fmla="*/ 118 h 262"/>
                <a:gd name="T118" fmla="*/ 12 w 418"/>
                <a:gd name="T119" fmla="*/ 118 h 262"/>
                <a:gd name="T120" fmla="*/ 12 w 418"/>
                <a:gd name="T121" fmla="*/ 118 h 2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18" h="262">
                  <a:moveTo>
                    <a:pt x="137" y="212"/>
                  </a:moveTo>
                  <a:lnTo>
                    <a:pt x="126" y="200"/>
                  </a:lnTo>
                  <a:lnTo>
                    <a:pt x="137" y="184"/>
                  </a:lnTo>
                  <a:lnTo>
                    <a:pt x="142" y="167"/>
                  </a:lnTo>
                  <a:lnTo>
                    <a:pt x="121" y="146"/>
                  </a:lnTo>
                  <a:lnTo>
                    <a:pt x="88" y="146"/>
                  </a:lnTo>
                  <a:lnTo>
                    <a:pt x="33" y="118"/>
                  </a:lnTo>
                  <a:lnTo>
                    <a:pt x="29" y="129"/>
                  </a:lnTo>
                  <a:lnTo>
                    <a:pt x="29" y="113"/>
                  </a:lnTo>
                  <a:lnTo>
                    <a:pt x="29" y="113"/>
                  </a:lnTo>
                  <a:lnTo>
                    <a:pt x="29" y="101"/>
                  </a:lnTo>
                  <a:lnTo>
                    <a:pt x="12" y="73"/>
                  </a:lnTo>
                  <a:lnTo>
                    <a:pt x="12" y="40"/>
                  </a:lnTo>
                  <a:lnTo>
                    <a:pt x="29" y="40"/>
                  </a:lnTo>
                  <a:lnTo>
                    <a:pt x="33" y="23"/>
                  </a:lnTo>
                  <a:lnTo>
                    <a:pt x="88" y="7"/>
                  </a:lnTo>
                  <a:lnTo>
                    <a:pt x="126" y="7"/>
                  </a:lnTo>
                  <a:lnTo>
                    <a:pt x="147" y="7"/>
                  </a:lnTo>
                  <a:lnTo>
                    <a:pt x="159" y="16"/>
                  </a:lnTo>
                  <a:lnTo>
                    <a:pt x="175" y="7"/>
                  </a:lnTo>
                  <a:lnTo>
                    <a:pt x="234" y="23"/>
                  </a:lnTo>
                  <a:lnTo>
                    <a:pt x="256" y="16"/>
                  </a:lnTo>
                  <a:lnTo>
                    <a:pt x="281" y="0"/>
                  </a:lnTo>
                  <a:lnTo>
                    <a:pt x="298" y="23"/>
                  </a:lnTo>
                  <a:lnTo>
                    <a:pt x="341" y="35"/>
                  </a:lnTo>
                  <a:lnTo>
                    <a:pt x="378" y="73"/>
                  </a:lnTo>
                  <a:lnTo>
                    <a:pt x="407" y="77"/>
                  </a:lnTo>
                  <a:lnTo>
                    <a:pt x="395" y="113"/>
                  </a:lnTo>
                  <a:lnTo>
                    <a:pt x="418" y="118"/>
                  </a:lnTo>
                  <a:lnTo>
                    <a:pt x="395" y="134"/>
                  </a:lnTo>
                  <a:lnTo>
                    <a:pt x="378" y="134"/>
                  </a:lnTo>
                  <a:lnTo>
                    <a:pt x="374" y="151"/>
                  </a:lnTo>
                  <a:lnTo>
                    <a:pt x="341" y="155"/>
                  </a:lnTo>
                  <a:lnTo>
                    <a:pt x="341" y="191"/>
                  </a:lnTo>
                  <a:lnTo>
                    <a:pt x="326" y="212"/>
                  </a:lnTo>
                  <a:lnTo>
                    <a:pt x="341" y="212"/>
                  </a:lnTo>
                  <a:lnTo>
                    <a:pt x="341" y="229"/>
                  </a:lnTo>
                  <a:lnTo>
                    <a:pt x="326" y="229"/>
                  </a:lnTo>
                  <a:lnTo>
                    <a:pt x="336" y="224"/>
                  </a:lnTo>
                  <a:lnTo>
                    <a:pt x="326" y="212"/>
                  </a:lnTo>
                  <a:lnTo>
                    <a:pt x="298" y="240"/>
                  </a:lnTo>
                  <a:lnTo>
                    <a:pt x="281" y="229"/>
                  </a:lnTo>
                  <a:lnTo>
                    <a:pt x="281" y="257"/>
                  </a:lnTo>
                  <a:lnTo>
                    <a:pt x="265" y="245"/>
                  </a:lnTo>
                  <a:lnTo>
                    <a:pt x="251" y="262"/>
                  </a:lnTo>
                  <a:lnTo>
                    <a:pt x="234" y="257"/>
                  </a:lnTo>
                  <a:lnTo>
                    <a:pt x="189" y="257"/>
                  </a:lnTo>
                  <a:lnTo>
                    <a:pt x="180" y="240"/>
                  </a:lnTo>
                  <a:lnTo>
                    <a:pt x="175" y="224"/>
                  </a:lnTo>
                  <a:lnTo>
                    <a:pt x="147" y="207"/>
                  </a:lnTo>
                  <a:lnTo>
                    <a:pt x="137" y="212"/>
                  </a:lnTo>
                  <a:lnTo>
                    <a:pt x="137" y="212"/>
                  </a:lnTo>
                  <a:lnTo>
                    <a:pt x="137" y="212"/>
                  </a:lnTo>
                  <a:close/>
                  <a:moveTo>
                    <a:pt x="12" y="118"/>
                  </a:moveTo>
                  <a:lnTo>
                    <a:pt x="0" y="118"/>
                  </a:lnTo>
                  <a:lnTo>
                    <a:pt x="17" y="94"/>
                  </a:lnTo>
                  <a:lnTo>
                    <a:pt x="17" y="77"/>
                  </a:lnTo>
                  <a:lnTo>
                    <a:pt x="17" y="101"/>
                  </a:lnTo>
                  <a:lnTo>
                    <a:pt x="12" y="118"/>
                  </a:lnTo>
                  <a:lnTo>
                    <a:pt x="12" y="118"/>
                  </a:lnTo>
                  <a:lnTo>
                    <a:pt x="12" y="118"/>
                  </a:lnTo>
                  <a:close/>
                </a:path>
              </a:pathLst>
            </a:custGeom>
            <a:solidFill>
              <a:schemeClr val="bg2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49" name="Freeform 493">
              <a:extLst>
                <a:ext uri="{FF2B5EF4-FFF2-40B4-BE49-F238E27FC236}">
                  <a16:creationId xmlns:a16="http://schemas.microsoft.com/office/drawing/2014/main" id="{C5EE0F28-A831-4C7D-AD83-717C1727785F}"/>
                </a:ext>
              </a:extLst>
            </p:cNvPr>
            <p:cNvSpPr>
              <a:spLocks/>
            </p:cNvSpPr>
            <p:nvPr/>
          </p:nvSpPr>
          <p:spPr bwMode="gray">
            <a:xfrm>
              <a:off x="6037767" y="2647855"/>
              <a:ext cx="44354" cy="46048"/>
            </a:xfrm>
            <a:custGeom>
              <a:avLst/>
              <a:gdLst>
                <a:gd name="T0" fmla="*/ 0 w 289"/>
                <a:gd name="T1" fmla="*/ 115 h 300"/>
                <a:gd name="T2" fmla="*/ 12 w 289"/>
                <a:gd name="T3" fmla="*/ 94 h 300"/>
                <a:gd name="T4" fmla="*/ 38 w 289"/>
                <a:gd name="T5" fmla="*/ 71 h 300"/>
                <a:gd name="T6" fmla="*/ 66 w 289"/>
                <a:gd name="T7" fmla="*/ 54 h 300"/>
                <a:gd name="T8" fmla="*/ 66 w 289"/>
                <a:gd name="T9" fmla="*/ 33 h 300"/>
                <a:gd name="T10" fmla="*/ 76 w 289"/>
                <a:gd name="T11" fmla="*/ 21 h 300"/>
                <a:gd name="T12" fmla="*/ 88 w 289"/>
                <a:gd name="T13" fmla="*/ 0 h 300"/>
                <a:gd name="T14" fmla="*/ 121 w 289"/>
                <a:gd name="T15" fmla="*/ 0 h 300"/>
                <a:gd name="T16" fmla="*/ 142 w 289"/>
                <a:gd name="T17" fmla="*/ 16 h 300"/>
                <a:gd name="T18" fmla="*/ 147 w 289"/>
                <a:gd name="T19" fmla="*/ 54 h 300"/>
                <a:gd name="T20" fmla="*/ 142 w 289"/>
                <a:gd name="T21" fmla="*/ 87 h 300"/>
                <a:gd name="T22" fmla="*/ 147 w 289"/>
                <a:gd name="T23" fmla="*/ 75 h 300"/>
                <a:gd name="T24" fmla="*/ 163 w 289"/>
                <a:gd name="T25" fmla="*/ 94 h 300"/>
                <a:gd name="T26" fmla="*/ 185 w 289"/>
                <a:gd name="T27" fmla="*/ 87 h 300"/>
                <a:gd name="T28" fmla="*/ 196 w 289"/>
                <a:gd name="T29" fmla="*/ 59 h 300"/>
                <a:gd name="T30" fmla="*/ 201 w 289"/>
                <a:gd name="T31" fmla="*/ 59 h 300"/>
                <a:gd name="T32" fmla="*/ 213 w 289"/>
                <a:gd name="T33" fmla="*/ 71 h 300"/>
                <a:gd name="T34" fmla="*/ 229 w 289"/>
                <a:gd name="T35" fmla="*/ 94 h 300"/>
                <a:gd name="T36" fmla="*/ 218 w 289"/>
                <a:gd name="T37" fmla="*/ 115 h 300"/>
                <a:gd name="T38" fmla="*/ 201 w 289"/>
                <a:gd name="T39" fmla="*/ 144 h 300"/>
                <a:gd name="T40" fmla="*/ 234 w 289"/>
                <a:gd name="T41" fmla="*/ 165 h 300"/>
                <a:gd name="T42" fmla="*/ 251 w 289"/>
                <a:gd name="T43" fmla="*/ 165 h 300"/>
                <a:gd name="T44" fmla="*/ 255 w 289"/>
                <a:gd name="T45" fmla="*/ 189 h 300"/>
                <a:gd name="T46" fmla="*/ 289 w 289"/>
                <a:gd name="T47" fmla="*/ 189 h 300"/>
                <a:gd name="T48" fmla="*/ 289 w 289"/>
                <a:gd name="T49" fmla="*/ 215 h 300"/>
                <a:gd name="T50" fmla="*/ 284 w 289"/>
                <a:gd name="T51" fmla="*/ 222 h 300"/>
                <a:gd name="T52" fmla="*/ 289 w 289"/>
                <a:gd name="T53" fmla="*/ 227 h 300"/>
                <a:gd name="T54" fmla="*/ 272 w 289"/>
                <a:gd name="T55" fmla="*/ 260 h 300"/>
                <a:gd name="T56" fmla="*/ 284 w 289"/>
                <a:gd name="T57" fmla="*/ 300 h 300"/>
                <a:gd name="T58" fmla="*/ 229 w 289"/>
                <a:gd name="T59" fmla="*/ 283 h 300"/>
                <a:gd name="T60" fmla="*/ 163 w 289"/>
                <a:gd name="T61" fmla="*/ 255 h 300"/>
                <a:gd name="T62" fmla="*/ 76 w 289"/>
                <a:gd name="T63" fmla="*/ 165 h 300"/>
                <a:gd name="T64" fmla="*/ 50 w 289"/>
                <a:gd name="T65" fmla="*/ 165 h 300"/>
                <a:gd name="T66" fmla="*/ 38 w 289"/>
                <a:gd name="T67" fmla="*/ 149 h 300"/>
                <a:gd name="T68" fmla="*/ 12 w 289"/>
                <a:gd name="T69" fmla="*/ 132 h 300"/>
                <a:gd name="T70" fmla="*/ 0 w 289"/>
                <a:gd name="T71" fmla="*/ 115 h 300"/>
                <a:gd name="T72" fmla="*/ 0 w 289"/>
                <a:gd name="T73" fmla="*/ 115 h 300"/>
                <a:gd name="T74" fmla="*/ 0 w 289"/>
                <a:gd name="T75" fmla="*/ 115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289" h="300">
                  <a:moveTo>
                    <a:pt x="0" y="115"/>
                  </a:moveTo>
                  <a:lnTo>
                    <a:pt x="12" y="94"/>
                  </a:lnTo>
                  <a:lnTo>
                    <a:pt x="38" y="71"/>
                  </a:lnTo>
                  <a:lnTo>
                    <a:pt x="66" y="54"/>
                  </a:lnTo>
                  <a:lnTo>
                    <a:pt x="66" y="33"/>
                  </a:lnTo>
                  <a:lnTo>
                    <a:pt x="76" y="21"/>
                  </a:lnTo>
                  <a:lnTo>
                    <a:pt x="88" y="0"/>
                  </a:lnTo>
                  <a:lnTo>
                    <a:pt x="121" y="0"/>
                  </a:lnTo>
                  <a:lnTo>
                    <a:pt x="142" y="16"/>
                  </a:lnTo>
                  <a:lnTo>
                    <a:pt x="147" y="54"/>
                  </a:lnTo>
                  <a:lnTo>
                    <a:pt x="142" y="87"/>
                  </a:lnTo>
                  <a:lnTo>
                    <a:pt x="147" y="75"/>
                  </a:lnTo>
                  <a:lnTo>
                    <a:pt x="163" y="94"/>
                  </a:lnTo>
                  <a:lnTo>
                    <a:pt x="185" y="87"/>
                  </a:lnTo>
                  <a:lnTo>
                    <a:pt x="196" y="59"/>
                  </a:lnTo>
                  <a:lnTo>
                    <a:pt x="201" y="59"/>
                  </a:lnTo>
                  <a:lnTo>
                    <a:pt x="213" y="71"/>
                  </a:lnTo>
                  <a:lnTo>
                    <a:pt x="229" y="94"/>
                  </a:lnTo>
                  <a:lnTo>
                    <a:pt x="218" y="115"/>
                  </a:lnTo>
                  <a:lnTo>
                    <a:pt x="201" y="144"/>
                  </a:lnTo>
                  <a:lnTo>
                    <a:pt x="234" y="165"/>
                  </a:lnTo>
                  <a:lnTo>
                    <a:pt x="251" y="165"/>
                  </a:lnTo>
                  <a:lnTo>
                    <a:pt x="255" y="189"/>
                  </a:lnTo>
                  <a:lnTo>
                    <a:pt x="289" y="189"/>
                  </a:lnTo>
                  <a:lnTo>
                    <a:pt x="289" y="215"/>
                  </a:lnTo>
                  <a:lnTo>
                    <a:pt x="284" y="222"/>
                  </a:lnTo>
                  <a:lnTo>
                    <a:pt x="289" y="227"/>
                  </a:lnTo>
                  <a:lnTo>
                    <a:pt x="272" y="260"/>
                  </a:lnTo>
                  <a:lnTo>
                    <a:pt x="284" y="300"/>
                  </a:lnTo>
                  <a:lnTo>
                    <a:pt x="229" y="283"/>
                  </a:lnTo>
                  <a:lnTo>
                    <a:pt x="163" y="255"/>
                  </a:lnTo>
                  <a:lnTo>
                    <a:pt x="76" y="165"/>
                  </a:lnTo>
                  <a:lnTo>
                    <a:pt x="50" y="165"/>
                  </a:lnTo>
                  <a:lnTo>
                    <a:pt x="38" y="149"/>
                  </a:lnTo>
                  <a:lnTo>
                    <a:pt x="12" y="132"/>
                  </a:lnTo>
                  <a:lnTo>
                    <a:pt x="0" y="115"/>
                  </a:lnTo>
                  <a:lnTo>
                    <a:pt x="0" y="115"/>
                  </a:lnTo>
                  <a:lnTo>
                    <a:pt x="0" y="115"/>
                  </a:lnTo>
                  <a:close/>
                </a:path>
              </a:pathLst>
            </a:custGeom>
            <a:solidFill>
              <a:schemeClr val="bg2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50" name="Freeform 494">
              <a:extLst>
                <a:ext uri="{FF2B5EF4-FFF2-40B4-BE49-F238E27FC236}">
                  <a16:creationId xmlns:a16="http://schemas.microsoft.com/office/drawing/2014/main" id="{0B156ADF-1A70-41F4-9528-FC51ED325463}"/>
                </a:ext>
              </a:extLst>
            </p:cNvPr>
            <p:cNvSpPr>
              <a:spLocks/>
            </p:cNvSpPr>
            <p:nvPr/>
          </p:nvSpPr>
          <p:spPr bwMode="gray">
            <a:xfrm>
              <a:off x="6342414" y="2143788"/>
              <a:ext cx="61543" cy="25787"/>
            </a:xfrm>
            <a:custGeom>
              <a:avLst/>
              <a:gdLst>
                <a:gd name="T0" fmla="*/ 155 w 401"/>
                <a:gd name="T1" fmla="*/ 144 h 168"/>
                <a:gd name="T2" fmla="*/ 139 w 401"/>
                <a:gd name="T3" fmla="*/ 152 h 168"/>
                <a:gd name="T4" fmla="*/ 139 w 401"/>
                <a:gd name="T5" fmla="*/ 161 h 168"/>
                <a:gd name="T6" fmla="*/ 101 w 401"/>
                <a:gd name="T7" fmla="*/ 168 h 168"/>
                <a:gd name="T8" fmla="*/ 68 w 401"/>
                <a:gd name="T9" fmla="*/ 168 h 168"/>
                <a:gd name="T10" fmla="*/ 37 w 401"/>
                <a:gd name="T11" fmla="*/ 144 h 168"/>
                <a:gd name="T12" fmla="*/ 26 w 401"/>
                <a:gd name="T13" fmla="*/ 144 h 168"/>
                <a:gd name="T14" fmla="*/ 0 w 401"/>
                <a:gd name="T15" fmla="*/ 111 h 168"/>
                <a:gd name="T16" fmla="*/ 9 w 401"/>
                <a:gd name="T17" fmla="*/ 90 h 168"/>
                <a:gd name="T18" fmla="*/ 26 w 401"/>
                <a:gd name="T19" fmla="*/ 67 h 168"/>
                <a:gd name="T20" fmla="*/ 63 w 401"/>
                <a:gd name="T21" fmla="*/ 67 h 168"/>
                <a:gd name="T22" fmla="*/ 85 w 401"/>
                <a:gd name="T23" fmla="*/ 50 h 168"/>
                <a:gd name="T24" fmla="*/ 101 w 401"/>
                <a:gd name="T25" fmla="*/ 29 h 168"/>
                <a:gd name="T26" fmla="*/ 122 w 401"/>
                <a:gd name="T27" fmla="*/ 12 h 168"/>
                <a:gd name="T28" fmla="*/ 139 w 401"/>
                <a:gd name="T29" fmla="*/ 12 h 168"/>
                <a:gd name="T30" fmla="*/ 144 w 401"/>
                <a:gd name="T31" fmla="*/ 12 h 168"/>
                <a:gd name="T32" fmla="*/ 155 w 401"/>
                <a:gd name="T33" fmla="*/ 17 h 168"/>
                <a:gd name="T34" fmla="*/ 160 w 401"/>
                <a:gd name="T35" fmla="*/ 17 h 168"/>
                <a:gd name="T36" fmla="*/ 186 w 401"/>
                <a:gd name="T37" fmla="*/ 0 h 168"/>
                <a:gd name="T38" fmla="*/ 203 w 401"/>
                <a:gd name="T39" fmla="*/ 17 h 168"/>
                <a:gd name="T40" fmla="*/ 207 w 401"/>
                <a:gd name="T41" fmla="*/ 17 h 168"/>
                <a:gd name="T42" fmla="*/ 207 w 401"/>
                <a:gd name="T43" fmla="*/ 33 h 168"/>
                <a:gd name="T44" fmla="*/ 224 w 401"/>
                <a:gd name="T45" fmla="*/ 38 h 168"/>
                <a:gd name="T46" fmla="*/ 229 w 401"/>
                <a:gd name="T47" fmla="*/ 29 h 168"/>
                <a:gd name="T48" fmla="*/ 245 w 401"/>
                <a:gd name="T49" fmla="*/ 17 h 168"/>
                <a:gd name="T50" fmla="*/ 278 w 401"/>
                <a:gd name="T51" fmla="*/ 17 h 168"/>
                <a:gd name="T52" fmla="*/ 283 w 401"/>
                <a:gd name="T53" fmla="*/ 29 h 168"/>
                <a:gd name="T54" fmla="*/ 300 w 401"/>
                <a:gd name="T55" fmla="*/ 17 h 168"/>
                <a:gd name="T56" fmla="*/ 337 w 401"/>
                <a:gd name="T57" fmla="*/ 17 h 168"/>
                <a:gd name="T58" fmla="*/ 363 w 401"/>
                <a:gd name="T59" fmla="*/ 29 h 168"/>
                <a:gd name="T60" fmla="*/ 363 w 401"/>
                <a:gd name="T61" fmla="*/ 33 h 168"/>
                <a:gd name="T62" fmla="*/ 401 w 401"/>
                <a:gd name="T63" fmla="*/ 50 h 168"/>
                <a:gd name="T64" fmla="*/ 387 w 401"/>
                <a:gd name="T65" fmla="*/ 83 h 168"/>
                <a:gd name="T66" fmla="*/ 370 w 401"/>
                <a:gd name="T67" fmla="*/ 95 h 168"/>
                <a:gd name="T68" fmla="*/ 370 w 401"/>
                <a:gd name="T69" fmla="*/ 111 h 168"/>
                <a:gd name="T70" fmla="*/ 349 w 401"/>
                <a:gd name="T71" fmla="*/ 111 h 168"/>
                <a:gd name="T72" fmla="*/ 321 w 401"/>
                <a:gd name="T73" fmla="*/ 95 h 168"/>
                <a:gd name="T74" fmla="*/ 300 w 401"/>
                <a:gd name="T75" fmla="*/ 95 h 168"/>
                <a:gd name="T76" fmla="*/ 266 w 401"/>
                <a:gd name="T77" fmla="*/ 95 h 168"/>
                <a:gd name="T78" fmla="*/ 262 w 401"/>
                <a:gd name="T79" fmla="*/ 95 h 168"/>
                <a:gd name="T80" fmla="*/ 245 w 401"/>
                <a:gd name="T81" fmla="*/ 123 h 168"/>
                <a:gd name="T82" fmla="*/ 215 w 401"/>
                <a:gd name="T83" fmla="*/ 140 h 168"/>
                <a:gd name="T84" fmla="*/ 193 w 401"/>
                <a:gd name="T85" fmla="*/ 128 h 168"/>
                <a:gd name="T86" fmla="*/ 186 w 401"/>
                <a:gd name="T87" fmla="*/ 140 h 168"/>
                <a:gd name="T88" fmla="*/ 155 w 401"/>
                <a:gd name="T89" fmla="*/ 144 h 168"/>
                <a:gd name="T90" fmla="*/ 155 w 401"/>
                <a:gd name="T91" fmla="*/ 144 h 168"/>
                <a:gd name="T92" fmla="*/ 155 w 401"/>
                <a:gd name="T93" fmla="*/ 144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401" h="168">
                  <a:moveTo>
                    <a:pt x="155" y="144"/>
                  </a:moveTo>
                  <a:lnTo>
                    <a:pt x="139" y="152"/>
                  </a:lnTo>
                  <a:lnTo>
                    <a:pt x="139" y="161"/>
                  </a:lnTo>
                  <a:lnTo>
                    <a:pt x="101" y="168"/>
                  </a:lnTo>
                  <a:lnTo>
                    <a:pt x="68" y="168"/>
                  </a:lnTo>
                  <a:lnTo>
                    <a:pt x="37" y="144"/>
                  </a:lnTo>
                  <a:lnTo>
                    <a:pt x="26" y="144"/>
                  </a:lnTo>
                  <a:lnTo>
                    <a:pt x="0" y="111"/>
                  </a:lnTo>
                  <a:lnTo>
                    <a:pt x="9" y="90"/>
                  </a:lnTo>
                  <a:lnTo>
                    <a:pt x="26" y="67"/>
                  </a:lnTo>
                  <a:lnTo>
                    <a:pt x="63" y="67"/>
                  </a:lnTo>
                  <a:lnTo>
                    <a:pt x="85" y="50"/>
                  </a:lnTo>
                  <a:lnTo>
                    <a:pt x="101" y="29"/>
                  </a:lnTo>
                  <a:lnTo>
                    <a:pt x="122" y="12"/>
                  </a:lnTo>
                  <a:lnTo>
                    <a:pt x="139" y="12"/>
                  </a:lnTo>
                  <a:lnTo>
                    <a:pt x="144" y="12"/>
                  </a:lnTo>
                  <a:lnTo>
                    <a:pt x="155" y="17"/>
                  </a:lnTo>
                  <a:lnTo>
                    <a:pt x="160" y="17"/>
                  </a:lnTo>
                  <a:lnTo>
                    <a:pt x="186" y="0"/>
                  </a:lnTo>
                  <a:lnTo>
                    <a:pt x="203" y="17"/>
                  </a:lnTo>
                  <a:lnTo>
                    <a:pt x="207" y="17"/>
                  </a:lnTo>
                  <a:lnTo>
                    <a:pt x="207" y="33"/>
                  </a:lnTo>
                  <a:lnTo>
                    <a:pt x="224" y="38"/>
                  </a:lnTo>
                  <a:lnTo>
                    <a:pt x="229" y="29"/>
                  </a:lnTo>
                  <a:lnTo>
                    <a:pt x="245" y="17"/>
                  </a:lnTo>
                  <a:lnTo>
                    <a:pt x="278" y="17"/>
                  </a:lnTo>
                  <a:lnTo>
                    <a:pt x="283" y="29"/>
                  </a:lnTo>
                  <a:lnTo>
                    <a:pt x="300" y="17"/>
                  </a:lnTo>
                  <a:lnTo>
                    <a:pt x="337" y="17"/>
                  </a:lnTo>
                  <a:lnTo>
                    <a:pt x="363" y="29"/>
                  </a:lnTo>
                  <a:lnTo>
                    <a:pt x="363" y="33"/>
                  </a:lnTo>
                  <a:lnTo>
                    <a:pt x="401" y="50"/>
                  </a:lnTo>
                  <a:lnTo>
                    <a:pt x="387" y="83"/>
                  </a:lnTo>
                  <a:lnTo>
                    <a:pt x="370" y="95"/>
                  </a:lnTo>
                  <a:lnTo>
                    <a:pt x="370" y="111"/>
                  </a:lnTo>
                  <a:lnTo>
                    <a:pt x="349" y="111"/>
                  </a:lnTo>
                  <a:lnTo>
                    <a:pt x="321" y="95"/>
                  </a:lnTo>
                  <a:lnTo>
                    <a:pt x="300" y="95"/>
                  </a:lnTo>
                  <a:lnTo>
                    <a:pt x="266" y="95"/>
                  </a:lnTo>
                  <a:lnTo>
                    <a:pt x="262" y="95"/>
                  </a:lnTo>
                  <a:lnTo>
                    <a:pt x="245" y="123"/>
                  </a:lnTo>
                  <a:lnTo>
                    <a:pt x="215" y="140"/>
                  </a:lnTo>
                  <a:lnTo>
                    <a:pt x="193" y="128"/>
                  </a:lnTo>
                  <a:lnTo>
                    <a:pt x="186" y="140"/>
                  </a:lnTo>
                  <a:lnTo>
                    <a:pt x="155" y="144"/>
                  </a:lnTo>
                  <a:lnTo>
                    <a:pt x="155" y="144"/>
                  </a:lnTo>
                  <a:lnTo>
                    <a:pt x="155" y="144"/>
                  </a:lnTo>
                  <a:close/>
                </a:path>
              </a:pathLst>
            </a:custGeom>
            <a:solidFill>
              <a:schemeClr val="bg2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51" name="Freeform 495">
              <a:extLst>
                <a:ext uri="{FF2B5EF4-FFF2-40B4-BE49-F238E27FC236}">
                  <a16:creationId xmlns:a16="http://schemas.microsoft.com/office/drawing/2014/main" id="{899CA992-D55D-403D-A347-E21DEF38BCF5}"/>
                </a:ext>
              </a:extLst>
            </p:cNvPr>
            <p:cNvSpPr>
              <a:spLocks/>
            </p:cNvSpPr>
            <p:nvPr/>
          </p:nvSpPr>
          <p:spPr bwMode="gray">
            <a:xfrm>
              <a:off x="6263375" y="2177249"/>
              <a:ext cx="1074" cy="2917"/>
            </a:xfrm>
            <a:custGeom>
              <a:avLst/>
              <a:gdLst>
                <a:gd name="T0" fmla="*/ 7 w 7"/>
                <a:gd name="T1" fmla="*/ 0 h 19"/>
                <a:gd name="T2" fmla="*/ 7 w 7"/>
                <a:gd name="T3" fmla="*/ 19 h 19"/>
                <a:gd name="T4" fmla="*/ 0 w 7"/>
                <a:gd name="T5" fmla="*/ 19 h 19"/>
                <a:gd name="T6" fmla="*/ 7 w 7"/>
                <a:gd name="T7" fmla="*/ 0 h 19"/>
                <a:gd name="T8" fmla="*/ 7 w 7"/>
                <a:gd name="T9" fmla="*/ 0 h 19"/>
                <a:gd name="T10" fmla="*/ 7 w 7"/>
                <a:gd name="T11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" h="19">
                  <a:moveTo>
                    <a:pt x="7" y="0"/>
                  </a:moveTo>
                  <a:lnTo>
                    <a:pt x="7" y="19"/>
                  </a:lnTo>
                  <a:lnTo>
                    <a:pt x="0" y="19"/>
                  </a:lnTo>
                  <a:lnTo>
                    <a:pt x="7" y="0"/>
                  </a:lnTo>
                  <a:lnTo>
                    <a:pt x="7" y="0"/>
                  </a:lnTo>
                  <a:lnTo>
                    <a:pt x="7" y="0"/>
                  </a:lnTo>
                  <a:close/>
                </a:path>
              </a:pathLst>
            </a:custGeom>
            <a:solidFill>
              <a:schemeClr val="bg2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52" name="Freeform 496">
              <a:extLst>
                <a:ext uri="{FF2B5EF4-FFF2-40B4-BE49-F238E27FC236}">
                  <a16:creationId xmlns:a16="http://schemas.microsoft.com/office/drawing/2014/main" id="{8F9B5A8B-2741-4223-8293-50DDCCC82EE9}"/>
                </a:ext>
              </a:extLst>
            </p:cNvPr>
            <p:cNvSpPr>
              <a:spLocks/>
            </p:cNvSpPr>
            <p:nvPr/>
          </p:nvSpPr>
          <p:spPr bwMode="gray">
            <a:xfrm>
              <a:off x="6452149" y="3067349"/>
              <a:ext cx="26858" cy="25019"/>
            </a:xfrm>
            <a:custGeom>
              <a:avLst/>
              <a:gdLst>
                <a:gd name="T0" fmla="*/ 128 w 175"/>
                <a:gd name="T1" fmla="*/ 12 h 163"/>
                <a:gd name="T2" fmla="*/ 166 w 175"/>
                <a:gd name="T3" fmla="*/ 38 h 163"/>
                <a:gd name="T4" fmla="*/ 175 w 175"/>
                <a:gd name="T5" fmla="*/ 56 h 163"/>
                <a:gd name="T6" fmla="*/ 159 w 175"/>
                <a:gd name="T7" fmla="*/ 73 h 163"/>
                <a:gd name="T8" fmla="*/ 159 w 175"/>
                <a:gd name="T9" fmla="*/ 78 h 163"/>
                <a:gd name="T10" fmla="*/ 149 w 175"/>
                <a:gd name="T11" fmla="*/ 78 h 163"/>
                <a:gd name="T12" fmla="*/ 149 w 175"/>
                <a:gd name="T13" fmla="*/ 106 h 163"/>
                <a:gd name="T14" fmla="*/ 128 w 175"/>
                <a:gd name="T15" fmla="*/ 123 h 163"/>
                <a:gd name="T16" fmla="*/ 95 w 175"/>
                <a:gd name="T17" fmla="*/ 123 h 163"/>
                <a:gd name="T18" fmla="*/ 71 w 175"/>
                <a:gd name="T19" fmla="*/ 163 h 163"/>
                <a:gd name="T20" fmla="*/ 50 w 175"/>
                <a:gd name="T21" fmla="*/ 163 h 163"/>
                <a:gd name="T22" fmla="*/ 29 w 175"/>
                <a:gd name="T23" fmla="*/ 134 h 163"/>
                <a:gd name="T24" fmla="*/ 17 w 175"/>
                <a:gd name="T25" fmla="*/ 111 h 163"/>
                <a:gd name="T26" fmla="*/ 0 w 175"/>
                <a:gd name="T27" fmla="*/ 78 h 163"/>
                <a:gd name="T28" fmla="*/ 17 w 175"/>
                <a:gd name="T29" fmla="*/ 73 h 163"/>
                <a:gd name="T30" fmla="*/ 38 w 175"/>
                <a:gd name="T31" fmla="*/ 33 h 163"/>
                <a:gd name="T32" fmla="*/ 83 w 175"/>
                <a:gd name="T33" fmla="*/ 12 h 163"/>
                <a:gd name="T34" fmla="*/ 111 w 175"/>
                <a:gd name="T35" fmla="*/ 0 h 163"/>
                <a:gd name="T36" fmla="*/ 128 w 175"/>
                <a:gd name="T37" fmla="*/ 12 h 163"/>
                <a:gd name="T38" fmla="*/ 128 w 175"/>
                <a:gd name="T39" fmla="*/ 12 h 163"/>
                <a:gd name="T40" fmla="*/ 128 w 175"/>
                <a:gd name="T41" fmla="*/ 12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75" h="163">
                  <a:moveTo>
                    <a:pt x="128" y="12"/>
                  </a:moveTo>
                  <a:lnTo>
                    <a:pt x="166" y="38"/>
                  </a:lnTo>
                  <a:lnTo>
                    <a:pt x="175" y="56"/>
                  </a:lnTo>
                  <a:lnTo>
                    <a:pt x="159" y="73"/>
                  </a:lnTo>
                  <a:lnTo>
                    <a:pt x="159" y="78"/>
                  </a:lnTo>
                  <a:lnTo>
                    <a:pt x="149" y="78"/>
                  </a:lnTo>
                  <a:lnTo>
                    <a:pt x="149" y="106"/>
                  </a:lnTo>
                  <a:lnTo>
                    <a:pt x="128" y="123"/>
                  </a:lnTo>
                  <a:lnTo>
                    <a:pt x="95" y="123"/>
                  </a:lnTo>
                  <a:lnTo>
                    <a:pt x="71" y="163"/>
                  </a:lnTo>
                  <a:lnTo>
                    <a:pt x="50" y="163"/>
                  </a:lnTo>
                  <a:lnTo>
                    <a:pt x="29" y="134"/>
                  </a:lnTo>
                  <a:lnTo>
                    <a:pt x="17" y="111"/>
                  </a:lnTo>
                  <a:lnTo>
                    <a:pt x="0" y="78"/>
                  </a:lnTo>
                  <a:lnTo>
                    <a:pt x="17" y="73"/>
                  </a:lnTo>
                  <a:lnTo>
                    <a:pt x="38" y="33"/>
                  </a:lnTo>
                  <a:lnTo>
                    <a:pt x="83" y="12"/>
                  </a:lnTo>
                  <a:lnTo>
                    <a:pt x="111" y="0"/>
                  </a:lnTo>
                  <a:lnTo>
                    <a:pt x="128" y="12"/>
                  </a:lnTo>
                  <a:lnTo>
                    <a:pt x="128" y="12"/>
                  </a:lnTo>
                  <a:lnTo>
                    <a:pt x="128" y="12"/>
                  </a:lnTo>
                  <a:close/>
                </a:path>
              </a:pathLst>
            </a:custGeom>
            <a:solidFill>
              <a:schemeClr val="bg2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53" name="Freeform 497">
              <a:extLst>
                <a:ext uri="{FF2B5EF4-FFF2-40B4-BE49-F238E27FC236}">
                  <a16:creationId xmlns:a16="http://schemas.microsoft.com/office/drawing/2014/main" id="{68817CA8-D89E-48D0-9961-594893ADD910}"/>
                </a:ext>
              </a:extLst>
            </p:cNvPr>
            <p:cNvSpPr>
              <a:spLocks/>
            </p:cNvSpPr>
            <p:nvPr/>
          </p:nvSpPr>
          <p:spPr bwMode="gray">
            <a:xfrm>
              <a:off x="6223011" y="2135806"/>
              <a:ext cx="7980" cy="9823"/>
            </a:xfrm>
            <a:custGeom>
              <a:avLst/>
              <a:gdLst>
                <a:gd name="T0" fmla="*/ 45 w 52"/>
                <a:gd name="T1" fmla="*/ 64 h 64"/>
                <a:gd name="T2" fmla="*/ 45 w 52"/>
                <a:gd name="T3" fmla="*/ 64 h 64"/>
                <a:gd name="T4" fmla="*/ 15 w 52"/>
                <a:gd name="T5" fmla="*/ 64 h 64"/>
                <a:gd name="T6" fmla="*/ 5 w 52"/>
                <a:gd name="T7" fmla="*/ 55 h 64"/>
                <a:gd name="T8" fmla="*/ 15 w 52"/>
                <a:gd name="T9" fmla="*/ 48 h 64"/>
                <a:gd name="T10" fmla="*/ 0 w 52"/>
                <a:gd name="T11" fmla="*/ 33 h 64"/>
                <a:gd name="T12" fmla="*/ 0 w 52"/>
                <a:gd name="T13" fmla="*/ 17 h 64"/>
                <a:gd name="T14" fmla="*/ 15 w 52"/>
                <a:gd name="T15" fmla="*/ 0 h 64"/>
                <a:gd name="T16" fmla="*/ 31 w 52"/>
                <a:gd name="T17" fmla="*/ 0 h 64"/>
                <a:gd name="T18" fmla="*/ 36 w 52"/>
                <a:gd name="T19" fmla="*/ 26 h 64"/>
                <a:gd name="T20" fmla="*/ 52 w 52"/>
                <a:gd name="T21" fmla="*/ 33 h 64"/>
                <a:gd name="T22" fmla="*/ 45 w 52"/>
                <a:gd name="T23" fmla="*/ 64 h 64"/>
                <a:gd name="T24" fmla="*/ 45 w 52"/>
                <a:gd name="T25" fmla="*/ 64 h 64"/>
                <a:gd name="T26" fmla="*/ 45 w 52"/>
                <a:gd name="T27" fmla="*/ 6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2" h="64">
                  <a:moveTo>
                    <a:pt x="45" y="64"/>
                  </a:moveTo>
                  <a:lnTo>
                    <a:pt x="45" y="64"/>
                  </a:lnTo>
                  <a:lnTo>
                    <a:pt x="15" y="64"/>
                  </a:lnTo>
                  <a:lnTo>
                    <a:pt x="5" y="55"/>
                  </a:lnTo>
                  <a:lnTo>
                    <a:pt x="15" y="48"/>
                  </a:lnTo>
                  <a:lnTo>
                    <a:pt x="0" y="33"/>
                  </a:lnTo>
                  <a:lnTo>
                    <a:pt x="0" y="17"/>
                  </a:lnTo>
                  <a:lnTo>
                    <a:pt x="15" y="0"/>
                  </a:lnTo>
                  <a:lnTo>
                    <a:pt x="31" y="0"/>
                  </a:lnTo>
                  <a:lnTo>
                    <a:pt x="36" y="26"/>
                  </a:lnTo>
                  <a:lnTo>
                    <a:pt x="52" y="33"/>
                  </a:lnTo>
                  <a:lnTo>
                    <a:pt x="45" y="64"/>
                  </a:lnTo>
                  <a:lnTo>
                    <a:pt x="45" y="64"/>
                  </a:lnTo>
                  <a:lnTo>
                    <a:pt x="45" y="64"/>
                  </a:lnTo>
                  <a:close/>
                </a:path>
              </a:pathLst>
            </a:custGeom>
            <a:solidFill>
              <a:schemeClr val="bg2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54" name="Freeform 498">
              <a:extLst>
                <a:ext uri="{FF2B5EF4-FFF2-40B4-BE49-F238E27FC236}">
                  <a16:creationId xmlns:a16="http://schemas.microsoft.com/office/drawing/2014/main" id="{C410B2E3-E91D-49F0-8CD4-409010F5DCE9}"/>
                </a:ext>
              </a:extLst>
            </p:cNvPr>
            <p:cNvSpPr>
              <a:spLocks/>
            </p:cNvSpPr>
            <p:nvPr/>
          </p:nvSpPr>
          <p:spPr bwMode="gray">
            <a:xfrm>
              <a:off x="6261840" y="2361746"/>
              <a:ext cx="170357" cy="162087"/>
            </a:xfrm>
            <a:custGeom>
              <a:avLst/>
              <a:gdLst>
                <a:gd name="T0" fmla="*/ 1096 w 1110"/>
                <a:gd name="T1" fmla="*/ 867 h 1056"/>
                <a:gd name="T2" fmla="*/ 1025 w 1110"/>
                <a:gd name="T3" fmla="*/ 1018 h 1056"/>
                <a:gd name="T4" fmla="*/ 740 w 1110"/>
                <a:gd name="T5" fmla="*/ 900 h 1056"/>
                <a:gd name="T6" fmla="*/ 395 w 1110"/>
                <a:gd name="T7" fmla="*/ 794 h 1056"/>
                <a:gd name="T8" fmla="*/ 291 w 1110"/>
                <a:gd name="T9" fmla="*/ 777 h 1056"/>
                <a:gd name="T10" fmla="*/ 156 w 1110"/>
                <a:gd name="T11" fmla="*/ 690 h 1056"/>
                <a:gd name="T12" fmla="*/ 76 w 1110"/>
                <a:gd name="T13" fmla="*/ 683 h 1056"/>
                <a:gd name="T14" fmla="*/ 64 w 1110"/>
                <a:gd name="T15" fmla="*/ 661 h 1056"/>
                <a:gd name="T16" fmla="*/ 50 w 1110"/>
                <a:gd name="T17" fmla="*/ 612 h 1056"/>
                <a:gd name="T18" fmla="*/ 12 w 1110"/>
                <a:gd name="T19" fmla="*/ 534 h 1056"/>
                <a:gd name="T20" fmla="*/ 38 w 1110"/>
                <a:gd name="T21" fmla="*/ 501 h 1056"/>
                <a:gd name="T22" fmla="*/ 21 w 1110"/>
                <a:gd name="T23" fmla="*/ 461 h 1056"/>
                <a:gd name="T24" fmla="*/ 33 w 1110"/>
                <a:gd name="T25" fmla="*/ 390 h 1056"/>
                <a:gd name="T26" fmla="*/ 21 w 1110"/>
                <a:gd name="T27" fmla="*/ 279 h 1056"/>
                <a:gd name="T28" fmla="*/ 17 w 1110"/>
                <a:gd name="T29" fmla="*/ 234 h 1056"/>
                <a:gd name="T30" fmla="*/ 64 w 1110"/>
                <a:gd name="T31" fmla="*/ 189 h 1056"/>
                <a:gd name="T32" fmla="*/ 54 w 1110"/>
                <a:gd name="T33" fmla="*/ 135 h 1056"/>
                <a:gd name="T34" fmla="*/ 76 w 1110"/>
                <a:gd name="T35" fmla="*/ 111 h 1056"/>
                <a:gd name="T36" fmla="*/ 156 w 1110"/>
                <a:gd name="T37" fmla="*/ 57 h 1056"/>
                <a:gd name="T38" fmla="*/ 156 w 1110"/>
                <a:gd name="T39" fmla="*/ 0 h 1056"/>
                <a:gd name="T40" fmla="*/ 248 w 1110"/>
                <a:gd name="T41" fmla="*/ 24 h 1056"/>
                <a:gd name="T42" fmla="*/ 340 w 1110"/>
                <a:gd name="T43" fmla="*/ 33 h 1056"/>
                <a:gd name="T44" fmla="*/ 411 w 1110"/>
                <a:gd name="T45" fmla="*/ 57 h 1056"/>
                <a:gd name="T46" fmla="*/ 432 w 1110"/>
                <a:gd name="T47" fmla="*/ 123 h 1056"/>
                <a:gd name="T48" fmla="*/ 480 w 1110"/>
                <a:gd name="T49" fmla="*/ 151 h 1056"/>
                <a:gd name="T50" fmla="*/ 560 w 1110"/>
                <a:gd name="T51" fmla="*/ 168 h 1056"/>
                <a:gd name="T52" fmla="*/ 680 w 1110"/>
                <a:gd name="T53" fmla="*/ 234 h 1056"/>
                <a:gd name="T54" fmla="*/ 718 w 1110"/>
                <a:gd name="T55" fmla="*/ 217 h 1056"/>
                <a:gd name="T56" fmla="*/ 756 w 1110"/>
                <a:gd name="T57" fmla="*/ 161 h 1056"/>
                <a:gd name="T58" fmla="*/ 756 w 1110"/>
                <a:gd name="T59" fmla="*/ 78 h 1056"/>
                <a:gd name="T60" fmla="*/ 820 w 1110"/>
                <a:gd name="T61" fmla="*/ 33 h 1056"/>
                <a:gd name="T62" fmla="*/ 862 w 1110"/>
                <a:gd name="T63" fmla="*/ 17 h 1056"/>
                <a:gd name="T64" fmla="*/ 966 w 1110"/>
                <a:gd name="T65" fmla="*/ 40 h 1056"/>
                <a:gd name="T66" fmla="*/ 971 w 1110"/>
                <a:gd name="T67" fmla="*/ 73 h 1056"/>
                <a:gd name="T68" fmla="*/ 1035 w 1110"/>
                <a:gd name="T69" fmla="*/ 95 h 1056"/>
                <a:gd name="T70" fmla="*/ 1110 w 1110"/>
                <a:gd name="T71" fmla="*/ 123 h 1056"/>
                <a:gd name="T72" fmla="*/ 1096 w 1110"/>
                <a:gd name="T73" fmla="*/ 189 h 1056"/>
                <a:gd name="T74" fmla="*/ 1096 w 1110"/>
                <a:gd name="T75" fmla="*/ 312 h 1056"/>
                <a:gd name="T76" fmla="*/ 1096 w 1110"/>
                <a:gd name="T77" fmla="*/ 439 h 10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110" h="1056">
                  <a:moveTo>
                    <a:pt x="1096" y="439"/>
                  </a:moveTo>
                  <a:lnTo>
                    <a:pt x="1096" y="867"/>
                  </a:lnTo>
                  <a:lnTo>
                    <a:pt x="1096" y="1018"/>
                  </a:lnTo>
                  <a:lnTo>
                    <a:pt x="1025" y="1018"/>
                  </a:lnTo>
                  <a:lnTo>
                    <a:pt x="1025" y="1056"/>
                  </a:lnTo>
                  <a:lnTo>
                    <a:pt x="740" y="900"/>
                  </a:lnTo>
                  <a:lnTo>
                    <a:pt x="463" y="761"/>
                  </a:lnTo>
                  <a:lnTo>
                    <a:pt x="395" y="794"/>
                  </a:lnTo>
                  <a:lnTo>
                    <a:pt x="340" y="829"/>
                  </a:lnTo>
                  <a:lnTo>
                    <a:pt x="291" y="777"/>
                  </a:lnTo>
                  <a:lnTo>
                    <a:pt x="184" y="756"/>
                  </a:lnTo>
                  <a:lnTo>
                    <a:pt x="156" y="690"/>
                  </a:lnTo>
                  <a:lnTo>
                    <a:pt x="92" y="678"/>
                  </a:lnTo>
                  <a:lnTo>
                    <a:pt x="76" y="683"/>
                  </a:lnTo>
                  <a:lnTo>
                    <a:pt x="64" y="666"/>
                  </a:lnTo>
                  <a:lnTo>
                    <a:pt x="64" y="661"/>
                  </a:lnTo>
                  <a:lnTo>
                    <a:pt x="50" y="650"/>
                  </a:lnTo>
                  <a:lnTo>
                    <a:pt x="50" y="612"/>
                  </a:lnTo>
                  <a:lnTo>
                    <a:pt x="0" y="550"/>
                  </a:lnTo>
                  <a:lnTo>
                    <a:pt x="12" y="534"/>
                  </a:lnTo>
                  <a:lnTo>
                    <a:pt x="38" y="522"/>
                  </a:lnTo>
                  <a:lnTo>
                    <a:pt x="38" y="501"/>
                  </a:lnTo>
                  <a:lnTo>
                    <a:pt x="38" y="494"/>
                  </a:lnTo>
                  <a:lnTo>
                    <a:pt x="21" y="461"/>
                  </a:lnTo>
                  <a:lnTo>
                    <a:pt x="50" y="423"/>
                  </a:lnTo>
                  <a:lnTo>
                    <a:pt x="33" y="390"/>
                  </a:lnTo>
                  <a:lnTo>
                    <a:pt x="33" y="317"/>
                  </a:lnTo>
                  <a:lnTo>
                    <a:pt x="21" y="279"/>
                  </a:lnTo>
                  <a:lnTo>
                    <a:pt x="0" y="239"/>
                  </a:lnTo>
                  <a:lnTo>
                    <a:pt x="17" y="234"/>
                  </a:lnTo>
                  <a:lnTo>
                    <a:pt x="38" y="222"/>
                  </a:lnTo>
                  <a:lnTo>
                    <a:pt x="64" y="189"/>
                  </a:lnTo>
                  <a:lnTo>
                    <a:pt x="71" y="177"/>
                  </a:lnTo>
                  <a:lnTo>
                    <a:pt x="54" y="135"/>
                  </a:lnTo>
                  <a:lnTo>
                    <a:pt x="71" y="123"/>
                  </a:lnTo>
                  <a:lnTo>
                    <a:pt x="76" y="111"/>
                  </a:lnTo>
                  <a:lnTo>
                    <a:pt x="109" y="78"/>
                  </a:lnTo>
                  <a:lnTo>
                    <a:pt x="156" y="57"/>
                  </a:lnTo>
                  <a:lnTo>
                    <a:pt x="147" y="40"/>
                  </a:lnTo>
                  <a:lnTo>
                    <a:pt x="156" y="0"/>
                  </a:lnTo>
                  <a:lnTo>
                    <a:pt x="210" y="24"/>
                  </a:lnTo>
                  <a:lnTo>
                    <a:pt x="248" y="24"/>
                  </a:lnTo>
                  <a:lnTo>
                    <a:pt x="281" y="17"/>
                  </a:lnTo>
                  <a:lnTo>
                    <a:pt x="340" y="33"/>
                  </a:lnTo>
                  <a:lnTo>
                    <a:pt x="362" y="50"/>
                  </a:lnTo>
                  <a:lnTo>
                    <a:pt x="411" y="57"/>
                  </a:lnTo>
                  <a:lnTo>
                    <a:pt x="425" y="78"/>
                  </a:lnTo>
                  <a:lnTo>
                    <a:pt x="432" y="123"/>
                  </a:lnTo>
                  <a:lnTo>
                    <a:pt x="449" y="144"/>
                  </a:lnTo>
                  <a:lnTo>
                    <a:pt x="480" y="151"/>
                  </a:lnTo>
                  <a:lnTo>
                    <a:pt x="517" y="151"/>
                  </a:lnTo>
                  <a:lnTo>
                    <a:pt x="560" y="168"/>
                  </a:lnTo>
                  <a:lnTo>
                    <a:pt x="614" y="189"/>
                  </a:lnTo>
                  <a:lnTo>
                    <a:pt x="680" y="234"/>
                  </a:lnTo>
                  <a:lnTo>
                    <a:pt x="702" y="234"/>
                  </a:lnTo>
                  <a:lnTo>
                    <a:pt x="718" y="217"/>
                  </a:lnTo>
                  <a:lnTo>
                    <a:pt x="749" y="184"/>
                  </a:lnTo>
                  <a:lnTo>
                    <a:pt x="756" y="161"/>
                  </a:lnTo>
                  <a:lnTo>
                    <a:pt x="740" y="111"/>
                  </a:lnTo>
                  <a:lnTo>
                    <a:pt x="756" y="78"/>
                  </a:lnTo>
                  <a:lnTo>
                    <a:pt x="787" y="50"/>
                  </a:lnTo>
                  <a:lnTo>
                    <a:pt x="820" y="33"/>
                  </a:lnTo>
                  <a:lnTo>
                    <a:pt x="848" y="24"/>
                  </a:lnTo>
                  <a:lnTo>
                    <a:pt x="862" y="17"/>
                  </a:lnTo>
                  <a:lnTo>
                    <a:pt x="912" y="24"/>
                  </a:lnTo>
                  <a:lnTo>
                    <a:pt x="966" y="40"/>
                  </a:lnTo>
                  <a:lnTo>
                    <a:pt x="966" y="66"/>
                  </a:lnTo>
                  <a:lnTo>
                    <a:pt x="971" y="73"/>
                  </a:lnTo>
                  <a:lnTo>
                    <a:pt x="1009" y="78"/>
                  </a:lnTo>
                  <a:lnTo>
                    <a:pt x="1035" y="95"/>
                  </a:lnTo>
                  <a:lnTo>
                    <a:pt x="1096" y="95"/>
                  </a:lnTo>
                  <a:lnTo>
                    <a:pt x="1110" y="123"/>
                  </a:lnTo>
                  <a:lnTo>
                    <a:pt x="1089" y="144"/>
                  </a:lnTo>
                  <a:lnTo>
                    <a:pt x="1096" y="189"/>
                  </a:lnTo>
                  <a:lnTo>
                    <a:pt x="1080" y="239"/>
                  </a:lnTo>
                  <a:lnTo>
                    <a:pt x="1096" y="312"/>
                  </a:lnTo>
                  <a:lnTo>
                    <a:pt x="1096" y="439"/>
                  </a:lnTo>
                  <a:lnTo>
                    <a:pt x="1096" y="439"/>
                  </a:lnTo>
                  <a:lnTo>
                    <a:pt x="1096" y="439"/>
                  </a:lnTo>
                  <a:close/>
                </a:path>
              </a:pathLst>
            </a:custGeom>
            <a:solidFill>
              <a:schemeClr val="bg2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55" name="Freeform 499">
              <a:extLst>
                <a:ext uri="{FF2B5EF4-FFF2-40B4-BE49-F238E27FC236}">
                  <a16:creationId xmlns:a16="http://schemas.microsoft.com/office/drawing/2014/main" id="{7CEB4609-E8EB-4EC6-A5E4-B3B7815EE53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626650" y="2874717"/>
              <a:ext cx="78579" cy="156408"/>
            </a:xfrm>
            <a:custGeom>
              <a:avLst/>
              <a:gdLst>
                <a:gd name="T0" fmla="*/ 349 w 512"/>
                <a:gd name="T1" fmla="*/ 723 h 1019"/>
                <a:gd name="T2" fmla="*/ 307 w 512"/>
                <a:gd name="T3" fmla="*/ 884 h 1019"/>
                <a:gd name="T4" fmla="*/ 243 w 512"/>
                <a:gd name="T5" fmla="*/ 995 h 1019"/>
                <a:gd name="T6" fmla="*/ 163 w 512"/>
                <a:gd name="T7" fmla="*/ 1019 h 1019"/>
                <a:gd name="T8" fmla="*/ 108 w 512"/>
                <a:gd name="T9" fmla="*/ 1002 h 1019"/>
                <a:gd name="T10" fmla="*/ 82 w 512"/>
                <a:gd name="T11" fmla="*/ 990 h 1019"/>
                <a:gd name="T12" fmla="*/ 54 w 512"/>
                <a:gd name="T13" fmla="*/ 978 h 1019"/>
                <a:gd name="T14" fmla="*/ 33 w 512"/>
                <a:gd name="T15" fmla="*/ 924 h 1019"/>
                <a:gd name="T16" fmla="*/ 37 w 512"/>
                <a:gd name="T17" fmla="*/ 863 h 1019"/>
                <a:gd name="T18" fmla="*/ 28 w 512"/>
                <a:gd name="T19" fmla="*/ 830 h 1019"/>
                <a:gd name="T20" fmla="*/ 0 w 512"/>
                <a:gd name="T21" fmla="*/ 756 h 1019"/>
                <a:gd name="T22" fmla="*/ 16 w 512"/>
                <a:gd name="T23" fmla="*/ 723 h 1019"/>
                <a:gd name="T24" fmla="*/ 37 w 512"/>
                <a:gd name="T25" fmla="*/ 685 h 1019"/>
                <a:gd name="T26" fmla="*/ 87 w 512"/>
                <a:gd name="T27" fmla="*/ 596 h 1019"/>
                <a:gd name="T28" fmla="*/ 87 w 512"/>
                <a:gd name="T29" fmla="*/ 558 h 1019"/>
                <a:gd name="T30" fmla="*/ 70 w 512"/>
                <a:gd name="T31" fmla="*/ 513 h 1019"/>
                <a:gd name="T32" fmla="*/ 54 w 512"/>
                <a:gd name="T33" fmla="*/ 428 h 1019"/>
                <a:gd name="T34" fmla="*/ 87 w 512"/>
                <a:gd name="T35" fmla="*/ 350 h 1019"/>
                <a:gd name="T36" fmla="*/ 118 w 512"/>
                <a:gd name="T37" fmla="*/ 312 h 1019"/>
                <a:gd name="T38" fmla="*/ 146 w 512"/>
                <a:gd name="T39" fmla="*/ 308 h 1019"/>
                <a:gd name="T40" fmla="*/ 155 w 512"/>
                <a:gd name="T41" fmla="*/ 296 h 1019"/>
                <a:gd name="T42" fmla="*/ 172 w 512"/>
                <a:gd name="T43" fmla="*/ 308 h 1019"/>
                <a:gd name="T44" fmla="*/ 188 w 512"/>
                <a:gd name="T45" fmla="*/ 279 h 1019"/>
                <a:gd name="T46" fmla="*/ 200 w 512"/>
                <a:gd name="T47" fmla="*/ 279 h 1019"/>
                <a:gd name="T48" fmla="*/ 210 w 512"/>
                <a:gd name="T49" fmla="*/ 279 h 1019"/>
                <a:gd name="T50" fmla="*/ 214 w 512"/>
                <a:gd name="T51" fmla="*/ 296 h 1019"/>
                <a:gd name="T52" fmla="*/ 214 w 512"/>
                <a:gd name="T53" fmla="*/ 279 h 1019"/>
                <a:gd name="T54" fmla="*/ 264 w 512"/>
                <a:gd name="T55" fmla="*/ 239 h 1019"/>
                <a:gd name="T56" fmla="*/ 264 w 512"/>
                <a:gd name="T57" fmla="*/ 263 h 1019"/>
                <a:gd name="T58" fmla="*/ 269 w 512"/>
                <a:gd name="T59" fmla="*/ 239 h 1019"/>
                <a:gd name="T60" fmla="*/ 302 w 512"/>
                <a:gd name="T61" fmla="*/ 206 h 1019"/>
                <a:gd name="T62" fmla="*/ 323 w 512"/>
                <a:gd name="T63" fmla="*/ 197 h 1019"/>
                <a:gd name="T64" fmla="*/ 333 w 512"/>
                <a:gd name="T65" fmla="*/ 206 h 1019"/>
                <a:gd name="T66" fmla="*/ 318 w 512"/>
                <a:gd name="T67" fmla="*/ 197 h 1019"/>
                <a:gd name="T68" fmla="*/ 318 w 512"/>
                <a:gd name="T69" fmla="*/ 168 h 1019"/>
                <a:gd name="T70" fmla="*/ 323 w 512"/>
                <a:gd name="T71" fmla="*/ 163 h 1019"/>
                <a:gd name="T72" fmla="*/ 333 w 512"/>
                <a:gd name="T73" fmla="*/ 180 h 1019"/>
                <a:gd name="T74" fmla="*/ 333 w 512"/>
                <a:gd name="T75" fmla="*/ 152 h 1019"/>
                <a:gd name="T76" fmla="*/ 323 w 512"/>
                <a:gd name="T77" fmla="*/ 140 h 1019"/>
                <a:gd name="T78" fmla="*/ 340 w 512"/>
                <a:gd name="T79" fmla="*/ 111 h 1019"/>
                <a:gd name="T80" fmla="*/ 356 w 512"/>
                <a:gd name="T81" fmla="*/ 123 h 1019"/>
                <a:gd name="T82" fmla="*/ 403 w 512"/>
                <a:gd name="T83" fmla="*/ 69 h 1019"/>
                <a:gd name="T84" fmla="*/ 387 w 512"/>
                <a:gd name="T85" fmla="*/ 34 h 1019"/>
                <a:gd name="T86" fmla="*/ 403 w 512"/>
                <a:gd name="T87" fmla="*/ 29 h 1019"/>
                <a:gd name="T88" fmla="*/ 415 w 512"/>
                <a:gd name="T89" fmla="*/ 12 h 1019"/>
                <a:gd name="T90" fmla="*/ 429 w 512"/>
                <a:gd name="T91" fmla="*/ 17 h 1019"/>
                <a:gd name="T92" fmla="*/ 425 w 512"/>
                <a:gd name="T93" fmla="*/ 17 h 1019"/>
                <a:gd name="T94" fmla="*/ 446 w 512"/>
                <a:gd name="T95" fmla="*/ 50 h 1019"/>
                <a:gd name="T96" fmla="*/ 484 w 512"/>
                <a:gd name="T97" fmla="*/ 140 h 1019"/>
                <a:gd name="T98" fmla="*/ 512 w 512"/>
                <a:gd name="T99" fmla="*/ 251 h 1019"/>
                <a:gd name="T100" fmla="*/ 479 w 512"/>
                <a:gd name="T101" fmla="*/ 291 h 1019"/>
                <a:gd name="T102" fmla="*/ 458 w 512"/>
                <a:gd name="T103" fmla="*/ 258 h 1019"/>
                <a:gd name="T104" fmla="*/ 458 w 512"/>
                <a:gd name="T105" fmla="*/ 291 h 1019"/>
                <a:gd name="T106" fmla="*/ 462 w 512"/>
                <a:gd name="T107" fmla="*/ 312 h 1019"/>
                <a:gd name="T108" fmla="*/ 458 w 512"/>
                <a:gd name="T109" fmla="*/ 350 h 1019"/>
                <a:gd name="T110" fmla="*/ 446 w 512"/>
                <a:gd name="T111" fmla="*/ 369 h 1019"/>
                <a:gd name="T112" fmla="*/ 441 w 512"/>
                <a:gd name="T113" fmla="*/ 423 h 1019"/>
                <a:gd name="T114" fmla="*/ 377 w 512"/>
                <a:gd name="T115" fmla="*/ 629 h 1019"/>
                <a:gd name="T116" fmla="*/ 377 w 512"/>
                <a:gd name="T117" fmla="*/ 629 h 1019"/>
                <a:gd name="T118" fmla="*/ 349 w 512"/>
                <a:gd name="T119" fmla="*/ 107 h 1019"/>
                <a:gd name="T120" fmla="*/ 356 w 512"/>
                <a:gd name="T121" fmla="*/ 107 h 1019"/>
                <a:gd name="T122" fmla="*/ 356 w 512"/>
                <a:gd name="T123" fmla="*/ 107 h 10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512" h="1019">
                  <a:moveTo>
                    <a:pt x="377" y="629"/>
                  </a:moveTo>
                  <a:lnTo>
                    <a:pt x="349" y="723"/>
                  </a:lnTo>
                  <a:lnTo>
                    <a:pt x="323" y="780"/>
                  </a:lnTo>
                  <a:lnTo>
                    <a:pt x="307" y="884"/>
                  </a:lnTo>
                  <a:lnTo>
                    <a:pt x="269" y="974"/>
                  </a:lnTo>
                  <a:lnTo>
                    <a:pt x="243" y="995"/>
                  </a:lnTo>
                  <a:lnTo>
                    <a:pt x="210" y="995"/>
                  </a:lnTo>
                  <a:lnTo>
                    <a:pt x="163" y="1019"/>
                  </a:lnTo>
                  <a:lnTo>
                    <a:pt x="141" y="1019"/>
                  </a:lnTo>
                  <a:lnTo>
                    <a:pt x="108" y="1002"/>
                  </a:lnTo>
                  <a:lnTo>
                    <a:pt x="82" y="995"/>
                  </a:lnTo>
                  <a:lnTo>
                    <a:pt x="82" y="990"/>
                  </a:lnTo>
                  <a:lnTo>
                    <a:pt x="87" y="995"/>
                  </a:lnTo>
                  <a:lnTo>
                    <a:pt x="54" y="978"/>
                  </a:lnTo>
                  <a:lnTo>
                    <a:pt x="49" y="945"/>
                  </a:lnTo>
                  <a:lnTo>
                    <a:pt x="33" y="924"/>
                  </a:lnTo>
                  <a:lnTo>
                    <a:pt x="33" y="879"/>
                  </a:lnTo>
                  <a:lnTo>
                    <a:pt x="37" y="863"/>
                  </a:lnTo>
                  <a:lnTo>
                    <a:pt x="33" y="851"/>
                  </a:lnTo>
                  <a:lnTo>
                    <a:pt x="28" y="830"/>
                  </a:lnTo>
                  <a:lnTo>
                    <a:pt x="11" y="813"/>
                  </a:lnTo>
                  <a:lnTo>
                    <a:pt x="0" y="756"/>
                  </a:lnTo>
                  <a:lnTo>
                    <a:pt x="11" y="735"/>
                  </a:lnTo>
                  <a:lnTo>
                    <a:pt x="16" y="723"/>
                  </a:lnTo>
                  <a:lnTo>
                    <a:pt x="16" y="702"/>
                  </a:lnTo>
                  <a:lnTo>
                    <a:pt x="37" y="685"/>
                  </a:lnTo>
                  <a:lnTo>
                    <a:pt x="49" y="662"/>
                  </a:lnTo>
                  <a:lnTo>
                    <a:pt x="87" y="596"/>
                  </a:lnTo>
                  <a:lnTo>
                    <a:pt x="82" y="584"/>
                  </a:lnTo>
                  <a:lnTo>
                    <a:pt x="87" y="558"/>
                  </a:lnTo>
                  <a:lnTo>
                    <a:pt x="70" y="530"/>
                  </a:lnTo>
                  <a:lnTo>
                    <a:pt x="70" y="513"/>
                  </a:lnTo>
                  <a:lnTo>
                    <a:pt x="54" y="480"/>
                  </a:lnTo>
                  <a:lnTo>
                    <a:pt x="54" y="428"/>
                  </a:lnTo>
                  <a:lnTo>
                    <a:pt x="49" y="419"/>
                  </a:lnTo>
                  <a:lnTo>
                    <a:pt x="87" y="350"/>
                  </a:lnTo>
                  <a:lnTo>
                    <a:pt x="87" y="312"/>
                  </a:lnTo>
                  <a:lnTo>
                    <a:pt x="118" y="312"/>
                  </a:lnTo>
                  <a:lnTo>
                    <a:pt x="146" y="296"/>
                  </a:lnTo>
                  <a:lnTo>
                    <a:pt x="146" y="308"/>
                  </a:lnTo>
                  <a:lnTo>
                    <a:pt x="155" y="308"/>
                  </a:lnTo>
                  <a:lnTo>
                    <a:pt x="155" y="296"/>
                  </a:lnTo>
                  <a:lnTo>
                    <a:pt x="163" y="296"/>
                  </a:lnTo>
                  <a:lnTo>
                    <a:pt x="172" y="308"/>
                  </a:lnTo>
                  <a:lnTo>
                    <a:pt x="177" y="279"/>
                  </a:lnTo>
                  <a:lnTo>
                    <a:pt x="188" y="279"/>
                  </a:lnTo>
                  <a:lnTo>
                    <a:pt x="200" y="291"/>
                  </a:lnTo>
                  <a:lnTo>
                    <a:pt x="200" y="279"/>
                  </a:lnTo>
                  <a:lnTo>
                    <a:pt x="193" y="279"/>
                  </a:lnTo>
                  <a:lnTo>
                    <a:pt x="210" y="279"/>
                  </a:lnTo>
                  <a:lnTo>
                    <a:pt x="210" y="279"/>
                  </a:lnTo>
                  <a:lnTo>
                    <a:pt x="214" y="296"/>
                  </a:lnTo>
                  <a:lnTo>
                    <a:pt x="231" y="296"/>
                  </a:lnTo>
                  <a:lnTo>
                    <a:pt x="214" y="279"/>
                  </a:lnTo>
                  <a:lnTo>
                    <a:pt x="214" y="274"/>
                  </a:lnTo>
                  <a:lnTo>
                    <a:pt x="264" y="239"/>
                  </a:lnTo>
                  <a:lnTo>
                    <a:pt x="269" y="251"/>
                  </a:lnTo>
                  <a:lnTo>
                    <a:pt x="264" y="263"/>
                  </a:lnTo>
                  <a:lnTo>
                    <a:pt x="281" y="258"/>
                  </a:lnTo>
                  <a:lnTo>
                    <a:pt x="269" y="239"/>
                  </a:lnTo>
                  <a:lnTo>
                    <a:pt x="297" y="201"/>
                  </a:lnTo>
                  <a:lnTo>
                    <a:pt x="302" y="206"/>
                  </a:lnTo>
                  <a:lnTo>
                    <a:pt x="297" y="234"/>
                  </a:lnTo>
                  <a:lnTo>
                    <a:pt x="323" y="197"/>
                  </a:lnTo>
                  <a:lnTo>
                    <a:pt x="333" y="201"/>
                  </a:lnTo>
                  <a:lnTo>
                    <a:pt x="333" y="206"/>
                  </a:lnTo>
                  <a:lnTo>
                    <a:pt x="333" y="197"/>
                  </a:lnTo>
                  <a:lnTo>
                    <a:pt x="318" y="197"/>
                  </a:lnTo>
                  <a:lnTo>
                    <a:pt x="318" y="185"/>
                  </a:lnTo>
                  <a:lnTo>
                    <a:pt x="318" y="168"/>
                  </a:lnTo>
                  <a:lnTo>
                    <a:pt x="333" y="168"/>
                  </a:lnTo>
                  <a:lnTo>
                    <a:pt x="323" y="163"/>
                  </a:lnTo>
                  <a:lnTo>
                    <a:pt x="340" y="163"/>
                  </a:lnTo>
                  <a:lnTo>
                    <a:pt x="333" y="180"/>
                  </a:lnTo>
                  <a:lnTo>
                    <a:pt x="340" y="163"/>
                  </a:lnTo>
                  <a:lnTo>
                    <a:pt x="333" y="152"/>
                  </a:lnTo>
                  <a:lnTo>
                    <a:pt x="340" y="145"/>
                  </a:lnTo>
                  <a:lnTo>
                    <a:pt x="323" y="140"/>
                  </a:lnTo>
                  <a:lnTo>
                    <a:pt x="333" y="123"/>
                  </a:lnTo>
                  <a:lnTo>
                    <a:pt x="340" y="111"/>
                  </a:lnTo>
                  <a:lnTo>
                    <a:pt x="356" y="140"/>
                  </a:lnTo>
                  <a:lnTo>
                    <a:pt x="356" y="123"/>
                  </a:lnTo>
                  <a:lnTo>
                    <a:pt x="394" y="107"/>
                  </a:lnTo>
                  <a:lnTo>
                    <a:pt x="403" y="69"/>
                  </a:lnTo>
                  <a:lnTo>
                    <a:pt x="394" y="50"/>
                  </a:lnTo>
                  <a:lnTo>
                    <a:pt x="387" y="34"/>
                  </a:lnTo>
                  <a:lnTo>
                    <a:pt x="403" y="41"/>
                  </a:lnTo>
                  <a:lnTo>
                    <a:pt x="403" y="29"/>
                  </a:lnTo>
                  <a:lnTo>
                    <a:pt x="415" y="17"/>
                  </a:lnTo>
                  <a:lnTo>
                    <a:pt x="415" y="12"/>
                  </a:lnTo>
                  <a:lnTo>
                    <a:pt x="425" y="0"/>
                  </a:lnTo>
                  <a:lnTo>
                    <a:pt x="429" y="17"/>
                  </a:lnTo>
                  <a:lnTo>
                    <a:pt x="425" y="17"/>
                  </a:lnTo>
                  <a:lnTo>
                    <a:pt x="425" y="17"/>
                  </a:lnTo>
                  <a:lnTo>
                    <a:pt x="441" y="29"/>
                  </a:lnTo>
                  <a:lnTo>
                    <a:pt x="446" y="50"/>
                  </a:lnTo>
                  <a:lnTo>
                    <a:pt x="467" y="85"/>
                  </a:lnTo>
                  <a:lnTo>
                    <a:pt x="484" y="140"/>
                  </a:lnTo>
                  <a:lnTo>
                    <a:pt x="484" y="197"/>
                  </a:lnTo>
                  <a:lnTo>
                    <a:pt x="512" y="251"/>
                  </a:lnTo>
                  <a:lnTo>
                    <a:pt x="496" y="296"/>
                  </a:lnTo>
                  <a:lnTo>
                    <a:pt x="479" y="291"/>
                  </a:lnTo>
                  <a:lnTo>
                    <a:pt x="462" y="258"/>
                  </a:lnTo>
                  <a:lnTo>
                    <a:pt x="458" y="258"/>
                  </a:lnTo>
                  <a:lnTo>
                    <a:pt x="446" y="263"/>
                  </a:lnTo>
                  <a:lnTo>
                    <a:pt x="458" y="291"/>
                  </a:lnTo>
                  <a:lnTo>
                    <a:pt x="458" y="308"/>
                  </a:lnTo>
                  <a:lnTo>
                    <a:pt x="462" y="312"/>
                  </a:lnTo>
                  <a:lnTo>
                    <a:pt x="462" y="334"/>
                  </a:lnTo>
                  <a:lnTo>
                    <a:pt x="458" y="350"/>
                  </a:lnTo>
                  <a:lnTo>
                    <a:pt x="462" y="362"/>
                  </a:lnTo>
                  <a:lnTo>
                    <a:pt x="446" y="369"/>
                  </a:lnTo>
                  <a:lnTo>
                    <a:pt x="429" y="402"/>
                  </a:lnTo>
                  <a:lnTo>
                    <a:pt x="441" y="423"/>
                  </a:lnTo>
                  <a:lnTo>
                    <a:pt x="429" y="473"/>
                  </a:lnTo>
                  <a:lnTo>
                    <a:pt x="377" y="629"/>
                  </a:lnTo>
                  <a:lnTo>
                    <a:pt x="377" y="629"/>
                  </a:lnTo>
                  <a:lnTo>
                    <a:pt x="377" y="629"/>
                  </a:lnTo>
                  <a:close/>
                  <a:moveTo>
                    <a:pt x="356" y="107"/>
                  </a:moveTo>
                  <a:lnTo>
                    <a:pt x="349" y="107"/>
                  </a:lnTo>
                  <a:lnTo>
                    <a:pt x="356" y="90"/>
                  </a:lnTo>
                  <a:lnTo>
                    <a:pt x="356" y="107"/>
                  </a:lnTo>
                  <a:lnTo>
                    <a:pt x="356" y="107"/>
                  </a:lnTo>
                  <a:lnTo>
                    <a:pt x="356" y="107"/>
                  </a:lnTo>
                  <a:close/>
                </a:path>
              </a:pathLst>
            </a:custGeom>
            <a:solidFill>
              <a:schemeClr val="bg2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56" name="Freeform 500">
              <a:extLst>
                <a:ext uri="{FF2B5EF4-FFF2-40B4-BE49-F238E27FC236}">
                  <a16:creationId xmlns:a16="http://schemas.microsoft.com/office/drawing/2014/main" id="{E2CA363A-22F7-4F68-A26F-482561775B0E}"/>
                </a:ext>
              </a:extLst>
            </p:cNvPr>
            <p:cNvSpPr>
              <a:spLocks/>
            </p:cNvSpPr>
            <p:nvPr/>
          </p:nvSpPr>
          <p:spPr bwMode="gray">
            <a:xfrm>
              <a:off x="5501985" y="2576328"/>
              <a:ext cx="5065" cy="6293"/>
            </a:xfrm>
            <a:custGeom>
              <a:avLst/>
              <a:gdLst>
                <a:gd name="T0" fmla="*/ 33 w 33"/>
                <a:gd name="T1" fmla="*/ 41 h 41"/>
                <a:gd name="T2" fmla="*/ 17 w 33"/>
                <a:gd name="T3" fmla="*/ 29 h 41"/>
                <a:gd name="T4" fmla="*/ 0 w 33"/>
                <a:gd name="T5" fmla="*/ 7 h 41"/>
                <a:gd name="T6" fmla="*/ 5 w 33"/>
                <a:gd name="T7" fmla="*/ 0 h 41"/>
                <a:gd name="T8" fmla="*/ 21 w 33"/>
                <a:gd name="T9" fmla="*/ 17 h 41"/>
                <a:gd name="T10" fmla="*/ 33 w 33"/>
                <a:gd name="T11" fmla="*/ 24 h 41"/>
                <a:gd name="T12" fmla="*/ 33 w 33"/>
                <a:gd name="T13" fmla="*/ 41 h 41"/>
                <a:gd name="T14" fmla="*/ 33 w 33"/>
                <a:gd name="T15" fmla="*/ 41 h 41"/>
                <a:gd name="T16" fmla="*/ 33 w 33"/>
                <a:gd name="T17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41">
                  <a:moveTo>
                    <a:pt x="33" y="41"/>
                  </a:moveTo>
                  <a:lnTo>
                    <a:pt x="17" y="29"/>
                  </a:lnTo>
                  <a:lnTo>
                    <a:pt x="0" y="7"/>
                  </a:lnTo>
                  <a:lnTo>
                    <a:pt x="5" y="0"/>
                  </a:lnTo>
                  <a:lnTo>
                    <a:pt x="21" y="17"/>
                  </a:lnTo>
                  <a:lnTo>
                    <a:pt x="33" y="24"/>
                  </a:lnTo>
                  <a:lnTo>
                    <a:pt x="33" y="41"/>
                  </a:lnTo>
                  <a:lnTo>
                    <a:pt x="33" y="41"/>
                  </a:lnTo>
                  <a:lnTo>
                    <a:pt x="33" y="41"/>
                  </a:lnTo>
                  <a:close/>
                </a:path>
              </a:pathLst>
            </a:custGeom>
            <a:solidFill>
              <a:schemeClr val="bg2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57" name="Freeform 501">
              <a:extLst>
                <a:ext uri="{FF2B5EF4-FFF2-40B4-BE49-F238E27FC236}">
                  <a16:creationId xmlns:a16="http://schemas.microsoft.com/office/drawing/2014/main" id="{374EE5A2-24EC-4ED7-B3A4-EDAFF1FA939A}"/>
                </a:ext>
              </a:extLst>
            </p:cNvPr>
            <p:cNvSpPr>
              <a:spLocks/>
            </p:cNvSpPr>
            <p:nvPr/>
          </p:nvSpPr>
          <p:spPr bwMode="gray">
            <a:xfrm>
              <a:off x="6448158" y="2160211"/>
              <a:ext cx="37755" cy="42671"/>
            </a:xfrm>
            <a:custGeom>
              <a:avLst/>
              <a:gdLst>
                <a:gd name="T0" fmla="*/ 0 w 246"/>
                <a:gd name="T1" fmla="*/ 16 h 278"/>
                <a:gd name="T2" fmla="*/ 5 w 246"/>
                <a:gd name="T3" fmla="*/ 7 h 278"/>
                <a:gd name="T4" fmla="*/ 76 w 246"/>
                <a:gd name="T5" fmla="*/ 0 h 278"/>
                <a:gd name="T6" fmla="*/ 97 w 246"/>
                <a:gd name="T7" fmla="*/ 16 h 278"/>
                <a:gd name="T8" fmla="*/ 97 w 246"/>
                <a:gd name="T9" fmla="*/ 23 h 278"/>
                <a:gd name="T10" fmla="*/ 152 w 246"/>
                <a:gd name="T11" fmla="*/ 33 h 278"/>
                <a:gd name="T12" fmla="*/ 168 w 246"/>
                <a:gd name="T13" fmla="*/ 45 h 278"/>
                <a:gd name="T14" fmla="*/ 175 w 246"/>
                <a:gd name="T15" fmla="*/ 45 h 278"/>
                <a:gd name="T16" fmla="*/ 185 w 246"/>
                <a:gd name="T17" fmla="*/ 61 h 278"/>
                <a:gd name="T18" fmla="*/ 175 w 246"/>
                <a:gd name="T19" fmla="*/ 89 h 278"/>
                <a:gd name="T20" fmla="*/ 175 w 246"/>
                <a:gd name="T21" fmla="*/ 94 h 278"/>
                <a:gd name="T22" fmla="*/ 192 w 246"/>
                <a:gd name="T23" fmla="*/ 111 h 278"/>
                <a:gd name="T24" fmla="*/ 208 w 246"/>
                <a:gd name="T25" fmla="*/ 101 h 278"/>
                <a:gd name="T26" fmla="*/ 208 w 246"/>
                <a:gd name="T27" fmla="*/ 146 h 278"/>
                <a:gd name="T28" fmla="*/ 229 w 246"/>
                <a:gd name="T29" fmla="*/ 151 h 278"/>
                <a:gd name="T30" fmla="*/ 229 w 246"/>
                <a:gd name="T31" fmla="*/ 172 h 278"/>
                <a:gd name="T32" fmla="*/ 229 w 246"/>
                <a:gd name="T33" fmla="*/ 172 h 278"/>
                <a:gd name="T34" fmla="*/ 246 w 246"/>
                <a:gd name="T35" fmla="*/ 189 h 278"/>
                <a:gd name="T36" fmla="*/ 229 w 246"/>
                <a:gd name="T37" fmla="*/ 189 h 278"/>
                <a:gd name="T38" fmla="*/ 218 w 246"/>
                <a:gd name="T39" fmla="*/ 184 h 278"/>
                <a:gd name="T40" fmla="*/ 208 w 246"/>
                <a:gd name="T41" fmla="*/ 189 h 278"/>
                <a:gd name="T42" fmla="*/ 201 w 246"/>
                <a:gd name="T43" fmla="*/ 184 h 278"/>
                <a:gd name="T44" fmla="*/ 185 w 246"/>
                <a:gd name="T45" fmla="*/ 189 h 278"/>
                <a:gd name="T46" fmla="*/ 175 w 246"/>
                <a:gd name="T47" fmla="*/ 172 h 278"/>
                <a:gd name="T48" fmla="*/ 168 w 246"/>
                <a:gd name="T49" fmla="*/ 184 h 278"/>
                <a:gd name="T50" fmla="*/ 163 w 246"/>
                <a:gd name="T51" fmla="*/ 200 h 278"/>
                <a:gd name="T52" fmla="*/ 168 w 246"/>
                <a:gd name="T53" fmla="*/ 208 h 278"/>
                <a:gd name="T54" fmla="*/ 163 w 246"/>
                <a:gd name="T55" fmla="*/ 224 h 278"/>
                <a:gd name="T56" fmla="*/ 147 w 246"/>
                <a:gd name="T57" fmla="*/ 229 h 278"/>
                <a:gd name="T58" fmla="*/ 147 w 246"/>
                <a:gd name="T59" fmla="*/ 241 h 278"/>
                <a:gd name="T60" fmla="*/ 130 w 246"/>
                <a:gd name="T61" fmla="*/ 257 h 278"/>
                <a:gd name="T62" fmla="*/ 130 w 246"/>
                <a:gd name="T63" fmla="*/ 269 h 278"/>
                <a:gd name="T64" fmla="*/ 114 w 246"/>
                <a:gd name="T65" fmla="*/ 269 h 278"/>
                <a:gd name="T66" fmla="*/ 109 w 246"/>
                <a:gd name="T67" fmla="*/ 278 h 278"/>
                <a:gd name="T68" fmla="*/ 97 w 246"/>
                <a:gd name="T69" fmla="*/ 262 h 278"/>
                <a:gd name="T70" fmla="*/ 109 w 246"/>
                <a:gd name="T71" fmla="*/ 257 h 278"/>
                <a:gd name="T72" fmla="*/ 97 w 246"/>
                <a:gd name="T73" fmla="*/ 212 h 278"/>
                <a:gd name="T74" fmla="*/ 114 w 246"/>
                <a:gd name="T75" fmla="*/ 184 h 278"/>
                <a:gd name="T76" fmla="*/ 97 w 246"/>
                <a:gd name="T77" fmla="*/ 134 h 278"/>
                <a:gd name="T78" fmla="*/ 83 w 246"/>
                <a:gd name="T79" fmla="*/ 118 h 278"/>
                <a:gd name="T80" fmla="*/ 43 w 246"/>
                <a:gd name="T81" fmla="*/ 73 h 278"/>
                <a:gd name="T82" fmla="*/ 22 w 246"/>
                <a:gd name="T83" fmla="*/ 33 h 278"/>
                <a:gd name="T84" fmla="*/ 0 w 246"/>
                <a:gd name="T85" fmla="*/ 16 h 278"/>
                <a:gd name="T86" fmla="*/ 0 w 246"/>
                <a:gd name="T87" fmla="*/ 16 h 278"/>
                <a:gd name="T88" fmla="*/ 0 w 246"/>
                <a:gd name="T89" fmla="*/ 16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46" h="278">
                  <a:moveTo>
                    <a:pt x="0" y="16"/>
                  </a:moveTo>
                  <a:lnTo>
                    <a:pt x="5" y="7"/>
                  </a:lnTo>
                  <a:lnTo>
                    <a:pt x="76" y="0"/>
                  </a:lnTo>
                  <a:lnTo>
                    <a:pt x="97" y="16"/>
                  </a:lnTo>
                  <a:lnTo>
                    <a:pt x="97" y="23"/>
                  </a:lnTo>
                  <a:lnTo>
                    <a:pt x="152" y="33"/>
                  </a:lnTo>
                  <a:lnTo>
                    <a:pt x="168" y="45"/>
                  </a:lnTo>
                  <a:lnTo>
                    <a:pt x="175" y="45"/>
                  </a:lnTo>
                  <a:lnTo>
                    <a:pt x="185" y="61"/>
                  </a:lnTo>
                  <a:lnTo>
                    <a:pt x="175" y="89"/>
                  </a:lnTo>
                  <a:lnTo>
                    <a:pt x="175" y="94"/>
                  </a:lnTo>
                  <a:lnTo>
                    <a:pt x="192" y="111"/>
                  </a:lnTo>
                  <a:lnTo>
                    <a:pt x="208" y="101"/>
                  </a:lnTo>
                  <a:lnTo>
                    <a:pt x="208" y="146"/>
                  </a:lnTo>
                  <a:lnTo>
                    <a:pt x="229" y="151"/>
                  </a:lnTo>
                  <a:lnTo>
                    <a:pt x="229" y="172"/>
                  </a:lnTo>
                  <a:lnTo>
                    <a:pt x="229" y="172"/>
                  </a:lnTo>
                  <a:lnTo>
                    <a:pt x="246" y="189"/>
                  </a:lnTo>
                  <a:lnTo>
                    <a:pt x="229" y="189"/>
                  </a:lnTo>
                  <a:lnTo>
                    <a:pt x="218" y="184"/>
                  </a:lnTo>
                  <a:lnTo>
                    <a:pt x="208" y="189"/>
                  </a:lnTo>
                  <a:lnTo>
                    <a:pt x="201" y="184"/>
                  </a:lnTo>
                  <a:lnTo>
                    <a:pt x="185" y="189"/>
                  </a:lnTo>
                  <a:lnTo>
                    <a:pt x="175" y="172"/>
                  </a:lnTo>
                  <a:lnTo>
                    <a:pt x="168" y="184"/>
                  </a:lnTo>
                  <a:lnTo>
                    <a:pt x="163" y="200"/>
                  </a:lnTo>
                  <a:lnTo>
                    <a:pt x="168" y="208"/>
                  </a:lnTo>
                  <a:lnTo>
                    <a:pt x="163" y="224"/>
                  </a:lnTo>
                  <a:lnTo>
                    <a:pt x="147" y="229"/>
                  </a:lnTo>
                  <a:lnTo>
                    <a:pt x="147" y="241"/>
                  </a:lnTo>
                  <a:lnTo>
                    <a:pt x="130" y="257"/>
                  </a:lnTo>
                  <a:lnTo>
                    <a:pt x="130" y="269"/>
                  </a:lnTo>
                  <a:lnTo>
                    <a:pt x="114" y="269"/>
                  </a:lnTo>
                  <a:lnTo>
                    <a:pt x="109" y="278"/>
                  </a:lnTo>
                  <a:lnTo>
                    <a:pt x="97" y="262"/>
                  </a:lnTo>
                  <a:lnTo>
                    <a:pt x="109" y="257"/>
                  </a:lnTo>
                  <a:lnTo>
                    <a:pt x="97" y="212"/>
                  </a:lnTo>
                  <a:lnTo>
                    <a:pt x="114" y="184"/>
                  </a:lnTo>
                  <a:lnTo>
                    <a:pt x="97" y="134"/>
                  </a:lnTo>
                  <a:lnTo>
                    <a:pt x="83" y="118"/>
                  </a:lnTo>
                  <a:lnTo>
                    <a:pt x="43" y="73"/>
                  </a:lnTo>
                  <a:lnTo>
                    <a:pt x="22" y="33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6"/>
                  </a:lnTo>
                  <a:close/>
                </a:path>
              </a:pathLst>
            </a:custGeom>
            <a:solidFill>
              <a:schemeClr val="bg2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58" name="Freeform 502">
              <a:extLst>
                <a:ext uri="{FF2B5EF4-FFF2-40B4-BE49-F238E27FC236}">
                  <a16:creationId xmlns:a16="http://schemas.microsoft.com/office/drawing/2014/main" id="{2462B02C-CF99-4069-98BF-DD1C33AA000E}"/>
                </a:ext>
              </a:extLst>
            </p:cNvPr>
            <p:cNvSpPr>
              <a:spLocks/>
            </p:cNvSpPr>
            <p:nvPr/>
          </p:nvSpPr>
          <p:spPr bwMode="gray">
            <a:xfrm>
              <a:off x="6647215" y="2882698"/>
              <a:ext cx="767" cy="3377"/>
            </a:xfrm>
            <a:custGeom>
              <a:avLst/>
              <a:gdLst>
                <a:gd name="T0" fmla="*/ 0 w 5"/>
                <a:gd name="T1" fmla="*/ 22 h 22"/>
                <a:gd name="T2" fmla="*/ 0 w 5"/>
                <a:gd name="T3" fmla="*/ 22 h 22"/>
                <a:gd name="T4" fmla="*/ 0 w 5"/>
                <a:gd name="T5" fmla="*/ 0 h 22"/>
                <a:gd name="T6" fmla="*/ 5 w 5"/>
                <a:gd name="T7" fmla="*/ 5 h 22"/>
                <a:gd name="T8" fmla="*/ 0 w 5"/>
                <a:gd name="T9" fmla="*/ 22 h 22"/>
                <a:gd name="T10" fmla="*/ 0 w 5"/>
                <a:gd name="T11" fmla="*/ 22 h 22"/>
                <a:gd name="T12" fmla="*/ 0 w 5"/>
                <a:gd name="T13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" h="22">
                  <a:moveTo>
                    <a:pt x="0" y="22"/>
                  </a:moveTo>
                  <a:lnTo>
                    <a:pt x="0" y="22"/>
                  </a:lnTo>
                  <a:lnTo>
                    <a:pt x="0" y="0"/>
                  </a:lnTo>
                  <a:lnTo>
                    <a:pt x="5" y="5"/>
                  </a:lnTo>
                  <a:lnTo>
                    <a:pt x="0" y="22"/>
                  </a:lnTo>
                  <a:lnTo>
                    <a:pt x="0" y="22"/>
                  </a:lnTo>
                  <a:lnTo>
                    <a:pt x="0" y="22"/>
                  </a:lnTo>
                  <a:close/>
                </a:path>
              </a:pathLst>
            </a:custGeom>
            <a:solidFill>
              <a:schemeClr val="bg2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59" name="Freeform 503">
              <a:extLst>
                <a:ext uri="{FF2B5EF4-FFF2-40B4-BE49-F238E27FC236}">
                  <a16:creationId xmlns:a16="http://schemas.microsoft.com/office/drawing/2014/main" id="{C4886A0B-612A-4C02-97D2-8B6CC1BD3489}"/>
                </a:ext>
              </a:extLst>
            </p:cNvPr>
            <p:cNvSpPr>
              <a:spLocks/>
            </p:cNvSpPr>
            <p:nvPr/>
          </p:nvSpPr>
          <p:spPr bwMode="gray">
            <a:xfrm>
              <a:off x="7106259" y="2106796"/>
              <a:ext cx="345779" cy="146892"/>
            </a:xfrm>
            <a:custGeom>
              <a:avLst/>
              <a:gdLst>
                <a:gd name="T0" fmla="*/ 1993 w 2253"/>
                <a:gd name="T1" fmla="*/ 603 h 957"/>
                <a:gd name="T2" fmla="*/ 1875 w 2253"/>
                <a:gd name="T3" fmla="*/ 643 h 957"/>
                <a:gd name="T4" fmla="*/ 1729 w 2253"/>
                <a:gd name="T5" fmla="*/ 659 h 957"/>
                <a:gd name="T6" fmla="*/ 1658 w 2253"/>
                <a:gd name="T7" fmla="*/ 719 h 957"/>
                <a:gd name="T8" fmla="*/ 1632 w 2253"/>
                <a:gd name="T9" fmla="*/ 808 h 957"/>
                <a:gd name="T10" fmla="*/ 1382 w 2253"/>
                <a:gd name="T11" fmla="*/ 886 h 957"/>
                <a:gd name="T12" fmla="*/ 1209 w 2253"/>
                <a:gd name="T13" fmla="*/ 957 h 957"/>
                <a:gd name="T14" fmla="*/ 1171 w 2253"/>
                <a:gd name="T15" fmla="*/ 936 h 957"/>
                <a:gd name="T16" fmla="*/ 1048 w 2253"/>
                <a:gd name="T17" fmla="*/ 907 h 957"/>
                <a:gd name="T18" fmla="*/ 919 w 2253"/>
                <a:gd name="T19" fmla="*/ 863 h 957"/>
                <a:gd name="T20" fmla="*/ 654 w 2253"/>
                <a:gd name="T21" fmla="*/ 853 h 957"/>
                <a:gd name="T22" fmla="*/ 571 w 2253"/>
                <a:gd name="T23" fmla="*/ 813 h 957"/>
                <a:gd name="T24" fmla="*/ 534 w 2253"/>
                <a:gd name="T25" fmla="*/ 726 h 957"/>
                <a:gd name="T26" fmla="*/ 411 w 2253"/>
                <a:gd name="T27" fmla="*/ 664 h 957"/>
                <a:gd name="T28" fmla="*/ 200 w 2253"/>
                <a:gd name="T29" fmla="*/ 615 h 957"/>
                <a:gd name="T30" fmla="*/ 222 w 2253"/>
                <a:gd name="T31" fmla="*/ 548 h 957"/>
                <a:gd name="T32" fmla="*/ 210 w 2253"/>
                <a:gd name="T33" fmla="*/ 475 h 957"/>
                <a:gd name="T34" fmla="*/ 163 w 2253"/>
                <a:gd name="T35" fmla="*/ 409 h 957"/>
                <a:gd name="T36" fmla="*/ 125 w 2253"/>
                <a:gd name="T37" fmla="*/ 388 h 957"/>
                <a:gd name="T38" fmla="*/ 54 w 2253"/>
                <a:gd name="T39" fmla="*/ 355 h 957"/>
                <a:gd name="T40" fmla="*/ 0 w 2253"/>
                <a:gd name="T41" fmla="*/ 310 h 957"/>
                <a:gd name="T42" fmla="*/ 21 w 2253"/>
                <a:gd name="T43" fmla="*/ 277 h 957"/>
                <a:gd name="T44" fmla="*/ 75 w 2253"/>
                <a:gd name="T45" fmla="*/ 260 h 957"/>
                <a:gd name="T46" fmla="*/ 101 w 2253"/>
                <a:gd name="T47" fmla="*/ 256 h 957"/>
                <a:gd name="T48" fmla="*/ 139 w 2253"/>
                <a:gd name="T49" fmla="*/ 227 h 957"/>
                <a:gd name="T50" fmla="*/ 163 w 2253"/>
                <a:gd name="T51" fmla="*/ 199 h 957"/>
                <a:gd name="T52" fmla="*/ 252 w 2253"/>
                <a:gd name="T53" fmla="*/ 161 h 957"/>
                <a:gd name="T54" fmla="*/ 319 w 2253"/>
                <a:gd name="T55" fmla="*/ 128 h 957"/>
                <a:gd name="T56" fmla="*/ 361 w 2253"/>
                <a:gd name="T57" fmla="*/ 128 h 957"/>
                <a:gd name="T58" fmla="*/ 453 w 2253"/>
                <a:gd name="T59" fmla="*/ 149 h 957"/>
                <a:gd name="T60" fmla="*/ 503 w 2253"/>
                <a:gd name="T61" fmla="*/ 199 h 957"/>
                <a:gd name="T62" fmla="*/ 562 w 2253"/>
                <a:gd name="T63" fmla="*/ 206 h 957"/>
                <a:gd name="T64" fmla="*/ 616 w 2253"/>
                <a:gd name="T65" fmla="*/ 222 h 957"/>
                <a:gd name="T66" fmla="*/ 697 w 2253"/>
                <a:gd name="T67" fmla="*/ 206 h 957"/>
                <a:gd name="T68" fmla="*/ 739 w 2253"/>
                <a:gd name="T69" fmla="*/ 161 h 957"/>
                <a:gd name="T70" fmla="*/ 718 w 2253"/>
                <a:gd name="T71" fmla="*/ 128 h 957"/>
                <a:gd name="T72" fmla="*/ 734 w 2253"/>
                <a:gd name="T73" fmla="*/ 62 h 957"/>
                <a:gd name="T74" fmla="*/ 777 w 2253"/>
                <a:gd name="T75" fmla="*/ 0 h 957"/>
                <a:gd name="T76" fmla="*/ 956 w 2253"/>
                <a:gd name="T77" fmla="*/ 71 h 957"/>
                <a:gd name="T78" fmla="*/ 1011 w 2253"/>
                <a:gd name="T79" fmla="*/ 95 h 957"/>
                <a:gd name="T80" fmla="*/ 1025 w 2253"/>
                <a:gd name="T81" fmla="*/ 133 h 957"/>
                <a:gd name="T82" fmla="*/ 1079 w 2253"/>
                <a:gd name="T83" fmla="*/ 173 h 957"/>
                <a:gd name="T84" fmla="*/ 1129 w 2253"/>
                <a:gd name="T85" fmla="*/ 189 h 957"/>
                <a:gd name="T86" fmla="*/ 1237 w 2253"/>
                <a:gd name="T87" fmla="*/ 161 h 957"/>
                <a:gd name="T88" fmla="*/ 1330 w 2253"/>
                <a:gd name="T89" fmla="*/ 173 h 957"/>
                <a:gd name="T90" fmla="*/ 1419 w 2253"/>
                <a:gd name="T91" fmla="*/ 215 h 957"/>
                <a:gd name="T92" fmla="*/ 1507 w 2253"/>
                <a:gd name="T93" fmla="*/ 260 h 957"/>
                <a:gd name="T94" fmla="*/ 1653 w 2253"/>
                <a:gd name="T95" fmla="*/ 272 h 957"/>
                <a:gd name="T96" fmla="*/ 1859 w 2253"/>
                <a:gd name="T97" fmla="*/ 173 h 957"/>
                <a:gd name="T98" fmla="*/ 1960 w 2253"/>
                <a:gd name="T99" fmla="*/ 215 h 957"/>
                <a:gd name="T100" fmla="*/ 2031 w 2253"/>
                <a:gd name="T101" fmla="*/ 222 h 957"/>
                <a:gd name="T102" fmla="*/ 1965 w 2253"/>
                <a:gd name="T103" fmla="*/ 367 h 957"/>
                <a:gd name="T104" fmla="*/ 1977 w 2253"/>
                <a:gd name="T105" fmla="*/ 421 h 957"/>
                <a:gd name="T106" fmla="*/ 2074 w 2253"/>
                <a:gd name="T107" fmla="*/ 421 h 957"/>
                <a:gd name="T108" fmla="*/ 2178 w 2253"/>
                <a:gd name="T109" fmla="*/ 409 h 957"/>
                <a:gd name="T110" fmla="*/ 2237 w 2253"/>
                <a:gd name="T111" fmla="*/ 466 h 957"/>
                <a:gd name="T112" fmla="*/ 2237 w 2253"/>
                <a:gd name="T113" fmla="*/ 520 h 957"/>
                <a:gd name="T114" fmla="*/ 2178 w 2253"/>
                <a:gd name="T115" fmla="*/ 515 h 957"/>
                <a:gd name="T116" fmla="*/ 2074 w 2253"/>
                <a:gd name="T117" fmla="*/ 520 h 957"/>
                <a:gd name="T118" fmla="*/ 2031 w 2253"/>
                <a:gd name="T119" fmla="*/ 548 h 9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253" h="957">
                  <a:moveTo>
                    <a:pt x="2031" y="548"/>
                  </a:moveTo>
                  <a:lnTo>
                    <a:pt x="2010" y="560"/>
                  </a:lnTo>
                  <a:lnTo>
                    <a:pt x="1993" y="603"/>
                  </a:lnTo>
                  <a:lnTo>
                    <a:pt x="1944" y="626"/>
                  </a:lnTo>
                  <a:lnTo>
                    <a:pt x="1875" y="626"/>
                  </a:lnTo>
                  <a:lnTo>
                    <a:pt x="1875" y="643"/>
                  </a:lnTo>
                  <a:lnTo>
                    <a:pt x="1814" y="681"/>
                  </a:lnTo>
                  <a:lnTo>
                    <a:pt x="1762" y="669"/>
                  </a:lnTo>
                  <a:lnTo>
                    <a:pt x="1729" y="659"/>
                  </a:lnTo>
                  <a:lnTo>
                    <a:pt x="1708" y="648"/>
                  </a:lnTo>
                  <a:lnTo>
                    <a:pt x="1686" y="664"/>
                  </a:lnTo>
                  <a:lnTo>
                    <a:pt x="1658" y="719"/>
                  </a:lnTo>
                  <a:lnTo>
                    <a:pt x="1691" y="754"/>
                  </a:lnTo>
                  <a:lnTo>
                    <a:pt x="1696" y="775"/>
                  </a:lnTo>
                  <a:lnTo>
                    <a:pt x="1632" y="808"/>
                  </a:lnTo>
                  <a:lnTo>
                    <a:pt x="1587" y="853"/>
                  </a:lnTo>
                  <a:lnTo>
                    <a:pt x="1511" y="886"/>
                  </a:lnTo>
                  <a:lnTo>
                    <a:pt x="1382" y="886"/>
                  </a:lnTo>
                  <a:lnTo>
                    <a:pt x="1263" y="924"/>
                  </a:lnTo>
                  <a:lnTo>
                    <a:pt x="1226" y="952"/>
                  </a:lnTo>
                  <a:lnTo>
                    <a:pt x="1209" y="957"/>
                  </a:lnTo>
                  <a:lnTo>
                    <a:pt x="1204" y="957"/>
                  </a:lnTo>
                  <a:lnTo>
                    <a:pt x="1171" y="952"/>
                  </a:lnTo>
                  <a:lnTo>
                    <a:pt x="1171" y="936"/>
                  </a:lnTo>
                  <a:lnTo>
                    <a:pt x="1129" y="941"/>
                  </a:lnTo>
                  <a:lnTo>
                    <a:pt x="1096" y="936"/>
                  </a:lnTo>
                  <a:lnTo>
                    <a:pt x="1048" y="907"/>
                  </a:lnTo>
                  <a:lnTo>
                    <a:pt x="1004" y="903"/>
                  </a:lnTo>
                  <a:lnTo>
                    <a:pt x="987" y="879"/>
                  </a:lnTo>
                  <a:lnTo>
                    <a:pt x="919" y="863"/>
                  </a:lnTo>
                  <a:lnTo>
                    <a:pt x="881" y="863"/>
                  </a:lnTo>
                  <a:lnTo>
                    <a:pt x="826" y="879"/>
                  </a:lnTo>
                  <a:lnTo>
                    <a:pt x="654" y="853"/>
                  </a:lnTo>
                  <a:lnTo>
                    <a:pt x="600" y="863"/>
                  </a:lnTo>
                  <a:lnTo>
                    <a:pt x="600" y="846"/>
                  </a:lnTo>
                  <a:lnTo>
                    <a:pt x="571" y="813"/>
                  </a:lnTo>
                  <a:lnTo>
                    <a:pt x="545" y="754"/>
                  </a:lnTo>
                  <a:lnTo>
                    <a:pt x="534" y="754"/>
                  </a:lnTo>
                  <a:lnTo>
                    <a:pt x="534" y="726"/>
                  </a:lnTo>
                  <a:lnTo>
                    <a:pt x="508" y="726"/>
                  </a:lnTo>
                  <a:lnTo>
                    <a:pt x="486" y="719"/>
                  </a:lnTo>
                  <a:lnTo>
                    <a:pt x="411" y="664"/>
                  </a:lnTo>
                  <a:lnTo>
                    <a:pt x="264" y="659"/>
                  </a:lnTo>
                  <a:lnTo>
                    <a:pt x="215" y="643"/>
                  </a:lnTo>
                  <a:lnTo>
                    <a:pt x="200" y="615"/>
                  </a:lnTo>
                  <a:lnTo>
                    <a:pt x="210" y="593"/>
                  </a:lnTo>
                  <a:lnTo>
                    <a:pt x="231" y="570"/>
                  </a:lnTo>
                  <a:lnTo>
                    <a:pt x="222" y="548"/>
                  </a:lnTo>
                  <a:lnTo>
                    <a:pt x="231" y="520"/>
                  </a:lnTo>
                  <a:lnTo>
                    <a:pt x="222" y="492"/>
                  </a:lnTo>
                  <a:lnTo>
                    <a:pt x="210" y="475"/>
                  </a:lnTo>
                  <a:lnTo>
                    <a:pt x="193" y="449"/>
                  </a:lnTo>
                  <a:lnTo>
                    <a:pt x="184" y="437"/>
                  </a:lnTo>
                  <a:lnTo>
                    <a:pt x="163" y="409"/>
                  </a:lnTo>
                  <a:lnTo>
                    <a:pt x="163" y="404"/>
                  </a:lnTo>
                  <a:lnTo>
                    <a:pt x="139" y="404"/>
                  </a:lnTo>
                  <a:lnTo>
                    <a:pt x="125" y="388"/>
                  </a:lnTo>
                  <a:lnTo>
                    <a:pt x="92" y="388"/>
                  </a:lnTo>
                  <a:lnTo>
                    <a:pt x="59" y="371"/>
                  </a:lnTo>
                  <a:lnTo>
                    <a:pt x="54" y="355"/>
                  </a:lnTo>
                  <a:lnTo>
                    <a:pt x="16" y="338"/>
                  </a:lnTo>
                  <a:lnTo>
                    <a:pt x="21" y="326"/>
                  </a:lnTo>
                  <a:lnTo>
                    <a:pt x="0" y="310"/>
                  </a:lnTo>
                  <a:lnTo>
                    <a:pt x="4" y="300"/>
                  </a:lnTo>
                  <a:lnTo>
                    <a:pt x="4" y="282"/>
                  </a:lnTo>
                  <a:lnTo>
                    <a:pt x="21" y="277"/>
                  </a:lnTo>
                  <a:lnTo>
                    <a:pt x="21" y="260"/>
                  </a:lnTo>
                  <a:lnTo>
                    <a:pt x="33" y="256"/>
                  </a:lnTo>
                  <a:lnTo>
                    <a:pt x="75" y="260"/>
                  </a:lnTo>
                  <a:lnTo>
                    <a:pt x="75" y="244"/>
                  </a:lnTo>
                  <a:lnTo>
                    <a:pt x="87" y="256"/>
                  </a:lnTo>
                  <a:lnTo>
                    <a:pt x="101" y="256"/>
                  </a:lnTo>
                  <a:lnTo>
                    <a:pt x="101" y="239"/>
                  </a:lnTo>
                  <a:lnTo>
                    <a:pt x="108" y="244"/>
                  </a:lnTo>
                  <a:lnTo>
                    <a:pt x="139" y="227"/>
                  </a:lnTo>
                  <a:lnTo>
                    <a:pt x="130" y="215"/>
                  </a:lnTo>
                  <a:lnTo>
                    <a:pt x="156" y="206"/>
                  </a:lnTo>
                  <a:lnTo>
                    <a:pt x="163" y="199"/>
                  </a:lnTo>
                  <a:lnTo>
                    <a:pt x="210" y="182"/>
                  </a:lnTo>
                  <a:lnTo>
                    <a:pt x="222" y="166"/>
                  </a:lnTo>
                  <a:lnTo>
                    <a:pt x="252" y="161"/>
                  </a:lnTo>
                  <a:lnTo>
                    <a:pt x="276" y="145"/>
                  </a:lnTo>
                  <a:lnTo>
                    <a:pt x="307" y="133"/>
                  </a:lnTo>
                  <a:lnTo>
                    <a:pt x="319" y="128"/>
                  </a:lnTo>
                  <a:lnTo>
                    <a:pt x="340" y="145"/>
                  </a:lnTo>
                  <a:lnTo>
                    <a:pt x="356" y="128"/>
                  </a:lnTo>
                  <a:lnTo>
                    <a:pt x="361" y="128"/>
                  </a:lnTo>
                  <a:lnTo>
                    <a:pt x="361" y="145"/>
                  </a:lnTo>
                  <a:lnTo>
                    <a:pt x="373" y="149"/>
                  </a:lnTo>
                  <a:lnTo>
                    <a:pt x="453" y="149"/>
                  </a:lnTo>
                  <a:lnTo>
                    <a:pt x="465" y="182"/>
                  </a:lnTo>
                  <a:lnTo>
                    <a:pt x="479" y="206"/>
                  </a:lnTo>
                  <a:lnTo>
                    <a:pt x="503" y="199"/>
                  </a:lnTo>
                  <a:lnTo>
                    <a:pt x="508" y="206"/>
                  </a:lnTo>
                  <a:lnTo>
                    <a:pt x="541" y="215"/>
                  </a:lnTo>
                  <a:lnTo>
                    <a:pt x="562" y="206"/>
                  </a:lnTo>
                  <a:lnTo>
                    <a:pt x="571" y="215"/>
                  </a:lnTo>
                  <a:lnTo>
                    <a:pt x="578" y="206"/>
                  </a:lnTo>
                  <a:lnTo>
                    <a:pt x="616" y="222"/>
                  </a:lnTo>
                  <a:lnTo>
                    <a:pt x="647" y="215"/>
                  </a:lnTo>
                  <a:lnTo>
                    <a:pt x="671" y="227"/>
                  </a:lnTo>
                  <a:lnTo>
                    <a:pt x="697" y="206"/>
                  </a:lnTo>
                  <a:lnTo>
                    <a:pt x="722" y="199"/>
                  </a:lnTo>
                  <a:lnTo>
                    <a:pt x="739" y="173"/>
                  </a:lnTo>
                  <a:lnTo>
                    <a:pt x="739" y="161"/>
                  </a:lnTo>
                  <a:lnTo>
                    <a:pt x="718" y="145"/>
                  </a:lnTo>
                  <a:lnTo>
                    <a:pt x="718" y="133"/>
                  </a:lnTo>
                  <a:lnTo>
                    <a:pt x="718" y="128"/>
                  </a:lnTo>
                  <a:lnTo>
                    <a:pt x="701" y="111"/>
                  </a:lnTo>
                  <a:lnTo>
                    <a:pt x="718" y="62"/>
                  </a:lnTo>
                  <a:lnTo>
                    <a:pt x="734" y="62"/>
                  </a:lnTo>
                  <a:lnTo>
                    <a:pt x="739" y="38"/>
                  </a:lnTo>
                  <a:lnTo>
                    <a:pt x="760" y="34"/>
                  </a:lnTo>
                  <a:lnTo>
                    <a:pt x="777" y="0"/>
                  </a:lnTo>
                  <a:lnTo>
                    <a:pt x="859" y="38"/>
                  </a:lnTo>
                  <a:lnTo>
                    <a:pt x="897" y="38"/>
                  </a:lnTo>
                  <a:lnTo>
                    <a:pt x="956" y="71"/>
                  </a:lnTo>
                  <a:lnTo>
                    <a:pt x="973" y="62"/>
                  </a:lnTo>
                  <a:lnTo>
                    <a:pt x="1011" y="78"/>
                  </a:lnTo>
                  <a:lnTo>
                    <a:pt x="1011" y="95"/>
                  </a:lnTo>
                  <a:lnTo>
                    <a:pt x="1020" y="111"/>
                  </a:lnTo>
                  <a:lnTo>
                    <a:pt x="1011" y="128"/>
                  </a:lnTo>
                  <a:lnTo>
                    <a:pt x="1025" y="133"/>
                  </a:lnTo>
                  <a:lnTo>
                    <a:pt x="1020" y="149"/>
                  </a:lnTo>
                  <a:lnTo>
                    <a:pt x="1063" y="173"/>
                  </a:lnTo>
                  <a:lnTo>
                    <a:pt x="1079" y="173"/>
                  </a:lnTo>
                  <a:lnTo>
                    <a:pt x="1086" y="189"/>
                  </a:lnTo>
                  <a:lnTo>
                    <a:pt x="1117" y="189"/>
                  </a:lnTo>
                  <a:lnTo>
                    <a:pt x="1129" y="189"/>
                  </a:lnTo>
                  <a:lnTo>
                    <a:pt x="1141" y="189"/>
                  </a:lnTo>
                  <a:lnTo>
                    <a:pt x="1167" y="173"/>
                  </a:lnTo>
                  <a:lnTo>
                    <a:pt x="1237" y="161"/>
                  </a:lnTo>
                  <a:lnTo>
                    <a:pt x="1280" y="166"/>
                  </a:lnTo>
                  <a:lnTo>
                    <a:pt x="1297" y="173"/>
                  </a:lnTo>
                  <a:lnTo>
                    <a:pt x="1330" y="173"/>
                  </a:lnTo>
                  <a:lnTo>
                    <a:pt x="1351" y="189"/>
                  </a:lnTo>
                  <a:lnTo>
                    <a:pt x="1356" y="206"/>
                  </a:lnTo>
                  <a:lnTo>
                    <a:pt x="1419" y="215"/>
                  </a:lnTo>
                  <a:lnTo>
                    <a:pt x="1415" y="239"/>
                  </a:lnTo>
                  <a:lnTo>
                    <a:pt x="1457" y="272"/>
                  </a:lnTo>
                  <a:lnTo>
                    <a:pt x="1507" y="260"/>
                  </a:lnTo>
                  <a:lnTo>
                    <a:pt x="1528" y="277"/>
                  </a:lnTo>
                  <a:lnTo>
                    <a:pt x="1615" y="282"/>
                  </a:lnTo>
                  <a:lnTo>
                    <a:pt x="1653" y="272"/>
                  </a:lnTo>
                  <a:lnTo>
                    <a:pt x="1776" y="244"/>
                  </a:lnTo>
                  <a:lnTo>
                    <a:pt x="1783" y="222"/>
                  </a:lnTo>
                  <a:lnTo>
                    <a:pt x="1859" y="173"/>
                  </a:lnTo>
                  <a:lnTo>
                    <a:pt x="1901" y="182"/>
                  </a:lnTo>
                  <a:lnTo>
                    <a:pt x="1939" y="215"/>
                  </a:lnTo>
                  <a:lnTo>
                    <a:pt x="1960" y="215"/>
                  </a:lnTo>
                  <a:lnTo>
                    <a:pt x="1998" y="206"/>
                  </a:lnTo>
                  <a:lnTo>
                    <a:pt x="2019" y="215"/>
                  </a:lnTo>
                  <a:lnTo>
                    <a:pt x="2031" y="222"/>
                  </a:lnTo>
                  <a:lnTo>
                    <a:pt x="1982" y="317"/>
                  </a:lnTo>
                  <a:lnTo>
                    <a:pt x="1965" y="338"/>
                  </a:lnTo>
                  <a:lnTo>
                    <a:pt x="1965" y="367"/>
                  </a:lnTo>
                  <a:lnTo>
                    <a:pt x="1944" y="383"/>
                  </a:lnTo>
                  <a:lnTo>
                    <a:pt x="1956" y="393"/>
                  </a:lnTo>
                  <a:lnTo>
                    <a:pt x="1977" y="421"/>
                  </a:lnTo>
                  <a:lnTo>
                    <a:pt x="1998" y="404"/>
                  </a:lnTo>
                  <a:lnTo>
                    <a:pt x="2048" y="404"/>
                  </a:lnTo>
                  <a:lnTo>
                    <a:pt x="2074" y="421"/>
                  </a:lnTo>
                  <a:lnTo>
                    <a:pt x="2107" y="388"/>
                  </a:lnTo>
                  <a:lnTo>
                    <a:pt x="2161" y="388"/>
                  </a:lnTo>
                  <a:lnTo>
                    <a:pt x="2178" y="409"/>
                  </a:lnTo>
                  <a:lnTo>
                    <a:pt x="2199" y="421"/>
                  </a:lnTo>
                  <a:lnTo>
                    <a:pt x="2199" y="437"/>
                  </a:lnTo>
                  <a:lnTo>
                    <a:pt x="2237" y="466"/>
                  </a:lnTo>
                  <a:lnTo>
                    <a:pt x="2253" y="492"/>
                  </a:lnTo>
                  <a:lnTo>
                    <a:pt x="2253" y="504"/>
                  </a:lnTo>
                  <a:lnTo>
                    <a:pt x="2237" y="520"/>
                  </a:lnTo>
                  <a:lnTo>
                    <a:pt x="2215" y="515"/>
                  </a:lnTo>
                  <a:lnTo>
                    <a:pt x="2182" y="504"/>
                  </a:lnTo>
                  <a:lnTo>
                    <a:pt x="2178" y="515"/>
                  </a:lnTo>
                  <a:lnTo>
                    <a:pt x="2145" y="504"/>
                  </a:lnTo>
                  <a:lnTo>
                    <a:pt x="2107" y="520"/>
                  </a:lnTo>
                  <a:lnTo>
                    <a:pt x="2074" y="520"/>
                  </a:lnTo>
                  <a:lnTo>
                    <a:pt x="2074" y="537"/>
                  </a:lnTo>
                  <a:lnTo>
                    <a:pt x="2036" y="537"/>
                  </a:lnTo>
                  <a:lnTo>
                    <a:pt x="2031" y="548"/>
                  </a:lnTo>
                  <a:lnTo>
                    <a:pt x="2031" y="548"/>
                  </a:lnTo>
                  <a:lnTo>
                    <a:pt x="2031" y="548"/>
                  </a:lnTo>
                  <a:close/>
                </a:path>
              </a:pathLst>
            </a:custGeom>
            <a:solidFill>
              <a:schemeClr val="bg2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60" name="Freeform 504">
              <a:extLst>
                <a:ext uri="{FF2B5EF4-FFF2-40B4-BE49-F238E27FC236}">
                  <a16:creationId xmlns:a16="http://schemas.microsoft.com/office/drawing/2014/main" id="{B8FB4477-ED29-448C-872D-7AF768510D3D}"/>
                </a:ext>
              </a:extLst>
            </p:cNvPr>
            <p:cNvSpPr>
              <a:spLocks/>
            </p:cNvSpPr>
            <p:nvPr/>
          </p:nvSpPr>
          <p:spPr bwMode="gray">
            <a:xfrm>
              <a:off x="5491089" y="2554225"/>
              <a:ext cx="767" cy="2609"/>
            </a:xfrm>
            <a:custGeom>
              <a:avLst/>
              <a:gdLst>
                <a:gd name="T0" fmla="*/ 5 w 5"/>
                <a:gd name="T1" fmla="*/ 17 h 17"/>
                <a:gd name="T2" fmla="*/ 0 w 5"/>
                <a:gd name="T3" fmla="*/ 5 h 17"/>
                <a:gd name="T4" fmla="*/ 5 w 5"/>
                <a:gd name="T5" fmla="*/ 0 h 17"/>
                <a:gd name="T6" fmla="*/ 5 w 5"/>
                <a:gd name="T7" fmla="*/ 17 h 17"/>
                <a:gd name="T8" fmla="*/ 5 w 5"/>
                <a:gd name="T9" fmla="*/ 17 h 17"/>
                <a:gd name="T10" fmla="*/ 5 w 5"/>
                <a:gd name="T11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17">
                  <a:moveTo>
                    <a:pt x="5" y="17"/>
                  </a:moveTo>
                  <a:lnTo>
                    <a:pt x="0" y="5"/>
                  </a:lnTo>
                  <a:lnTo>
                    <a:pt x="5" y="0"/>
                  </a:lnTo>
                  <a:lnTo>
                    <a:pt x="5" y="17"/>
                  </a:lnTo>
                  <a:lnTo>
                    <a:pt x="5" y="17"/>
                  </a:lnTo>
                  <a:lnTo>
                    <a:pt x="5" y="17"/>
                  </a:lnTo>
                  <a:close/>
                </a:path>
              </a:pathLst>
            </a:custGeom>
            <a:solidFill>
              <a:schemeClr val="bg2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61" name="Freeform 505">
              <a:extLst>
                <a:ext uri="{FF2B5EF4-FFF2-40B4-BE49-F238E27FC236}">
                  <a16:creationId xmlns:a16="http://schemas.microsoft.com/office/drawing/2014/main" id="{4A60C1A4-54C5-4600-A749-EF55A07D7DC6}"/>
                </a:ext>
              </a:extLst>
            </p:cNvPr>
            <p:cNvSpPr>
              <a:spLocks/>
            </p:cNvSpPr>
            <p:nvPr/>
          </p:nvSpPr>
          <p:spPr bwMode="gray">
            <a:xfrm>
              <a:off x="6512771" y="2845706"/>
              <a:ext cx="35452" cy="88565"/>
            </a:xfrm>
            <a:custGeom>
              <a:avLst/>
              <a:gdLst>
                <a:gd name="T0" fmla="*/ 33 w 231"/>
                <a:gd name="T1" fmla="*/ 336 h 577"/>
                <a:gd name="T2" fmla="*/ 21 w 231"/>
                <a:gd name="T3" fmla="*/ 336 h 577"/>
                <a:gd name="T4" fmla="*/ 16 w 231"/>
                <a:gd name="T5" fmla="*/ 298 h 577"/>
                <a:gd name="T6" fmla="*/ 21 w 231"/>
                <a:gd name="T7" fmla="*/ 246 h 577"/>
                <a:gd name="T8" fmla="*/ 49 w 231"/>
                <a:gd name="T9" fmla="*/ 230 h 577"/>
                <a:gd name="T10" fmla="*/ 49 w 231"/>
                <a:gd name="T11" fmla="*/ 220 h 577"/>
                <a:gd name="T12" fmla="*/ 49 w 231"/>
                <a:gd name="T13" fmla="*/ 175 h 577"/>
                <a:gd name="T14" fmla="*/ 54 w 231"/>
                <a:gd name="T15" fmla="*/ 130 h 577"/>
                <a:gd name="T16" fmla="*/ 64 w 231"/>
                <a:gd name="T17" fmla="*/ 107 h 577"/>
                <a:gd name="T18" fmla="*/ 64 w 231"/>
                <a:gd name="T19" fmla="*/ 74 h 577"/>
                <a:gd name="T20" fmla="*/ 49 w 231"/>
                <a:gd name="T21" fmla="*/ 52 h 577"/>
                <a:gd name="T22" fmla="*/ 38 w 231"/>
                <a:gd name="T23" fmla="*/ 17 h 577"/>
                <a:gd name="T24" fmla="*/ 16 w 231"/>
                <a:gd name="T25" fmla="*/ 0 h 577"/>
                <a:gd name="T26" fmla="*/ 54 w 231"/>
                <a:gd name="T27" fmla="*/ 17 h 577"/>
                <a:gd name="T28" fmla="*/ 87 w 231"/>
                <a:gd name="T29" fmla="*/ 24 h 577"/>
                <a:gd name="T30" fmla="*/ 118 w 231"/>
                <a:gd name="T31" fmla="*/ 24 h 577"/>
                <a:gd name="T32" fmla="*/ 139 w 231"/>
                <a:gd name="T33" fmla="*/ 107 h 577"/>
                <a:gd name="T34" fmla="*/ 163 w 231"/>
                <a:gd name="T35" fmla="*/ 163 h 577"/>
                <a:gd name="T36" fmla="*/ 139 w 231"/>
                <a:gd name="T37" fmla="*/ 175 h 577"/>
                <a:gd name="T38" fmla="*/ 130 w 231"/>
                <a:gd name="T39" fmla="*/ 246 h 577"/>
                <a:gd name="T40" fmla="*/ 139 w 231"/>
                <a:gd name="T41" fmla="*/ 303 h 577"/>
                <a:gd name="T42" fmla="*/ 172 w 231"/>
                <a:gd name="T43" fmla="*/ 319 h 577"/>
                <a:gd name="T44" fmla="*/ 231 w 231"/>
                <a:gd name="T45" fmla="*/ 409 h 577"/>
                <a:gd name="T46" fmla="*/ 227 w 231"/>
                <a:gd name="T47" fmla="*/ 447 h 577"/>
                <a:gd name="T48" fmla="*/ 201 w 231"/>
                <a:gd name="T49" fmla="*/ 504 h 577"/>
                <a:gd name="T50" fmla="*/ 172 w 231"/>
                <a:gd name="T51" fmla="*/ 527 h 577"/>
                <a:gd name="T52" fmla="*/ 184 w 231"/>
                <a:gd name="T53" fmla="*/ 577 h 577"/>
                <a:gd name="T54" fmla="*/ 177 w 231"/>
                <a:gd name="T55" fmla="*/ 553 h 577"/>
                <a:gd name="T56" fmla="*/ 130 w 231"/>
                <a:gd name="T57" fmla="*/ 508 h 577"/>
                <a:gd name="T58" fmla="*/ 125 w 231"/>
                <a:gd name="T59" fmla="*/ 499 h 577"/>
                <a:gd name="T60" fmla="*/ 130 w 231"/>
                <a:gd name="T61" fmla="*/ 442 h 577"/>
                <a:gd name="T62" fmla="*/ 118 w 231"/>
                <a:gd name="T63" fmla="*/ 369 h 577"/>
                <a:gd name="T64" fmla="*/ 38 w 231"/>
                <a:gd name="T65" fmla="*/ 343 h 577"/>
                <a:gd name="T66" fmla="*/ 38 w 231"/>
                <a:gd name="T67" fmla="*/ 343 h 5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31" h="577">
                  <a:moveTo>
                    <a:pt x="38" y="343"/>
                  </a:moveTo>
                  <a:lnTo>
                    <a:pt x="33" y="336"/>
                  </a:lnTo>
                  <a:lnTo>
                    <a:pt x="33" y="343"/>
                  </a:lnTo>
                  <a:lnTo>
                    <a:pt x="21" y="336"/>
                  </a:lnTo>
                  <a:lnTo>
                    <a:pt x="0" y="315"/>
                  </a:lnTo>
                  <a:lnTo>
                    <a:pt x="16" y="298"/>
                  </a:lnTo>
                  <a:lnTo>
                    <a:pt x="21" y="263"/>
                  </a:lnTo>
                  <a:lnTo>
                    <a:pt x="21" y="246"/>
                  </a:lnTo>
                  <a:lnTo>
                    <a:pt x="21" y="241"/>
                  </a:lnTo>
                  <a:lnTo>
                    <a:pt x="49" y="230"/>
                  </a:lnTo>
                  <a:lnTo>
                    <a:pt x="64" y="225"/>
                  </a:lnTo>
                  <a:lnTo>
                    <a:pt x="49" y="220"/>
                  </a:lnTo>
                  <a:lnTo>
                    <a:pt x="38" y="208"/>
                  </a:lnTo>
                  <a:lnTo>
                    <a:pt x="49" y="175"/>
                  </a:lnTo>
                  <a:lnTo>
                    <a:pt x="38" y="152"/>
                  </a:lnTo>
                  <a:lnTo>
                    <a:pt x="54" y="130"/>
                  </a:lnTo>
                  <a:lnTo>
                    <a:pt x="38" y="114"/>
                  </a:lnTo>
                  <a:lnTo>
                    <a:pt x="64" y="107"/>
                  </a:lnTo>
                  <a:lnTo>
                    <a:pt x="71" y="90"/>
                  </a:lnTo>
                  <a:lnTo>
                    <a:pt x="64" y="74"/>
                  </a:lnTo>
                  <a:lnTo>
                    <a:pt x="64" y="62"/>
                  </a:lnTo>
                  <a:lnTo>
                    <a:pt x="49" y="52"/>
                  </a:lnTo>
                  <a:lnTo>
                    <a:pt x="49" y="41"/>
                  </a:lnTo>
                  <a:lnTo>
                    <a:pt x="38" y="17"/>
                  </a:lnTo>
                  <a:lnTo>
                    <a:pt x="21" y="17"/>
                  </a:lnTo>
                  <a:lnTo>
                    <a:pt x="16" y="0"/>
                  </a:lnTo>
                  <a:lnTo>
                    <a:pt x="49" y="8"/>
                  </a:lnTo>
                  <a:lnTo>
                    <a:pt x="54" y="17"/>
                  </a:lnTo>
                  <a:lnTo>
                    <a:pt x="75" y="17"/>
                  </a:lnTo>
                  <a:lnTo>
                    <a:pt x="87" y="24"/>
                  </a:lnTo>
                  <a:lnTo>
                    <a:pt x="92" y="8"/>
                  </a:lnTo>
                  <a:lnTo>
                    <a:pt x="118" y="24"/>
                  </a:lnTo>
                  <a:lnTo>
                    <a:pt x="130" y="52"/>
                  </a:lnTo>
                  <a:lnTo>
                    <a:pt x="139" y="107"/>
                  </a:lnTo>
                  <a:lnTo>
                    <a:pt x="139" y="130"/>
                  </a:lnTo>
                  <a:lnTo>
                    <a:pt x="163" y="163"/>
                  </a:lnTo>
                  <a:lnTo>
                    <a:pt x="139" y="163"/>
                  </a:lnTo>
                  <a:lnTo>
                    <a:pt x="139" y="175"/>
                  </a:lnTo>
                  <a:lnTo>
                    <a:pt x="125" y="208"/>
                  </a:lnTo>
                  <a:lnTo>
                    <a:pt x="130" y="246"/>
                  </a:lnTo>
                  <a:lnTo>
                    <a:pt x="130" y="298"/>
                  </a:lnTo>
                  <a:lnTo>
                    <a:pt x="139" y="303"/>
                  </a:lnTo>
                  <a:lnTo>
                    <a:pt x="156" y="303"/>
                  </a:lnTo>
                  <a:lnTo>
                    <a:pt x="172" y="319"/>
                  </a:lnTo>
                  <a:lnTo>
                    <a:pt x="227" y="393"/>
                  </a:lnTo>
                  <a:lnTo>
                    <a:pt x="231" y="409"/>
                  </a:lnTo>
                  <a:lnTo>
                    <a:pt x="215" y="430"/>
                  </a:lnTo>
                  <a:lnTo>
                    <a:pt x="227" y="447"/>
                  </a:lnTo>
                  <a:lnTo>
                    <a:pt x="227" y="487"/>
                  </a:lnTo>
                  <a:lnTo>
                    <a:pt x="201" y="504"/>
                  </a:lnTo>
                  <a:lnTo>
                    <a:pt x="193" y="499"/>
                  </a:lnTo>
                  <a:lnTo>
                    <a:pt x="172" y="527"/>
                  </a:lnTo>
                  <a:lnTo>
                    <a:pt x="184" y="544"/>
                  </a:lnTo>
                  <a:lnTo>
                    <a:pt x="184" y="577"/>
                  </a:lnTo>
                  <a:lnTo>
                    <a:pt x="172" y="577"/>
                  </a:lnTo>
                  <a:lnTo>
                    <a:pt x="177" y="553"/>
                  </a:lnTo>
                  <a:lnTo>
                    <a:pt x="163" y="553"/>
                  </a:lnTo>
                  <a:lnTo>
                    <a:pt x="130" y="508"/>
                  </a:lnTo>
                  <a:lnTo>
                    <a:pt x="125" y="508"/>
                  </a:lnTo>
                  <a:lnTo>
                    <a:pt x="125" y="499"/>
                  </a:lnTo>
                  <a:lnTo>
                    <a:pt x="108" y="482"/>
                  </a:lnTo>
                  <a:lnTo>
                    <a:pt x="130" y="442"/>
                  </a:lnTo>
                  <a:lnTo>
                    <a:pt x="130" y="386"/>
                  </a:lnTo>
                  <a:lnTo>
                    <a:pt x="118" y="369"/>
                  </a:lnTo>
                  <a:lnTo>
                    <a:pt x="71" y="386"/>
                  </a:lnTo>
                  <a:lnTo>
                    <a:pt x="38" y="343"/>
                  </a:lnTo>
                  <a:lnTo>
                    <a:pt x="38" y="343"/>
                  </a:lnTo>
                  <a:lnTo>
                    <a:pt x="38" y="343"/>
                  </a:lnTo>
                  <a:close/>
                </a:path>
              </a:pathLst>
            </a:custGeom>
            <a:solidFill>
              <a:schemeClr val="bg2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62" name="Freeform 506">
              <a:extLst>
                <a:ext uri="{FF2B5EF4-FFF2-40B4-BE49-F238E27FC236}">
                  <a16:creationId xmlns:a16="http://schemas.microsoft.com/office/drawing/2014/main" id="{4FE3D0E3-8FFB-4533-A999-236D6BB9B2E9}"/>
                </a:ext>
              </a:extLst>
            </p:cNvPr>
            <p:cNvSpPr>
              <a:spLocks/>
            </p:cNvSpPr>
            <p:nvPr/>
          </p:nvSpPr>
          <p:spPr bwMode="gray">
            <a:xfrm>
              <a:off x="6381857" y="2243865"/>
              <a:ext cx="26858" cy="19340"/>
            </a:xfrm>
            <a:custGeom>
              <a:avLst/>
              <a:gdLst>
                <a:gd name="T0" fmla="*/ 21 w 175"/>
                <a:gd name="T1" fmla="*/ 126 h 126"/>
                <a:gd name="T2" fmla="*/ 9 w 175"/>
                <a:gd name="T3" fmla="*/ 126 h 126"/>
                <a:gd name="T4" fmla="*/ 0 w 175"/>
                <a:gd name="T5" fmla="*/ 88 h 126"/>
                <a:gd name="T6" fmla="*/ 5 w 175"/>
                <a:gd name="T7" fmla="*/ 81 h 126"/>
                <a:gd name="T8" fmla="*/ 0 w 175"/>
                <a:gd name="T9" fmla="*/ 71 h 126"/>
                <a:gd name="T10" fmla="*/ 5 w 175"/>
                <a:gd name="T11" fmla="*/ 43 h 126"/>
                <a:gd name="T12" fmla="*/ 9 w 175"/>
                <a:gd name="T13" fmla="*/ 43 h 126"/>
                <a:gd name="T14" fmla="*/ 21 w 175"/>
                <a:gd name="T15" fmla="*/ 26 h 126"/>
                <a:gd name="T16" fmla="*/ 43 w 175"/>
                <a:gd name="T17" fmla="*/ 17 h 126"/>
                <a:gd name="T18" fmla="*/ 59 w 175"/>
                <a:gd name="T19" fmla="*/ 17 h 126"/>
                <a:gd name="T20" fmla="*/ 66 w 175"/>
                <a:gd name="T21" fmla="*/ 10 h 126"/>
                <a:gd name="T22" fmla="*/ 80 w 175"/>
                <a:gd name="T23" fmla="*/ 10 h 126"/>
                <a:gd name="T24" fmla="*/ 97 w 175"/>
                <a:gd name="T25" fmla="*/ 0 h 126"/>
                <a:gd name="T26" fmla="*/ 130 w 175"/>
                <a:gd name="T27" fmla="*/ 0 h 126"/>
                <a:gd name="T28" fmla="*/ 147 w 175"/>
                <a:gd name="T29" fmla="*/ 17 h 126"/>
                <a:gd name="T30" fmla="*/ 170 w 175"/>
                <a:gd name="T31" fmla="*/ 33 h 126"/>
                <a:gd name="T32" fmla="*/ 175 w 175"/>
                <a:gd name="T33" fmla="*/ 50 h 126"/>
                <a:gd name="T34" fmla="*/ 175 w 175"/>
                <a:gd name="T35" fmla="*/ 88 h 126"/>
                <a:gd name="T36" fmla="*/ 163 w 175"/>
                <a:gd name="T37" fmla="*/ 88 h 126"/>
                <a:gd name="T38" fmla="*/ 163 w 175"/>
                <a:gd name="T39" fmla="*/ 102 h 126"/>
                <a:gd name="T40" fmla="*/ 109 w 175"/>
                <a:gd name="T41" fmla="*/ 102 h 126"/>
                <a:gd name="T42" fmla="*/ 92 w 175"/>
                <a:gd name="T43" fmla="*/ 118 h 126"/>
                <a:gd name="T44" fmla="*/ 76 w 175"/>
                <a:gd name="T45" fmla="*/ 126 h 126"/>
                <a:gd name="T46" fmla="*/ 38 w 175"/>
                <a:gd name="T47" fmla="*/ 126 h 126"/>
                <a:gd name="T48" fmla="*/ 21 w 175"/>
                <a:gd name="T49" fmla="*/ 126 h 126"/>
                <a:gd name="T50" fmla="*/ 21 w 175"/>
                <a:gd name="T51" fmla="*/ 126 h 126"/>
                <a:gd name="T52" fmla="*/ 21 w 175"/>
                <a:gd name="T53" fmla="*/ 126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75" h="126">
                  <a:moveTo>
                    <a:pt x="21" y="126"/>
                  </a:moveTo>
                  <a:lnTo>
                    <a:pt x="9" y="126"/>
                  </a:lnTo>
                  <a:lnTo>
                    <a:pt x="0" y="88"/>
                  </a:lnTo>
                  <a:lnTo>
                    <a:pt x="5" y="81"/>
                  </a:lnTo>
                  <a:lnTo>
                    <a:pt x="0" y="71"/>
                  </a:lnTo>
                  <a:lnTo>
                    <a:pt x="5" y="43"/>
                  </a:lnTo>
                  <a:lnTo>
                    <a:pt x="9" y="43"/>
                  </a:lnTo>
                  <a:lnTo>
                    <a:pt x="21" y="26"/>
                  </a:lnTo>
                  <a:lnTo>
                    <a:pt x="43" y="17"/>
                  </a:lnTo>
                  <a:lnTo>
                    <a:pt x="59" y="17"/>
                  </a:lnTo>
                  <a:lnTo>
                    <a:pt x="66" y="10"/>
                  </a:lnTo>
                  <a:lnTo>
                    <a:pt x="80" y="10"/>
                  </a:lnTo>
                  <a:lnTo>
                    <a:pt x="97" y="0"/>
                  </a:lnTo>
                  <a:lnTo>
                    <a:pt x="130" y="0"/>
                  </a:lnTo>
                  <a:lnTo>
                    <a:pt x="147" y="17"/>
                  </a:lnTo>
                  <a:lnTo>
                    <a:pt x="170" y="33"/>
                  </a:lnTo>
                  <a:lnTo>
                    <a:pt x="175" y="50"/>
                  </a:lnTo>
                  <a:lnTo>
                    <a:pt x="175" y="88"/>
                  </a:lnTo>
                  <a:lnTo>
                    <a:pt x="163" y="88"/>
                  </a:lnTo>
                  <a:lnTo>
                    <a:pt x="163" y="102"/>
                  </a:lnTo>
                  <a:lnTo>
                    <a:pt x="109" y="102"/>
                  </a:lnTo>
                  <a:lnTo>
                    <a:pt x="92" y="118"/>
                  </a:lnTo>
                  <a:lnTo>
                    <a:pt x="76" y="126"/>
                  </a:lnTo>
                  <a:lnTo>
                    <a:pt x="38" y="126"/>
                  </a:lnTo>
                  <a:lnTo>
                    <a:pt x="21" y="126"/>
                  </a:lnTo>
                  <a:lnTo>
                    <a:pt x="21" y="126"/>
                  </a:lnTo>
                  <a:lnTo>
                    <a:pt x="21" y="126"/>
                  </a:lnTo>
                  <a:close/>
                </a:path>
              </a:pathLst>
            </a:custGeom>
            <a:solidFill>
              <a:schemeClr val="bg2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63" name="Freeform 507">
              <a:extLst>
                <a:ext uri="{FF2B5EF4-FFF2-40B4-BE49-F238E27FC236}">
                  <a16:creationId xmlns:a16="http://schemas.microsoft.com/office/drawing/2014/main" id="{90D2CEAA-2AFD-4C46-A749-0E5D735DE98C}"/>
                </a:ext>
              </a:extLst>
            </p:cNvPr>
            <p:cNvSpPr>
              <a:spLocks/>
            </p:cNvSpPr>
            <p:nvPr/>
          </p:nvSpPr>
          <p:spPr bwMode="gray">
            <a:xfrm>
              <a:off x="6029786" y="2460749"/>
              <a:ext cx="177264" cy="168995"/>
            </a:xfrm>
            <a:custGeom>
              <a:avLst/>
              <a:gdLst>
                <a:gd name="T0" fmla="*/ 130 w 1155"/>
                <a:gd name="T1" fmla="*/ 947 h 1101"/>
                <a:gd name="T2" fmla="*/ 88 w 1155"/>
                <a:gd name="T3" fmla="*/ 947 h 1101"/>
                <a:gd name="T4" fmla="*/ 55 w 1155"/>
                <a:gd name="T5" fmla="*/ 947 h 1101"/>
                <a:gd name="T6" fmla="*/ 67 w 1155"/>
                <a:gd name="T7" fmla="*/ 890 h 1101"/>
                <a:gd name="T8" fmla="*/ 33 w 1155"/>
                <a:gd name="T9" fmla="*/ 864 h 1101"/>
                <a:gd name="T10" fmla="*/ 12 w 1155"/>
                <a:gd name="T11" fmla="*/ 848 h 1101"/>
                <a:gd name="T12" fmla="*/ 17 w 1155"/>
                <a:gd name="T13" fmla="*/ 808 h 1101"/>
                <a:gd name="T14" fmla="*/ 0 w 1155"/>
                <a:gd name="T15" fmla="*/ 758 h 1101"/>
                <a:gd name="T16" fmla="*/ 24 w 1155"/>
                <a:gd name="T17" fmla="*/ 758 h 1101"/>
                <a:gd name="T18" fmla="*/ 55 w 1155"/>
                <a:gd name="T19" fmla="*/ 697 h 1101"/>
                <a:gd name="T20" fmla="*/ 109 w 1155"/>
                <a:gd name="T21" fmla="*/ 713 h 1101"/>
                <a:gd name="T22" fmla="*/ 196 w 1155"/>
                <a:gd name="T23" fmla="*/ 713 h 1101"/>
                <a:gd name="T24" fmla="*/ 201 w 1155"/>
                <a:gd name="T25" fmla="*/ 697 h 1101"/>
                <a:gd name="T26" fmla="*/ 470 w 1155"/>
                <a:gd name="T27" fmla="*/ 713 h 1101"/>
                <a:gd name="T28" fmla="*/ 466 w 1155"/>
                <a:gd name="T29" fmla="*/ 631 h 1101"/>
                <a:gd name="T30" fmla="*/ 395 w 1155"/>
                <a:gd name="T31" fmla="*/ 0 h 1101"/>
                <a:gd name="T32" fmla="*/ 941 w 1155"/>
                <a:gd name="T33" fmla="*/ 293 h 1101"/>
                <a:gd name="T34" fmla="*/ 974 w 1155"/>
                <a:gd name="T35" fmla="*/ 331 h 1101"/>
                <a:gd name="T36" fmla="*/ 1004 w 1155"/>
                <a:gd name="T37" fmla="*/ 354 h 1101"/>
                <a:gd name="T38" fmla="*/ 1026 w 1155"/>
                <a:gd name="T39" fmla="*/ 371 h 1101"/>
                <a:gd name="T40" fmla="*/ 1092 w 1155"/>
                <a:gd name="T41" fmla="*/ 420 h 1101"/>
                <a:gd name="T42" fmla="*/ 1092 w 1155"/>
                <a:gd name="T43" fmla="*/ 449 h 1101"/>
                <a:gd name="T44" fmla="*/ 1151 w 1155"/>
                <a:gd name="T45" fmla="*/ 642 h 1101"/>
                <a:gd name="T46" fmla="*/ 1129 w 1155"/>
                <a:gd name="T47" fmla="*/ 697 h 1101"/>
                <a:gd name="T48" fmla="*/ 1101 w 1155"/>
                <a:gd name="T49" fmla="*/ 720 h 1101"/>
                <a:gd name="T50" fmla="*/ 1063 w 1155"/>
                <a:gd name="T51" fmla="*/ 720 h 1101"/>
                <a:gd name="T52" fmla="*/ 929 w 1155"/>
                <a:gd name="T53" fmla="*/ 742 h 1101"/>
                <a:gd name="T54" fmla="*/ 874 w 1155"/>
                <a:gd name="T55" fmla="*/ 753 h 1101"/>
                <a:gd name="T56" fmla="*/ 832 w 1155"/>
                <a:gd name="T57" fmla="*/ 742 h 1101"/>
                <a:gd name="T58" fmla="*/ 806 w 1155"/>
                <a:gd name="T59" fmla="*/ 742 h 1101"/>
                <a:gd name="T60" fmla="*/ 768 w 1155"/>
                <a:gd name="T61" fmla="*/ 770 h 1101"/>
                <a:gd name="T62" fmla="*/ 718 w 1155"/>
                <a:gd name="T63" fmla="*/ 779 h 1101"/>
                <a:gd name="T64" fmla="*/ 714 w 1155"/>
                <a:gd name="T65" fmla="*/ 808 h 1101"/>
                <a:gd name="T66" fmla="*/ 659 w 1155"/>
                <a:gd name="T67" fmla="*/ 812 h 1101"/>
                <a:gd name="T68" fmla="*/ 626 w 1155"/>
                <a:gd name="T69" fmla="*/ 836 h 1101"/>
                <a:gd name="T70" fmla="*/ 617 w 1155"/>
                <a:gd name="T71" fmla="*/ 869 h 1101"/>
                <a:gd name="T72" fmla="*/ 579 w 1155"/>
                <a:gd name="T73" fmla="*/ 853 h 1101"/>
                <a:gd name="T74" fmla="*/ 563 w 1155"/>
                <a:gd name="T75" fmla="*/ 902 h 1101"/>
                <a:gd name="T76" fmla="*/ 541 w 1155"/>
                <a:gd name="T77" fmla="*/ 907 h 1101"/>
                <a:gd name="T78" fmla="*/ 551 w 1155"/>
                <a:gd name="T79" fmla="*/ 940 h 1101"/>
                <a:gd name="T80" fmla="*/ 499 w 1155"/>
                <a:gd name="T81" fmla="*/ 964 h 1101"/>
                <a:gd name="T82" fmla="*/ 499 w 1155"/>
                <a:gd name="T83" fmla="*/ 1001 h 1101"/>
                <a:gd name="T84" fmla="*/ 470 w 1155"/>
                <a:gd name="T85" fmla="*/ 1035 h 1101"/>
                <a:gd name="T86" fmla="*/ 470 w 1155"/>
                <a:gd name="T87" fmla="*/ 1075 h 1101"/>
                <a:gd name="T88" fmla="*/ 433 w 1155"/>
                <a:gd name="T89" fmla="*/ 1101 h 1101"/>
                <a:gd name="T90" fmla="*/ 428 w 1155"/>
                <a:gd name="T91" fmla="*/ 1091 h 1101"/>
                <a:gd name="T92" fmla="*/ 411 w 1155"/>
                <a:gd name="T93" fmla="*/ 1058 h 1101"/>
                <a:gd name="T94" fmla="*/ 395 w 1155"/>
                <a:gd name="T95" fmla="*/ 1058 h 1101"/>
                <a:gd name="T96" fmla="*/ 374 w 1155"/>
                <a:gd name="T97" fmla="*/ 1084 h 1101"/>
                <a:gd name="T98" fmla="*/ 324 w 1155"/>
                <a:gd name="T99" fmla="*/ 1075 h 1101"/>
                <a:gd name="T100" fmla="*/ 293 w 1155"/>
                <a:gd name="T101" fmla="*/ 1101 h 1101"/>
                <a:gd name="T102" fmla="*/ 281 w 1155"/>
                <a:gd name="T103" fmla="*/ 1075 h 1101"/>
                <a:gd name="T104" fmla="*/ 265 w 1155"/>
                <a:gd name="T105" fmla="*/ 1035 h 1101"/>
                <a:gd name="T106" fmla="*/ 272 w 1155"/>
                <a:gd name="T107" fmla="*/ 1013 h 1101"/>
                <a:gd name="T108" fmla="*/ 251 w 1155"/>
                <a:gd name="T109" fmla="*/ 992 h 1101"/>
                <a:gd name="T110" fmla="*/ 239 w 1155"/>
                <a:gd name="T111" fmla="*/ 975 h 1101"/>
                <a:gd name="T112" fmla="*/ 227 w 1155"/>
                <a:gd name="T113" fmla="*/ 935 h 1101"/>
                <a:gd name="T114" fmla="*/ 201 w 1155"/>
                <a:gd name="T115" fmla="*/ 947 h 1101"/>
                <a:gd name="T116" fmla="*/ 180 w 1155"/>
                <a:gd name="T117" fmla="*/ 964 h 1101"/>
                <a:gd name="T118" fmla="*/ 163 w 1155"/>
                <a:gd name="T119" fmla="*/ 964 h 1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155" h="1101">
                  <a:moveTo>
                    <a:pt x="163" y="964"/>
                  </a:moveTo>
                  <a:lnTo>
                    <a:pt x="130" y="947"/>
                  </a:lnTo>
                  <a:lnTo>
                    <a:pt x="109" y="975"/>
                  </a:lnTo>
                  <a:lnTo>
                    <a:pt x="88" y="947"/>
                  </a:lnTo>
                  <a:lnTo>
                    <a:pt x="71" y="964"/>
                  </a:lnTo>
                  <a:lnTo>
                    <a:pt x="55" y="947"/>
                  </a:lnTo>
                  <a:lnTo>
                    <a:pt x="67" y="935"/>
                  </a:lnTo>
                  <a:lnTo>
                    <a:pt x="67" y="890"/>
                  </a:lnTo>
                  <a:lnTo>
                    <a:pt x="38" y="864"/>
                  </a:lnTo>
                  <a:lnTo>
                    <a:pt x="33" y="864"/>
                  </a:lnTo>
                  <a:lnTo>
                    <a:pt x="33" y="869"/>
                  </a:lnTo>
                  <a:lnTo>
                    <a:pt x="12" y="848"/>
                  </a:lnTo>
                  <a:lnTo>
                    <a:pt x="17" y="831"/>
                  </a:lnTo>
                  <a:lnTo>
                    <a:pt x="17" y="808"/>
                  </a:lnTo>
                  <a:lnTo>
                    <a:pt x="0" y="791"/>
                  </a:lnTo>
                  <a:lnTo>
                    <a:pt x="0" y="758"/>
                  </a:lnTo>
                  <a:lnTo>
                    <a:pt x="12" y="770"/>
                  </a:lnTo>
                  <a:lnTo>
                    <a:pt x="24" y="758"/>
                  </a:lnTo>
                  <a:lnTo>
                    <a:pt x="38" y="704"/>
                  </a:lnTo>
                  <a:lnTo>
                    <a:pt x="55" y="697"/>
                  </a:lnTo>
                  <a:lnTo>
                    <a:pt x="93" y="737"/>
                  </a:lnTo>
                  <a:lnTo>
                    <a:pt x="109" y="713"/>
                  </a:lnTo>
                  <a:lnTo>
                    <a:pt x="159" y="720"/>
                  </a:lnTo>
                  <a:lnTo>
                    <a:pt x="196" y="713"/>
                  </a:lnTo>
                  <a:lnTo>
                    <a:pt x="196" y="704"/>
                  </a:lnTo>
                  <a:lnTo>
                    <a:pt x="201" y="697"/>
                  </a:lnTo>
                  <a:lnTo>
                    <a:pt x="201" y="713"/>
                  </a:lnTo>
                  <a:lnTo>
                    <a:pt x="470" y="713"/>
                  </a:lnTo>
                  <a:lnTo>
                    <a:pt x="487" y="647"/>
                  </a:lnTo>
                  <a:lnTo>
                    <a:pt x="466" y="631"/>
                  </a:lnTo>
                  <a:lnTo>
                    <a:pt x="411" y="149"/>
                  </a:lnTo>
                  <a:lnTo>
                    <a:pt x="395" y="0"/>
                  </a:lnTo>
                  <a:lnTo>
                    <a:pt x="520" y="0"/>
                  </a:lnTo>
                  <a:lnTo>
                    <a:pt x="941" y="293"/>
                  </a:lnTo>
                  <a:lnTo>
                    <a:pt x="941" y="314"/>
                  </a:lnTo>
                  <a:lnTo>
                    <a:pt x="974" y="331"/>
                  </a:lnTo>
                  <a:lnTo>
                    <a:pt x="983" y="347"/>
                  </a:lnTo>
                  <a:lnTo>
                    <a:pt x="1004" y="354"/>
                  </a:lnTo>
                  <a:lnTo>
                    <a:pt x="1011" y="354"/>
                  </a:lnTo>
                  <a:lnTo>
                    <a:pt x="1026" y="371"/>
                  </a:lnTo>
                  <a:lnTo>
                    <a:pt x="1080" y="387"/>
                  </a:lnTo>
                  <a:lnTo>
                    <a:pt x="1092" y="420"/>
                  </a:lnTo>
                  <a:lnTo>
                    <a:pt x="1075" y="437"/>
                  </a:lnTo>
                  <a:lnTo>
                    <a:pt x="1092" y="449"/>
                  </a:lnTo>
                  <a:lnTo>
                    <a:pt x="1155" y="437"/>
                  </a:lnTo>
                  <a:lnTo>
                    <a:pt x="1151" y="642"/>
                  </a:lnTo>
                  <a:lnTo>
                    <a:pt x="1146" y="647"/>
                  </a:lnTo>
                  <a:lnTo>
                    <a:pt x="1129" y="697"/>
                  </a:lnTo>
                  <a:lnTo>
                    <a:pt x="1101" y="704"/>
                  </a:lnTo>
                  <a:lnTo>
                    <a:pt x="1101" y="720"/>
                  </a:lnTo>
                  <a:lnTo>
                    <a:pt x="1075" y="713"/>
                  </a:lnTo>
                  <a:lnTo>
                    <a:pt x="1063" y="720"/>
                  </a:lnTo>
                  <a:lnTo>
                    <a:pt x="950" y="725"/>
                  </a:lnTo>
                  <a:lnTo>
                    <a:pt x="929" y="742"/>
                  </a:lnTo>
                  <a:lnTo>
                    <a:pt x="874" y="742"/>
                  </a:lnTo>
                  <a:lnTo>
                    <a:pt x="874" y="753"/>
                  </a:lnTo>
                  <a:lnTo>
                    <a:pt x="844" y="742"/>
                  </a:lnTo>
                  <a:lnTo>
                    <a:pt x="832" y="742"/>
                  </a:lnTo>
                  <a:lnTo>
                    <a:pt x="827" y="742"/>
                  </a:lnTo>
                  <a:lnTo>
                    <a:pt x="806" y="742"/>
                  </a:lnTo>
                  <a:lnTo>
                    <a:pt x="778" y="758"/>
                  </a:lnTo>
                  <a:lnTo>
                    <a:pt x="768" y="770"/>
                  </a:lnTo>
                  <a:lnTo>
                    <a:pt x="740" y="779"/>
                  </a:lnTo>
                  <a:lnTo>
                    <a:pt x="718" y="779"/>
                  </a:lnTo>
                  <a:lnTo>
                    <a:pt x="718" y="808"/>
                  </a:lnTo>
                  <a:lnTo>
                    <a:pt x="714" y="808"/>
                  </a:lnTo>
                  <a:lnTo>
                    <a:pt x="685" y="796"/>
                  </a:lnTo>
                  <a:lnTo>
                    <a:pt x="659" y="812"/>
                  </a:lnTo>
                  <a:lnTo>
                    <a:pt x="659" y="848"/>
                  </a:lnTo>
                  <a:lnTo>
                    <a:pt x="626" y="836"/>
                  </a:lnTo>
                  <a:lnTo>
                    <a:pt x="633" y="869"/>
                  </a:lnTo>
                  <a:lnTo>
                    <a:pt x="617" y="869"/>
                  </a:lnTo>
                  <a:lnTo>
                    <a:pt x="617" y="881"/>
                  </a:lnTo>
                  <a:lnTo>
                    <a:pt x="579" y="853"/>
                  </a:lnTo>
                  <a:lnTo>
                    <a:pt x="558" y="886"/>
                  </a:lnTo>
                  <a:lnTo>
                    <a:pt x="563" y="902"/>
                  </a:lnTo>
                  <a:lnTo>
                    <a:pt x="558" y="907"/>
                  </a:lnTo>
                  <a:lnTo>
                    <a:pt x="541" y="907"/>
                  </a:lnTo>
                  <a:lnTo>
                    <a:pt x="551" y="923"/>
                  </a:lnTo>
                  <a:lnTo>
                    <a:pt x="551" y="940"/>
                  </a:lnTo>
                  <a:lnTo>
                    <a:pt x="537" y="957"/>
                  </a:lnTo>
                  <a:lnTo>
                    <a:pt x="499" y="964"/>
                  </a:lnTo>
                  <a:lnTo>
                    <a:pt x="487" y="975"/>
                  </a:lnTo>
                  <a:lnTo>
                    <a:pt x="499" y="1001"/>
                  </a:lnTo>
                  <a:lnTo>
                    <a:pt x="487" y="1030"/>
                  </a:lnTo>
                  <a:lnTo>
                    <a:pt x="470" y="1035"/>
                  </a:lnTo>
                  <a:lnTo>
                    <a:pt x="482" y="1051"/>
                  </a:lnTo>
                  <a:lnTo>
                    <a:pt x="470" y="1075"/>
                  </a:lnTo>
                  <a:lnTo>
                    <a:pt x="449" y="1084"/>
                  </a:lnTo>
                  <a:lnTo>
                    <a:pt x="433" y="1101"/>
                  </a:lnTo>
                  <a:lnTo>
                    <a:pt x="428" y="1101"/>
                  </a:lnTo>
                  <a:lnTo>
                    <a:pt x="428" y="1091"/>
                  </a:lnTo>
                  <a:lnTo>
                    <a:pt x="416" y="1058"/>
                  </a:lnTo>
                  <a:lnTo>
                    <a:pt x="411" y="1058"/>
                  </a:lnTo>
                  <a:lnTo>
                    <a:pt x="411" y="1068"/>
                  </a:lnTo>
                  <a:lnTo>
                    <a:pt x="395" y="1058"/>
                  </a:lnTo>
                  <a:lnTo>
                    <a:pt x="395" y="1084"/>
                  </a:lnTo>
                  <a:lnTo>
                    <a:pt x="374" y="1084"/>
                  </a:lnTo>
                  <a:lnTo>
                    <a:pt x="362" y="1101"/>
                  </a:lnTo>
                  <a:lnTo>
                    <a:pt x="324" y="1075"/>
                  </a:lnTo>
                  <a:lnTo>
                    <a:pt x="310" y="1101"/>
                  </a:lnTo>
                  <a:lnTo>
                    <a:pt x="293" y="1101"/>
                  </a:lnTo>
                  <a:lnTo>
                    <a:pt x="293" y="1084"/>
                  </a:lnTo>
                  <a:lnTo>
                    <a:pt x="281" y="1075"/>
                  </a:lnTo>
                  <a:lnTo>
                    <a:pt x="281" y="1035"/>
                  </a:lnTo>
                  <a:lnTo>
                    <a:pt x="265" y="1035"/>
                  </a:lnTo>
                  <a:lnTo>
                    <a:pt x="251" y="1046"/>
                  </a:lnTo>
                  <a:lnTo>
                    <a:pt x="272" y="1013"/>
                  </a:lnTo>
                  <a:lnTo>
                    <a:pt x="251" y="1001"/>
                  </a:lnTo>
                  <a:lnTo>
                    <a:pt x="251" y="992"/>
                  </a:lnTo>
                  <a:lnTo>
                    <a:pt x="239" y="992"/>
                  </a:lnTo>
                  <a:lnTo>
                    <a:pt x="239" y="975"/>
                  </a:lnTo>
                  <a:lnTo>
                    <a:pt x="227" y="947"/>
                  </a:lnTo>
                  <a:lnTo>
                    <a:pt x="227" y="935"/>
                  </a:lnTo>
                  <a:lnTo>
                    <a:pt x="201" y="935"/>
                  </a:lnTo>
                  <a:lnTo>
                    <a:pt x="201" y="947"/>
                  </a:lnTo>
                  <a:lnTo>
                    <a:pt x="180" y="957"/>
                  </a:lnTo>
                  <a:lnTo>
                    <a:pt x="180" y="964"/>
                  </a:lnTo>
                  <a:lnTo>
                    <a:pt x="163" y="964"/>
                  </a:lnTo>
                  <a:lnTo>
                    <a:pt x="163" y="964"/>
                  </a:lnTo>
                  <a:lnTo>
                    <a:pt x="163" y="964"/>
                  </a:lnTo>
                  <a:close/>
                </a:path>
              </a:pathLst>
            </a:custGeom>
            <a:solidFill>
              <a:schemeClr val="bg2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64" name="Freeform 508">
              <a:extLst>
                <a:ext uri="{FF2B5EF4-FFF2-40B4-BE49-F238E27FC236}">
                  <a16:creationId xmlns:a16="http://schemas.microsoft.com/office/drawing/2014/main" id="{26876637-A386-4A6E-A82E-60360DFF8FEA}"/>
                </a:ext>
              </a:extLst>
            </p:cNvPr>
            <p:cNvSpPr>
              <a:spLocks/>
            </p:cNvSpPr>
            <p:nvPr/>
          </p:nvSpPr>
          <p:spPr bwMode="gray">
            <a:xfrm>
              <a:off x="6019043" y="2326904"/>
              <a:ext cx="131528" cy="101919"/>
            </a:xfrm>
            <a:custGeom>
              <a:avLst/>
              <a:gdLst>
                <a:gd name="T0" fmla="*/ 656 w 857"/>
                <a:gd name="T1" fmla="*/ 350 h 664"/>
                <a:gd name="T2" fmla="*/ 673 w 857"/>
                <a:gd name="T3" fmla="*/ 392 h 664"/>
                <a:gd name="T4" fmla="*/ 642 w 857"/>
                <a:gd name="T5" fmla="*/ 404 h 664"/>
                <a:gd name="T6" fmla="*/ 576 w 857"/>
                <a:gd name="T7" fmla="*/ 444 h 664"/>
                <a:gd name="T8" fmla="*/ 538 w 857"/>
                <a:gd name="T9" fmla="*/ 487 h 664"/>
                <a:gd name="T10" fmla="*/ 462 w 857"/>
                <a:gd name="T11" fmla="*/ 515 h 664"/>
                <a:gd name="T12" fmla="*/ 316 w 857"/>
                <a:gd name="T13" fmla="*/ 577 h 664"/>
                <a:gd name="T14" fmla="*/ 0 w 857"/>
                <a:gd name="T15" fmla="*/ 664 h 664"/>
                <a:gd name="T16" fmla="*/ 80 w 857"/>
                <a:gd name="T17" fmla="*/ 631 h 664"/>
                <a:gd name="T18" fmla="*/ 144 w 857"/>
                <a:gd name="T19" fmla="*/ 577 h 664"/>
                <a:gd name="T20" fmla="*/ 210 w 857"/>
                <a:gd name="T21" fmla="*/ 527 h 664"/>
                <a:gd name="T22" fmla="*/ 252 w 857"/>
                <a:gd name="T23" fmla="*/ 444 h 664"/>
                <a:gd name="T24" fmla="*/ 240 w 857"/>
                <a:gd name="T25" fmla="*/ 371 h 664"/>
                <a:gd name="T26" fmla="*/ 278 w 857"/>
                <a:gd name="T27" fmla="*/ 305 h 664"/>
                <a:gd name="T28" fmla="*/ 323 w 857"/>
                <a:gd name="T29" fmla="*/ 222 h 664"/>
                <a:gd name="T30" fmla="*/ 446 w 857"/>
                <a:gd name="T31" fmla="*/ 156 h 664"/>
                <a:gd name="T32" fmla="*/ 512 w 857"/>
                <a:gd name="T33" fmla="*/ 17 h 664"/>
                <a:gd name="T34" fmla="*/ 550 w 857"/>
                <a:gd name="T35" fmla="*/ 5 h 664"/>
                <a:gd name="T36" fmla="*/ 592 w 857"/>
                <a:gd name="T37" fmla="*/ 62 h 664"/>
                <a:gd name="T38" fmla="*/ 673 w 857"/>
                <a:gd name="T39" fmla="*/ 55 h 664"/>
                <a:gd name="T40" fmla="*/ 711 w 857"/>
                <a:gd name="T41" fmla="*/ 55 h 664"/>
                <a:gd name="T42" fmla="*/ 718 w 857"/>
                <a:gd name="T43" fmla="*/ 55 h 664"/>
                <a:gd name="T44" fmla="*/ 727 w 857"/>
                <a:gd name="T45" fmla="*/ 71 h 664"/>
                <a:gd name="T46" fmla="*/ 727 w 857"/>
                <a:gd name="T47" fmla="*/ 55 h 664"/>
                <a:gd name="T48" fmla="*/ 770 w 857"/>
                <a:gd name="T49" fmla="*/ 71 h 664"/>
                <a:gd name="T50" fmla="*/ 793 w 857"/>
                <a:gd name="T51" fmla="*/ 111 h 664"/>
                <a:gd name="T52" fmla="*/ 803 w 857"/>
                <a:gd name="T53" fmla="*/ 128 h 664"/>
                <a:gd name="T54" fmla="*/ 803 w 857"/>
                <a:gd name="T55" fmla="*/ 182 h 664"/>
                <a:gd name="T56" fmla="*/ 807 w 857"/>
                <a:gd name="T57" fmla="*/ 222 h 664"/>
                <a:gd name="T58" fmla="*/ 819 w 857"/>
                <a:gd name="T59" fmla="*/ 244 h 664"/>
                <a:gd name="T60" fmla="*/ 857 w 857"/>
                <a:gd name="T61" fmla="*/ 277 h 664"/>
                <a:gd name="T62" fmla="*/ 836 w 857"/>
                <a:gd name="T63" fmla="*/ 305 h 664"/>
                <a:gd name="T64" fmla="*/ 840 w 857"/>
                <a:gd name="T65" fmla="*/ 317 h 664"/>
                <a:gd name="T66" fmla="*/ 727 w 857"/>
                <a:gd name="T67" fmla="*/ 317 h 664"/>
                <a:gd name="T68" fmla="*/ 685 w 857"/>
                <a:gd name="T69" fmla="*/ 338 h 664"/>
                <a:gd name="T70" fmla="*/ 685 w 857"/>
                <a:gd name="T71" fmla="*/ 338 h 6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857" h="664">
                  <a:moveTo>
                    <a:pt x="685" y="338"/>
                  </a:moveTo>
                  <a:lnTo>
                    <a:pt x="656" y="350"/>
                  </a:lnTo>
                  <a:lnTo>
                    <a:pt x="656" y="388"/>
                  </a:lnTo>
                  <a:lnTo>
                    <a:pt x="673" y="392"/>
                  </a:lnTo>
                  <a:lnTo>
                    <a:pt x="673" y="404"/>
                  </a:lnTo>
                  <a:lnTo>
                    <a:pt x="642" y="404"/>
                  </a:lnTo>
                  <a:lnTo>
                    <a:pt x="618" y="428"/>
                  </a:lnTo>
                  <a:lnTo>
                    <a:pt x="576" y="444"/>
                  </a:lnTo>
                  <a:lnTo>
                    <a:pt x="555" y="470"/>
                  </a:lnTo>
                  <a:lnTo>
                    <a:pt x="538" y="487"/>
                  </a:lnTo>
                  <a:lnTo>
                    <a:pt x="479" y="499"/>
                  </a:lnTo>
                  <a:lnTo>
                    <a:pt x="462" y="515"/>
                  </a:lnTo>
                  <a:lnTo>
                    <a:pt x="425" y="503"/>
                  </a:lnTo>
                  <a:lnTo>
                    <a:pt x="316" y="577"/>
                  </a:lnTo>
                  <a:lnTo>
                    <a:pt x="316" y="664"/>
                  </a:lnTo>
                  <a:lnTo>
                    <a:pt x="0" y="664"/>
                  </a:lnTo>
                  <a:lnTo>
                    <a:pt x="25" y="638"/>
                  </a:lnTo>
                  <a:lnTo>
                    <a:pt x="80" y="631"/>
                  </a:lnTo>
                  <a:lnTo>
                    <a:pt x="118" y="610"/>
                  </a:lnTo>
                  <a:lnTo>
                    <a:pt x="144" y="577"/>
                  </a:lnTo>
                  <a:lnTo>
                    <a:pt x="188" y="560"/>
                  </a:lnTo>
                  <a:lnTo>
                    <a:pt x="210" y="527"/>
                  </a:lnTo>
                  <a:lnTo>
                    <a:pt x="248" y="466"/>
                  </a:lnTo>
                  <a:lnTo>
                    <a:pt x="252" y="444"/>
                  </a:lnTo>
                  <a:lnTo>
                    <a:pt x="240" y="428"/>
                  </a:lnTo>
                  <a:lnTo>
                    <a:pt x="240" y="371"/>
                  </a:lnTo>
                  <a:lnTo>
                    <a:pt x="248" y="338"/>
                  </a:lnTo>
                  <a:lnTo>
                    <a:pt x="278" y="305"/>
                  </a:lnTo>
                  <a:lnTo>
                    <a:pt x="278" y="277"/>
                  </a:lnTo>
                  <a:lnTo>
                    <a:pt x="323" y="222"/>
                  </a:lnTo>
                  <a:lnTo>
                    <a:pt x="403" y="189"/>
                  </a:lnTo>
                  <a:lnTo>
                    <a:pt x="446" y="156"/>
                  </a:lnTo>
                  <a:lnTo>
                    <a:pt x="484" y="95"/>
                  </a:lnTo>
                  <a:lnTo>
                    <a:pt x="512" y="17"/>
                  </a:lnTo>
                  <a:lnTo>
                    <a:pt x="550" y="0"/>
                  </a:lnTo>
                  <a:lnTo>
                    <a:pt x="550" y="5"/>
                  </a:lnTo>
                  <a:lnTo>
                    <a:pt x="555" y="29"/>
                  </a:lnTo>
                  <a:lnTo>
                    <a:pt x="592" y="62"/>
                  </a:lnTo>
                  <a:lnTo>
                    <a:pt x="618" y="62"/>
                  </a:lnTo>
                  <a:lnTo>
                    <a:pt x="673" y="55"/>
                  </a:lnTo>
                  <a:lnTo>
                    <a:pt x="694" y="62"/>
                  </a:lnTo>
                  <a:lnTo>
                    <a:pt x="711" y="55"/>
                  </a:lnTo>
                  <a:lnTo>
                    <a:pt x="718" y="45"/>
                  </a:lnTo>
                  <a:lnTo>
                    <a:pt x="718" y="55"/>
                  </a:lnTo>
                  <a:lnTo>
                    <a:pt x="718" y="55"/>
                  </a:lnTo>
                  <a:lnTo>
                    <a:pt x="727" y="71"/>
                  </a:lnTo>
                  <a:lnTo>
                    <a:pt x="732" y="71"/>
                  </a:lnTo>
                  <a:lnTo>
                    <a:pt x="727" y="55"/>
                  </a:lnTo>
                  <a:lnTo>
                    <a:pt x="739" y="71"/>
                  </a:lnTo>
                  <a:lnTo>
                    <a:pt x="770" y="71"/>
                  </a:lnTo>
                  <a:lnTo>
                    <a:pt x="803" y="99"/>
                  </a:lnTo>
                  <a:lnTo>
                    <a:pt x="793" y="111"/>
                  </a:lnTo>
                  <a:lnTo>
                    <a:pt x="807" y="116"/>
                  </a:lnTo>
                  <a:lnTo>
                    <a:pt x="803" y="128"/>
                  </a:lnTo>
                  <a:lnTo>
                    <a:pt x="807" y="149"/>
                  </a:lnTo>
                  <a:lnTo>
                    <a:pt x="803" y="182"/>
                  </a:lnTo>
                  <a:lnTo>
                    <a:pt x="807" y="189"/>
                  </a:lnTo>
                  <a:lnTo>
                    <a:pt x="807" y="222"/>
                  </a:lnTo>
                  <a:lnTo>
                    <a:pt x="824" y="239"/>
                  </a:lnTo>
                  <a:lnTo>
                    <a:pt x="819" y="244"/>
                  </a:lnTo>
                  <a:lnTo>
                    <a:pt x="824" y="260"/>
                  </a:lnTo>
                  <a:lnTo>
                    <a:pt x="857" y="277"/>
                  </a:lnTo>
                  <a:lnTo>
                    <a:pt x="840" y="293"/>
                  </a:lnTo>
                  <a:lnTo>
                    <a:pt x="836" y="305"/>
                  </a:lnTo>
                  <a:lnTo>
                    <a:pt x="840" y="305"/>
                  </a:lnTo>
                  <a:lnTo>
                    <a:pt x="840" y="317"/>
                  </a:lnTo>
                  <a:lnTo>
                    <a:pt x="765" y="305"/>
                  </a:lnTo>
                  <a:lnTo>
                    <a:pt x="727" y="317"/>
                  </a:lnTo>
                  <a:lnTo>
                    <a:pt x="718" y="333"/>
                  </a:lnTo>
                  <a:lnTo>
                    <a:pt x="685" y="338"/>
                  </a:lnTo>
                  <a:lnTo>
                    <a:pt x="685" y="338"/>
                  </a:lnTo>
                  <a:lnTo>
                    <a:pt x="685" y="338"/>
                  </a:lnTo>
                  <a:close/>
                </a:path>
              </a:pathLst>
            </a:custGeom>
            <a:solidFill>
              <a:schemeClr val="bg2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65" name="Freeform 509">
              <a:extLst>
                <a:ext uri="{FF2B5EF4-FFF2-40B4-BE49-F238E27FC236}">
                  <a16:creationId xmlns:a16="http://schemas.microsoft.com/office/drawing/2014/main" id="{AF514320-458A-4C6B-AB76-8631EFF22EF8}"/>
                </a:ext>
              </a:extLst>
            </p:cNvPr>
            <p:cNvSpPr>
              <a:spLocks/>
            </p:cNvSpPr>
            <p:nvPr/>
          </p:nvSpPr>
          <p:spPr bwMode="gray">
            <a:xfrm>
              <a:off x="6778130" y="2966505"/>
              <a:ext cx="4758" cy="6600"/>
            </a:xfrm>
            <a:custGeom>
              <a:avLst/>
              <a:gdLst>
                <a:gd name="T0" fmla="*/ 16 w 31"/>
                <a:gd name="T1" fmla="*/ 43 h 43"/>
                <a:gd name="T2" fmla="*/ 0 w 31"/>
                <a:gd name="T3" fmla="*/ 31 h 43"/>
                <a:gd name="T4" fmla="*/ 9 w 31"/>
                <a:gd name="T5" fmla="*/ 17 h 43"/>
                <a:gd name="T6" fmla="*/ 21 w 31"/>
                <a:gd name="T7" fmla="*/ 0 h 43"/>
                <a:gd name="T8" fmla="*/ 31 w 31"/>
                <a:gd name="T9" fmla="*/ 26 h 43"/>
                <a:gd name="T10" fmla="*/ 21 w 31"/>
                <a:gd name="T11" fmla="*/ 31 h 43"/>
                <a:gd name="T12" fmla="*/ 16 w 31"/>
                <a:gd name="T13" fmla="*/ 43 h 43"/>
                <a:gd name="T14" fmla="*/ 16 w 31"/>
                <a:gd name="T15" fmla="*/ 43 h 43"/>
                <a:gd name="T16" fmla="*/ 16 w 31"/>
                <a:gd name="T17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1" h="43">
                  <a:moveTo>
                    <a:pt x="16" y="43"/>
                  </a:moveTo>
                  <a:lnTo>
                    <a:pt x="0" y="31"/>
                  </a:lnTo>
                  <a:lnTo>
                    <a:pt x="9" y="17"/>
                  </a:lnTo>
                  <a:lnTo>
                    <a:pt x="21" y="0"/>
                  </a:lnTo>
                  <a:lnTo>
                    <a:pt x="31" y="26"/>
                  </a:lnTo>
                  <a:lnTo>
                    <a:pt x="21" y="31"/>
                  </a:lnTo>
                  <a:lnTo>
                    <a:pt x="16" y="43"/>
                  </a:lnTo>
                  <a:lnTo>
                    <a:pt x="16" y="43"/>
                  </a:lnTo>
                  <a:lnTo>
                    <a:pt x="16" y="43"/>
                  </a:lnTo>
                  <a:close/>
                </a:path>
              </a:pathLst>
            </a:custGeom>
            <a:solidFill>
              <a:schemeClr val="bg2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66" name="Freeform 510">
              <a:extLst>
                <a:ext uri="{FF2B5EF4-FFF2-40B4-BE49-F238E27FC236}">
                  <a16:creationId xmlns:a16="http://schemas.microsoft.com/office/drawing/2014/main" id="{2BFAA743-31BD-49F7-A8A7-A41F8596942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977297" y="2432813"/>
              <a:ext cx="131528" cy="146431"/>
            </a:xfrm>
            <a:custGeom>
              <a:avLst/>
              <a:gdLst>
                <a:gd name="T0" fmla="*/ 805 w 857"/>
                <a:gd name="T1" fmla="*/ 815 h 954"/>
                <a:gd name="T2" fmla="*/ 810 w 857"/>
                <a:gd name="T3" fmla="*/ 898 h 954"/>
                <a:gd name="T4" fmla="*/ 541 w 857"/>
                <a:gd name="T5" fmla="*/ 881 h 954"/>
                <a:gd name="T6" fmla="*/ 534 w 857"/>
                <a:gd name="T7" fmla="*/ 898 h 954"/>
                <a:gd name="T8" fmla="*/ 449 w 857"/>
                <a:gd name="T9" fmla="*/ 898 h 954"/>
                <a:gd name="T10" fmla="*/ 394 w 857"/>
                <a:gd name="T11" fmla="*/ 881 h 954"/>
                <a:gd name="T12" fmla="*/ 361 w 857"/>
                <a:gd name="T13" fmla="*/ 942 h 954"/>
                <a:gd name="T14" fmla="*/ 340 w 857"/>
                <a:gd name="T15" fmla="*/ 942 h 954"/>
                <a:gd name="T16" fmla="*/ 297 w 857"/>
                <a:gd name="T17" fmla="*/ 909 h 954"/>
                <a:gd name="T18" fmla="*/ 286 w 857"/>
                <a:gd name="T19" fmla="*/ 898 h 954"/>
                <a:gd name="T20" fmla="*/ 269 w 857"/>
                <a:gd name="T21" fmla="*/ 881 h 954"/>
                <a:gd name="T22" fmla="*/ 248 w 857"/>
                <a:gd name="T23" fmla="*/ 848 h 954"/>
                <a:gd name="T24" fmla="*/ 231 w 857"/>
                <a:gd name="T25" fmla="*/ 843 h 954"/>
                <a:gd name="T26" fmla="*/ 194 w 857"/>
                <a:gd name="T27" fmla="*/ 810 h 954"/>
                <a:gd name="T28" fmla="*/ 104 w 857"/>
                <a:gd name="T29" fmla="*/ 815 h 954"/>
                <a:gd name="T30" fmla="*/ 38 w 857"/>
                <a:gd name="T31" fmla="*/ 848 h 954"/>
                <a:gd name="T32" fmla="*/ 71 w 857"/>
                <a:gd name="T33" fmla="*/ 732 h 954"/>
                <a:gd name="T34" fmla="*/ 66 w 857"/>
                <a:gd name="T35" fmla="*/ 643 h 954"/>
                <a:gd name="T36" fmla="*/ 54 w 857"/>
                <a:gd name="T37" fmla="*/ 593 h 954"/>
                <a:gd name="T38" fmla="*/ 54 w 857"/>
                <a:gd name="T39" fmla="*/ 572 h 954"/>
                <a:gd name="T40" fmla="*/ 38 w 857"/>
                <a:gd name="T41" fmla="*/ 510 h 954"/>
                <a:gd name="T42" fmla="*/ 33 w 857"/>
                <a:gd name="T43" fmla="*/ 510 h 954"/>
                <a:gd name="T44" fmla="*/ 0 w 857"/>
                <a:gd name="T45" fmla="*/ 498 h 954"/>
                <a:gd name="T46" fmla="*/ 194 w 857"/>
                <a:gd name="T47" fmla="*/ 461 h 954"/>
                <a:gd name="T48" fmla="*/ 281 w 857"/>
                <a:gd name="T49" fmla="*/ 338 h 954"/>
                <a:gd name="T50" fmla="*/ 357 w 857"/>
                <a:gd name="T51" fmla="*/ 300 h 954"/>
                <a:gd name="T52" fmla="*/ 588 w 857"/>
                <a:gd name="T53" fmla="*/ 106 h 954"/>
                <a:gd name="T54" fmla="*/ 857 w 857"/>
                <a:gd name="T55" fmla="*/ 184 h 954"/>
                <a:gd name="T56" fmla="*/ 751 w 857"/>
                <a:gd name="T57" fmla="*/ 333 h 954"/>
                <a:gd name="T58" fmla="*/ 751 w 857"/>
                <a:gd name="T59" fmla="*/ 333 h 954"/>
                <a:gd name="T60" fmla="*/ 38 w 857"/>
                <a:gd name="T61" fmla="*/ 576 h 954"/>
                <a:gd name="T62" fmla="*/ 49 w 857"/>
                <a:gd name="T63" fmla="*/ 588 h 954"/>
                <a:gd name="T64" fmla="*/ 49 w 857"/>
                <a:gd name="T65" fmla="*/ 588 h 9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857" h="954">
                  <a:moveTo>
                    <a:pt x="751" y="333"/>
                  </a:moveTo>
                  <a:lnTo>
                    <a:pt x="805" y="815"/>
                  </a:lnTo>
                  <a:lnTo>
                    <a:pt x="827" y="831"/>
                  </a:lnTo>
                  <a:lnTo>
                    <a:pt x="810" y="898"/>
                  </a:lnTo>
                  <a:lnTo>
                    <a:pt x="541" y="898"/>
                  </a:lnTo>
                  <a:lnTo>
                    <a:pt x="541" y="881"/>
                  </a:lnTo>
                  <a:lnTo>
                    <a:pt x="534" y="886"/>
                  </a:lnTo>
                  <a:lnTo>
                    <a:pt x="534" y="898"/>
                  </a:lnTo>
                  <a:lnTo>
                    <a:pt x="496" y="902"/>
                  </a:lnTo>
                  <a:lnTo>
                    <a:pt x="449" y="898"/>
                  </a:lnTo>
                  <a:lnTo>
                    <a:pt x="432" y="921"/>
                  </a:lnTo>
                  <a:lnTo>
                    <a:pt x="394" y="881"/>
                  </a:lnTo>
                  <a:lnTo>
                    <a:pt x="378" y="886"/>
                  </a:lnTo>
                  <a:lnTo>
                    <a:pt x="361" y="942"/>
                  </a:lnTo>
                  <a:lnTo>
                    <a:pt x="352" y="954"/>
                  </a:lnTo>
                  <a:lnTo>
                    <a:pt x="340" y="942"/>
                  </a:lnTo>
                  <a:lnTo>
                    <a:pt x="319" y="926"/>
                  </a:lnTo>
                  <a:lnTo>
                    <a:pt x="297" y="909"/>
                  </a:lnTo>
                  <a:lnTo>
                    <a:pt x="297" y="902"/>
                  </a:lnTo>
                  <a:lnTo>
                    <a:pt x="286" y="898"/>
                  </a:lnTo>
                  <a:lnTo>
                    <a:pt x="281" y="898"/>
                  </a:lnTo>
                  <a:lnTo>
                    <a:pt x="269" y="881"/>
                  </a:lnTo>
                  <a:lnTo>
                    <a:pt x="255" y="848"/>
                  </a:lnTo>
                  <a:lnTo>
                    <a:pt x="248" y="848"/>
                  </a:lnTo>
                  <a:lnTo>
                    <a:pt x="243" y="848"/>
                  </a:lnTo>
                  <a:lnTo>
                    <a:pt x="231" y="843"/>
                  </a:lnTo>
                  <a:lnTo>
                    <a:pt x="227" y="848"/>
                  </a:lnTo>
                  <a:lnTo>
                    <a:pt x="194" y="810"/>
                  </a:lnTo>
                  <a:lnTo>
                    <a:pt x="146" y="798"/>
                  </a:lnTo>
                  <a:lnTo>
                    <a:pt x="104" y="815"/>
                  </a:lnTo>
                  <a:lnTo>
                    <a:pt x="54" y="815"/>
                  </a:lnTo>
                  <a:lnTo>
                    <a:pt x="38" y="848"/>
                  </a:lnTo>
                  <a:lnTo>
                    <a:pt x="38" y="810"/>
                  </a:lnTo>
                  <a:lnTo>
                    <a:pt x="71" y="732"/>
                  </a:lnTo>
                  <a:lnTo>
                    <a:pt x="71" y="676"/>
                  </a:lnTo>
                  <a:lnTo>
                    <a:pt x="66" y="643"/>
                  </a:lnTo>
                  <a:lnTo>
                    <a:pt x="38" y="605"/>
                  </a:lnTo>
                  <a:lnTo>
                    <a:pt x="54" y="593"/>
                  </a:lnTo>
                  <a:lnTo>
                    <a:pt x="38" y="605"/>
                  </a:lnTo>
                  <a:lnTo>
                    <a:pt x="54" y="572"/>
                  </a:lnTo>
                  <a:lnTo>
                    <a:pt x="66" y="539"/>
                  </a:lnTo>
                  <a:lnTo>
                    <a:pt x="38" y="510"/>
                  </a:lnTo>
                  <a:lnTo>
                    <a:pt x="38" y="515"/>
                  </a:lnTo>
                  <a:lnTo>
                    <a:pt x="33" y="510"/>
                  </a:lnTo>
                  <a:lnTo>
                    <a:pt x="12" y="465"/>
                  </a:lnTo>
                  <a:lnTo>
                    <a:pt x="0" y="498"/>
                  </a:lnTo>
                  <a:lnTo>
                    <a:pt x="12" y="461"/>
                  </a:lnTo>
                  <a:lnTo>
                    <a:pt x="194" y="461"/>
                  </a:lnTo>
                  <a:lnTo>
                    <a:pt x="286" y="461"/>
                  </a:lnTo>
                  <a:lnTo>
                    <a:pt x="281" y="338"/>
                  </a:lnTo>
                  <a:lnTo>
                    <a:pt x="319" y="312"/>
                  </a:lnTo>
                  <a:lnTo>
                    <a:pt x="357" y="300"/>
                  </a:lnTo>
                  <a:lnTo>
                    <a:pt x="357" y="106"/>
                  </a:lnTo>
                  <a:lnTo>
                    <a:pt x="588" y="106"/>
                  </a:lnTo>
                  <a:lnTo>
                    <a:pt x="588" y="0"/>
                  </a:lnTo>
                  <a:lnTo>
                    <a:pt x="857" y="184"/>
                  </a:lnTo>
                  <a:lnTo>
                    <a:pt x="734" y="184"/>
                  </a:lnTo>
                  <a:lnTo>
                    <a:pt x="751" y="333"/>
                  </a:lnTo>
                  <a:lnTo>
                    <a:pt x="751" y="333"/>
                  </a:lnTo>
                  <a:lnTo>
                    <a:pt x="751" y="333"/>
                  </a:lnTo>
                  <a:close/>
                  <a:moveTo>
                    <a:pt x="49" y="588"/>
                  </a:moveTo>
                  <a:lnTo>
                    <a:pt x="38" y="576"/>
                  </a:lnTo>
                  <a:lnTo>
                    <a:pt x="49" y="572"/>
                  </a:lnTo>
                  <a:lnTo>
                    <a:pt x="49" y="588"/>
                  </a:lnTo>
                  <a:lnTo>
                    <a:pt x="49" y="588"/>
                  </a:lnTo>
                  <a:lnTo>
                    <a:pt x="49" y="588"/>
                  </a:lnTo>
                  <a:close/>
                </a:path>
              </a:pathLst>
            </a:custGeom>
            <a:solidFill>
              <a:schemeClr val="bg2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67" name="Freeform 511">
              <a:extLst>
                <a:ext uri="{FF2B5EF4-FFF2-40B4-BE49-F238E27FC236}">
                  <a16:creationId xmlns:a16="http://schemas.microsoft.com/office/drawing/2014/main" id="{5CEDCB9D-D7E3-4E6F-A177-0BCE9E6752A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313714" y="2325522"/>
              <a:ext cx="3683" cy="3991"/>
            </a:xfrm>
            <a:custGeom>
              <a:avLst/>
              <a:gdLst>
                <a:gd name="T0" fmla="*/ 7 w 24"/>
                <a:gd name="T1" fmla="*/ 12 h 26"/>
                <a:gd name="T2" fmla="*/ 0 w 24"/>
                <a:gd name="T3" fmla="*/ 0 h 26"/>
                <a:gd name="T4" fmla="*/ 7 w 24"/>
                <a:gd name="T5" fmla="*/ 0 h 26"/>
                <a:gd name="T6" fmla="*/ 7 w 24"/>
                <a:gd name="T7" fmla="*/ 12 h 26"/>
                <a:gd name="T8" fmla="*/ 7 w 24"/>
                <a:gd name="T9" fmla="*/ 12 h 26"/>
                <a:gd name="T10" fmla="*/ 7 w 24"/>
                <a:gd name="T11" fmla="*/ 12 h 26"/>
                <a:gd name="T12" fmla="*/ 24 w 24"/>
                <a:gd name="T13" fmla="*/ 26 h 26"/>
                <a:gd name="T14" fmla="*/ 7 w 24"/>
                <a:gd name="T15" fmla="*/ 16 h 26"/>
                <a:gd name="T16" fmla="*/ 7 w 24"/>
                <a:gd name="T17" fmla="*/ 12 h 26"/>
                <a:gd name="T18" fmla="*/ 24 w 24"/>
                <a:gd name="T19" fmla="*/ 16 h 26"/>
                <a:gd name="T20" fmla="*/ 24 w 24"/>
                <a:gd name="T21" fmla="*/ 26 h 26"/>
                <a:gd name="T22" fmla="*/ 24 w 24"/>
                <a:gd name="T23" fmla="*/ 26 h 26"/>
                <a:gd name="T24" fmla="*/ 24 w 24"/>
                <a:gd name="T25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4" h="26">
                  <a:moveTo>
                    <a:pt x="7" y="12"/>
                  </a:moveTo>
                  <a:lnTo>
                    <a:pt x="0" y="0"/>
                  </a:lnTo>
                  <a:lnTo>
                    <a:pt x="7" y="0"/>
                  </a:lnTo>
                  <a:lnTo>
                    <a:pt x="7" y="12"/>
                  </a:lnTo>
                  <a:lnTo>
                    <a:pt x="7" y="12"/>
                  </a:lnTo>
                  <a:lnTo>
                    <a:pt x="7" y="12"/>
                  </a:lnTo>
                  <a:close/>
                  <a:moveTo>
                    <a:pt x="24" y="26"/>
                  </a:moveTo>
                  <a:lnTo>
                    <a:pt x="7" y="16"/>
                  </a:lnTo>
                  <a:lnTo>
                    <a:pt x="7" y="12"/>
                  </a:lnTo>
                  <a:lnTo>
                    <a:pt x="24" y="16"/>
                  </a:lnTo>
                  <a:lnTo>
                    <a:pt x="24" y="26"/>
                  </a:lnTo>
                  <a:lnTo>
                    <a:pt x="24" y="26"/>
                  </a:lnTo>
                  <a:lnTo>
                    <a:pt x="24" y="26"/>
                  </a:lnTo>
                  <a:close/>
                </a:path>
              </a:pathLst>
            </a:custGeom>
            <a:solidFill>
              <a:schemeClr val="bg2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68" name="Freeform 512">
              <a:extLst>
                <a:ext uri="{FF2B5EF4-FFF2-40B4-BE49-F238E27FC236}">
                  <a16:creationId xmlns:a16="http://schemas.microsoft.com/office/drawing/2014/main" id="{20D9BF5E-B797-447E-AE22-A93E0631219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721497" y="2443404"/>
              <a:ext cx="83797" cy="113431"/>
            </a:xfrm>
            <a:custGeom>
              <a:avLst/>
              <a:gdLst>
                <a:gd name="T0" fmla="*/ 282 w 546"/>
                <a:gd name="T1" fmla="*/ 56 h 739"/>
                <a:gd name="T2" fmla="*/ 282 w 546"/>
                <a:gd name="T3" fmla="*/ 23 h 739"/>
                <a:gd name="T4" fmla="*/ 307 w 546"/>
                <a:gd name="T5" fmla="*/ 16 h 739"/>
                <a:gd name="T6" fmla="*/ 298 w 546"/>
                <a:gd name="T7" fmla="*/ 0 h 739"/>
                <a:gd name="T8" fmla="*/ 307 w 546"/>
                <a:gd name="T9" fmla="*/ 7 h 739"/>
                <a:gd name="T10" fmla="*/ 298 w 546"/>
                <a:gd name="T11" fmla="*/ 16 h 739"/>
                <a:gd name="T12" fmla="*/ 298 w 546"/>
                <a:gd name="T13" fmla="*/ 56 h 739"/>
                <a:gd name="T14" fmla="*/ 298 w 546"/>
                <a:gd name="T15" fmla="*/ 56 h 739"/>
                <a:gd name="T16" fmla="*/ 0 w 546"/>
                <a:gd name="T17" fmla="*/ 562 h 739"/>
                <a:gd name="T18" fmla="*/ 253 w 546"/>
                <a:gd name="T19" fmla="*/ 333 h 739"/>
                <a:gd name="T20" fmla="*/ 222 w 546"/>
                <a:gd name="T21" fmla="*/ 255 h 739"/>
                <a:gd name="T22" fmla="*/ 244 w 546"/>
                <a:gd name="T23" fmla="*/ 184 h 739"/>
                <a:gd name="T24" fmla="*/ 274 w 546"/>
                <a:gd name="T25" fmla="*/ 167 h 739"/>
                <a:gd name="T26" fmla="*/ 260 w 546"/>
                <a:gd name="T27" fmla="*/ 118 h 739"/>
                <a:gd name="T28" fmla="*/ 282 w 546"/>
                <a:gd name="T29" fmla="*/ 118 h 739"/>
                <a:gd name="T30" fmla="*/ 282 w 546"/>
                <a:gd name="T31" fmla="*/ 127 h 739"/>
                <a:gd name="T32" fmla="*/ 298 w 546"/>
                <a:gd name="T33" fmla="*/ 111 h 739"/>
                <a:gd name="T34" fmla="*/ 362 w 546"/>
                <a:gd name="T35" fmla="*/ 188 h 739"/>
                <a:gd name="T36" fmla="*/ 459 w 546"/>
                <a:gd name="T37" fmla="*/ 212 h 739"/>
                <a:gd name="T38" fmla="*/ 546 w 546"/>
                <a:gd name="T39" fmla="*/ 295 h 739"/>
                <a:gd name="T40" fmla="*/ 513 w 546"/>
                <a:gd name="T41" fmla="*/ 382 h 739"/>
                <a:gd name="T42" fmla="*/ 454 w 546"/>
                <a:gd name="T43" fmla="*/ 451 h 739"/>
                <a:gd name="T44" fmla="*/ 437 w 546"/>
                <a:gd name="T45" fmla="*/ 444 h 739"/>
                <a:gd name="T46" fmla="*/ 404 w 546"/>
                <a:gd name="T47" fmla="*/ 467 h 739"/>
                <a:gd name="T48" fmla="*/ 404 w 546"/>
                <a:gd name="T49" fmla="*/ 562 h 739"/>
                <a:gd name="T50" fmla="*/ 329 w 546"/>
                <a:gd name="T51" fmla="*/ 578 h 739"/>
                <a:gd name="T52" fmla="*/ 312 w 546"/>
                <a:gd name="T53" fmla="*/ 628 h 739"/>
                <a:gd name="T54" fmla="*/ 237 w 546"/>
                <a:gd name="T55" fmla="*/ 649 h 739"/>
                <a:gd name="T56" fmla="*/ 227 w 546"/>
                <a:gd name="T57" fmla="*/ 682 h 739"/>
                <a:gd name="T58" fmla="*/ 189 w 546"/>
                <a:gd name="T59" fmla="*/ 715 h 739"/>
                <a:gd name="T60" fmla="*/ 147 w 546"/>
                <a:gd name="T61" fmla="*/ 706 h 739"/>
                <a:gd name="T62" fmla="*/ 76 w 546"/>
                <a:gd name="T63" fmla="*/ 739 h 739"/>
                <a:gd name="T64" fmla="*/ 76 w 546"/>
                <a:gd name="T65" fmla="*/ 739 h 739"/>
                <a:gd name="T66" fmla="*/ 459 w 546"/>
                <a:gd name="T67" fmla="*/ 460 h 739"/>
                <a:gd name="T68" fmla="*/ 487 w 546"/>
                <a:gd name="T69" fmla="*/ 451 h 739"/>
                <a:gd name="T70" fmla="*/ 459 w 546"/>
                <a:gd name="T71" fmla="*/ 477 h 739"/>
                <a:gd name="T72" fmla="*/ 274 w 546"/>
                <a:gd name="T73" fmla="*/ 673 h 739"/>
                <a:gd name="T74" fmla="*/ 282 w 546"/>
                <a:gd name="T75" fmla="*/ 673 h 739"/>
                <a:gd name="T76" fmla="*/ 274 w 546"/>
                <a:gd name="T77" fmla="*/ 673 h 7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546" h="739">
                  <a:moveTo>
                    <a:pt x="298" y="56"/>
                  </a:moveTo>
                  <a:lnTo>
                    <a:pt x="282" y="56"/>
                  </a:lnTo>
                  <a:lnTo>
                    <a:pt x="291" y="33"/>
                  </a:lnTo>
                  <a:lnTo>
                    <a:pt x="282" y="23"/>
                  </a:lnTo>
                  <a:lnTo>
                    <a:pt x="291" y="7"/>
                  </a:lnTo>
                  <a:lnTo>
                    <a:pt x="307" y="16"/>
                  </a:lnTo>
                  <a:lnTo>
                    <a:pt x="298" y="16"/>
                  </a:lnTo>
                  <a:lnTo>
                    <a:pt x="298" y="0"/>
                  </a:lnTo>
                  <a:lnTo>
                    <a:pt x="312" y="0"/>
                  </a:lnTo>
                  <a:lnTo>
                    <a:pt x="307" y="7"/>
                  </a:lnTo>
                  <a:lnTo>
                    <a:pt x="307" y="16"/>
                  </a:lnTo>
                  <a:lnTo>
                    <a:pt x="298" y="16"/>
                  </a:lnTo>
                  <a:lnTo>
                    <a:pt x="307" y="23"/>
                  </a:lnTo>
                  <a:lnTo>
                    <a:pt x="298" y="56"/>
                  </a:lnTo>
                  <a:lnTo>
                    <a:pt x="298" y="56"/>
                  </a:lnTo>
                  <a:lnTo>
                    <a:pt x="298" y="56"/>
                  </a:lnTo>
                  <a:close/>
                  <a:moveTo>
                    <a:pt x="76" y="739"/>
                  </a:moveTo>
                  <a:lnTo>
                    <a:pt x="0" y="562"/>
                  </a:lnTo>
                  <a:lnTo>
                    <a:pt x="206" y="484"/>
                  </a:lnTo>
                  <a:lnTo>
                    <a:pt x="253" y="333"/>
                  </a:lnTo>
                  <a:lnTo>
                    <a:pt x="222" y="283"/>
                  </a:lnTo>
                  <a:lnTo>
                    <a:pt x="222" y="255"/>
                  </a:lnTo>
                  <a:lnTo>
                    <a:pt x="244" y="200"/>
                  </a:lnTo>
                  <a:lnTo>
                    <a:pt x="244" y="184"/>
                  </a:lnTo>
                  <a:lnTo>
                    <a:pt x="274" y="172"/>
                  </a:lnTo>
                  <a:lnTo>
                    <a:pt x="274" y="167"/>
                  </a:lnTo>
                  <a:lnTo>
                    <a:pt x="260" y="167"/>
                  </a:lnTo>
                  <a:lnTo>
                    <a:pt x="260" y="118"/>
                  </a:lnTo>
                  <a:lnTo>
                    <a:pt x="274" y="111"/>
                  </a:lnTo>
                  <a:lnTo>
                    <a:pt x="282" y="118"/>
                  </a:lnTo>
                  <a:lnTo>
                    <a:pt x="274" y="118"/>
                  </a:lnTo>
                  <a:lnTo>
                    <a:pt x="282" y="127"/>
                  </a:lnTo>
                  <a:lnTo>
                    <a:pt x="298" y="118"/>
                  </a:lnTo>
                  <a:lnTo>
                    <a:pt x="298" y="111"/>
                  </a:lnTo>
                  <a:lnTo>
                    <a:pt x="324" y="151"/>
                  </a:lnTo>
                  <a:lnTo>
                    <a:pt x="362" y="188"/>
                  </a:lnTo>
                  <a:lnTo>
                    <a:pt x="437" y="212"/>
                  </a:lnTo>
                  <a:lnTo>
                    <a:pt x="459" y="212"/>
                  </a:lnTo>
                  <a:lnTo>
                    <a:pt x="513" y="283"/>
                  </a:lnTo>
                  <a:lnTo>
                    <a:pt x="546" y="295"/>
                  </a:lnTo>
                  <a:lnTo>
                    <a:pt x="546" y="316"/>
                  </a:lnTo>
                  <a:lnTo>
                    <a:pt x="513" y="382"/>
                  </a:lnTo>
                  <a:lnTo>
                    <a:pt x="475" y="411"/>
                  </a:lnTo>
                  <a:lnTo>
                    <a:pt x="454" y="451"/>
                  </a:lnTo>
                  <a:lnTo>
                    <a:pt x="433" y="460"/>
                  </a:lnTo>
                  <a:lnTo>
                    <a:pt x="437" y="444"/>
                  </a:lnTo>
                  <a:lnTo>
                    <a:pt x="433" y="444"/>
                  </a:lnTo>
                  <a:lnTo>
                    <a:pt x="404" y="467"/>
                  </a:lnTo>
                  <a:lnTo>
                    <a:pt x="388" y="505"/>
                  </a:lnTo>
                  <a:lnTo>
                    <a:pt x="404" y="562"/>
                  </a:lnTo>
                  <a:lnTo>
                    <a:pt x="362" y="571"/>
                  </a:lnTo>
                  <a:lnTo>
                    <a:pt x="329" y="578"/>
                  </a:lnTo>
                  <a:lnTo>
                    <a:pt x="324" y="595"/>
                  </a:lnTo>
                  <a:lnTo>
                    <a:pt x="312" y="628"/>
                  </a:lnTo>
                  <a:lnTo>
                    <a:pt x="298" y="644"/>
                  </a:lnTo>
                  <a:lnTo>
                    <a:pt x="237" y="649"/>
                  </a:lnTo>
                  <a:lnTo>
                    <a:pt x="222" y="673"/>
                  </a:lnTo>
                  <a:lnTo>
                    <a:pt x="227" y="682"/>
                  </a:lnTo>
                  <a:lnTo>
                    <a:pt x="206" y="706"/>
                  </a:lnTo>
                  <a:lnTo>
                    <a:pt x="189" y="715"/>
                  </a:lnTo>
                  <a:lnTo>
                    <a:pt x="173" y="706"/>
                  </a:lnTo>
                  <a:lnTo>
                    <a:pt x="147" y="706"/>
                  </a:lnTo>
                  <a:lnTo>
                    <a:pt x="109" y="727"/>
                  </a:lnTo>
                  <a:lnTo>
                    <a:pt x="76" y="739"/>
                  </a:lnTo>
                  <a:lnTo>
                    <a:pt x="76" y="739"/>
                  </a:lnTo>
                  <a:lnTo>
                    <a:pt x="76" y="739"/>
                  </a:lnTo>
                  <a:close/>
                  <a:moveTo>
                    <a:pt x="459" y="477"/>
                  </a:moveTo>
                  <a:lnTo>
                    <a:pt x="459" y="460"/>
                  </a:lnTo>
                  <a:lnTo>
                    <a:pt x="487" y="439"/>
                  </a:lnTo>
                  <a:lnTo>
                    <a:pt x="487" y="451"/>
                  </a:lnTo>
                  <a:lnTo>
                    <a:pt x="459" y="477"/>
                  </a:lnTo>
                  <a:lnTo>
                    <a:pt x="459" y="477"/>
                  </a:lnTo>
                  <a:lnTo>
                    <a:pt x="459" y="477"/>
                  </a:lnTo>
                  <a:close/>
                  <a:moveTo>
                    <a:pt x="274" y="673"/>
                  </a:moveTo>
                  <a:lnTo>
                    <a:pt x="274" y="673"/>
                  </a:lnTo>
                  <a:lnTo>
                    <a:pt x="282" y="673"/>
                  </a:lnTo>
                  <a:lnTo>
                    <a:pt x="274" y="673"/>
                  </a:lnTo>
                  <a:lnTo>
                    <a:pt x="274" y="673"/>
                  </a:lnTo>
                  <a:lnTo>
                    <a:pt x="274" y="673"/>
                  </a:lnTo>
                  <a:close/>
                </a:path>
              </a:pathLst>
            </a:custGeom>
            <a:solidFill>
              <a:schemeClr val="bg2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69" name="Freeform 513">
              <a:extLst>
                <a:ext uri="{FF2B5EF4-FFF2-40B4-BE49-F238E27FC236}">
                  <a16:creationId xmlns:a16="http://schemas.microsoft.com/office/drawing/2014/main" id="{1CDA94A1-259B-47C1-86CC-5F71C38AF661}"/>
                </a:ext>
              </a:extLst>
            </p:cNvPr>
            <p:cNvSpPr>
              <a:spLocks/>
            </p:cNvSpPr>
            <p:nvPr/>
          </p:nvSpPr>
          <p:spPr bwMode="gray">
            <a:xfrm>
              <a:off x="6360524" y="2227902"/>
              <a:ext cx="19952" cy="22564"/>
            </a:xfrm>
            <a:custGeom>
              <a:avLst/>
              <a:gdLst>
                <a:gd name="T0" fmla="*/ 0 w 130"/>
                <a:gd name="T1" fmla="*/ 90 h 147"/>
                <a:gd name="T2" fmla="*/ 7 w 130"/>
                <a:gd name="T3" fmla="*/ 81 h 147"/>
                <a:gd name="T4" fmla="*/ 0 w 130"/>
                <a:gd name="T5" fmla="*/ 62 h 147"/>
                <a:gd name="T6" fmla="*/ 0 w 130"/>
                <a:gd name="T7" fmla="*/ 45 h 147"/>
                <a:gd name="T8" fmla="*/ 16 w 130"/>
                <a:gd name="T9" fmla="*/ 41 h 147"/>
                <a:gd name="T10" fmla="*/ 16 w 130"/>
                <a:gd name="T11" fmla="*/ 24 h 147"/>
                <a:gd name="T12" fmla="*/ 28 w 130"/>
                <a:gd name="T13" fmla="*/ 17 h 147"/>
                <a:gd name="T14" fmla="*/ 37 w 130"/>
                <a:gd name="T15" fmla="*/ 24 h 147"/>
                <a:gd name="T16" fmla="*/ 45 w 130"/>
                <a:gd name="T17" fmla="*/ 17 h 147"/>
                <a:gd name="T18" fmla="*/ 28 w 130"/>
                <a:gd name="T19" fmla="*/ 0 h 147"/>
                <a:gd name="T20" fmla="*/ 54 w 130"/>
                <a:gd name="T21" fmla="*/ 0 h 147"/>
                <a:gd name="T22" fmla="*/ 87 w 130"/>
                <a:gd name="T23" fmla="*/ 36 h 147"/>
                <a:gd name="T24" fmla="*/ 130 w 130"/>
                <a:gd name="T25" fmla="*/ 57 h 147"/>
                <a:gd name="T26" fmla="*/ 130 w 130"/>
                <a:gd name="T27" fmla="*/ 62 h 147"/>
                <a:gd name="T28" fmla="*/ 125 w 130"/>
                <a:gd name="T29" fmla="*/ 62 h 147"/>
                <a:gd name="T30" fmla="*/ 108 w 130"/>
                <a:gd name="T31" fmla="*/ 74 h 147"/>
                <a:gd name="T32" fmla="*/ 113 w 130"/>
                <a:gd name="T33" fmla="*/ 81 h 147"/>
                <a:gd name="T34" fmla="*/ 108 w 130"/>
                <a:gd name="T35" fmla="*/ 90 h 147"/>
                <a:gd name="T36" fmla="*/ 92 w 130"/>
                <a:gd name="T37" fmla="*/ 97 h 147"/>
                <a:gd name="T38" fmla="*/ 92 w 130"/>
                <a:gd name="T39" fmla="*/ 81 h 147"/>
                <a:gd name="T40" fmla="*/ 87 w 130"/>
                <a:gd name="T41" fmla="*/ 81 h 147"/>
                <a:gd name="T42" fmla="*/ 54 w 130"/>
                <a:gd name="T43" fmla="*/ 118 h 147"/>
                <a:gd name="T44" fmla="*/ 59 w 130"/>
                <a:gd name="T45" fmla="*/ 130 h 147"/>
                <a:gd name="T46" fmla="*/ 59 w 130"/>
                <a:gd name="T47" fmla="*/ 147 h 147"/>
                <a:gd name="T48" fmla="*/ 45 w 130"/>
                <a:gd name="T49" fmla="*/ 135 h 147"/>
                <a:gd name="T50" fmla="*/ 28 w 130"/>
                <a:gd name="T51" fmla="*/ 114 h 147"/>
                <a:gd name="T52" fmla="*/ 7 w 130"/>
                <a:gd name="T53" fmla="*/ 97 h 147"/>
                <a:gd name="T54" fmla="*/ 16 w 130"/>
                <a:gd name="T55" fmla="*/ 102 h 147"/>
                <a:gd name="T56" fmla="*/ 16 w 130"/>
                <a:gd name="T57" fmla="*/ 97 h 147"/>
                <a:gd name="T58" fmla="*/ 0 w 130"/>
                <a:gd name="T59" fmla="*/ 97 h 147"/>
                <a:gd name="T60" fmla="*/ 0 w 130"/>
                <a:gd name="T61" fmla="*/ 90 h 147"/>
                <a:gd name="T62" fmla="*/ 0 w 130"/>
                <a:gd name="T63" fmla="*/ 90 h 147"/>
                <a:gd name="T64" fmla="*/ 0 w 130"/>
                <a:gd name="T65" fmla="*/ 90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30" h="147">
                  <a:moveTo>
                    <a:pt x="0" y="90"/>
                  </a:moveTo>
                  <a:lnTo>
                    <a:pt x="7" y="81"/>
                  </a:lnTo>
                  <a:lnTo>
                    <a:pt x="0" y="62"/>
                  </a:lnTo>
                  <a:lnTo>
                    <a:pt x="0" y="45"/>
                  </a:lnTo>
                  <a:lnTo>
                    <a:pt x="16" y="41"/>
                  </a:lnTo>
                  <a:lnTo>
                    <a:pt x="16" y="24"/>
                  </a:lnTo>
                  <a:lnTo>
                    <a:pt x="28" y="17"/>
                  </a:lnTo>
                  <a:lnTo>
                    <a:pt x="37" y="24"/>
                  </a:lnTo>
                  <a:lnTo>
                    <a:pt x="45" y="17"/>
                  </a:lnTo>
                  <a:lnTo>
                    <a:pt x="28" y="0"/>
                  </a:lnTo>
                  <a:lnTo>
                    <a:pt x="54" y="0"/>
                  </a:lnTo>
                  <a:lnTo>
                    <a:pt x="87" y="36"/>
                  </a:lnTo>
                  <a:lnTo>
                    <a:pt x="130" y="57"/>
                  </a:lnTo>
                  <a:lnTo>
                    <a:pt x="130" y="62"/>
                  </a:lnTo>
                  <a:lnTo>
                    <a:pt x="125" y="62"/>
                  </a:lnTo>
                  <a:lnTo>
                    <a:pt x="108" y="74"/>
                  </a:lnTo>
                  <a:lnTo>
                    <a:pt x="113" y="81"/>
                  </a:lnTo>
                  <a:lnTo>
                    <a:pt x="108" y="90"/>
                  </a:lnTo>
                  <a:lnTo>
                    <a:pt x="92" y="97"/>
                  </a:lnTo>
                  <a:lnTo>
                    <a:pt x="92" y="81"/>
                  </a:lnTo>
                  <a:lnTo>
                    <a:pt x="87" y="81"/>
                  </a:lnTo>
                  <a:lnTo>
                    <a:pt x="54" y="118"/>
                  </a:lnTo>
                  <a:lnTo>
                    <a:pt x="59" y="130"/>
                  </a:lnTo>
                  <a:lnTo>
                    <a:pt x="59" y="147"/>
                  </a:lnTo>
                  <a:lnTo>
                    <a:pt x="45" y="135"/>
                  </a:lnTo>
                  <a:lnTo>
                    <a:pt x="28" y="114"/>
                  </a:lnTo>
                  <a:lnTo>
                    <a:pt x="7" y="97"/>
                  </a:lnTo>
                  <a:lnTo>
                    <a:pt x="16" y="102"/>
                  </a:lnTo>
                  <a:lnTo>
                    <a:pt x="16" y="97"/>
                  </a:lnTo>
                  <a:lnTo>
                    <a:pt x="0" y="97"/>
                  </a:lnTo>
                  <a:lnTo>
                    <a:pt x="0" y="90"/>
                  </a:lnTo>
                  <a:lnTo>
                    <a:pt x="0" y="90"/>
                  </a:lnTo>
                  <a:lnTo>
                    <a:pt x="0" y="90"/>
                  </a:lnTo>
                  <a:close/>
                </a:path>
              </a:pathLst>
            </a:custGeom>
            <a:solidFill>
              <a:schemeClr val="bg2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70" name="Freeform 514">
              <a:extLst>
                <a:ext uri="{FF2B5EF4-FFF2-40B4-BE49-F238E27FC236}">
                  <a16:creationId xmlns:a16="http://schemas.microsoft.com/office/drawing/2014/main" id="{D44E9EA1-9BF6-4D06-BC49-785C0DF52CCC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887472" y="2367119"/>
              <a:ext cx="339026" cy="212587"/>
            </a:xfrm>
            <a:custGeom>
              <a:avLst/>
              <a:gdLst>
                <a:gd name="T0" fmla="*/ 1918 w 2209"/>
                <a:gd name="T1" fmla="*/ 1146 h 1385"/>
                <a:gd name="T2" fmla="*/ 1864 w 2209"/>
                <a:gd name="T3" fmla="*/ 1274 h 1385"/>
                <a:gd name="T4" fmla="*/ 1708 w 2209"/>
                <a:gd name="T5" fmla="*/ 1274 h 1385"/>
                <a:gd name="T6" fmla="*/ 1649 w 2209"/>
                <a:gd name="T7" fmla="*/ 1269 h 1385"/>
                <a:gd name="T8" fmla="*/ 1481 w 2209"/>
                <a:gd name="T9" fmla="*/ 1293 h 1385"/>
                <a:gd name="T10" fmla="*/ 1217 w 2209"/>
                <a:gd name="T11" fmla="*/ 1186 h 1385"/>
                <a:gd name="T12" fmla="*/ 900 w 2209"/>
                <a:gd name="T13" fmla="*/ 993 h 1385"/>
                <a:gd name="T14" fmla="*/ 900 w 2209"/>
                <a:gd name="T15" fmla="*/ 865 h 1385"/>
                <a:gd name="T16" fmla="*/ 754 w 2209"/>
                <a:gd name="T17" fmla="*/ 648 h 1385"/>
                <a:gd name="T18" fmla="*/ 728 w 2209"/>
                <a:gd name="T19" fmla="*/ 610 h 1385"/>
                <a:gd name="T20" fmla="*/ 695 w 2209"/>
                <a:gd name="T21" fmla="*/ 586 h 1385"/>
                <a:gd name="T22" fmla="*/ 673 w 2209"/>
                <a:gd name="T23" fmla="*/ 544 h 1385"/>
                <a:gd name="T24" fmla="*/ 624 w 2209"/>
                <a:gd name="T25" fmla="*/ 475 h 1385"/>
                <a:gd name="T26" fmla="*/ 548 w 2209"/>
                <a:gd name="T27" fmla="*/ 388 h 1385"/>
                <a:gd name="T28" fmla="*/ 430 w 2209"/>
                <a:gd name="T29" fmla="*/ 298 h 1385"/>
                <a:gd name="T30" fmla="*/ 371 w 2209"/>
                <a:gd name="T31" fmla="*/ 116 h 1385"/>
                <a:gd name="T32" fmla="*/ 253 w 2209"/>
                <a:gd name="T33" fmla="*/ 88 h 1385"/>
                <a:gd name="T34" fmla="*/ 345 w 2209"/>
                <a:gd name="T35" fmla="*/ 298 h 1385"/>
                <a:gd name="T36" fmla="*/ 392 w 2209"/>
                <a:gd name="T37" fmla="*/ 388 h 1385"/>
                <a:gd name="T38" fmla="*/ 458 w 2209"/>
                <a:gd name="T39" fmla="*/ 459 h 1385"/>
                <a:gd name="T40" fmla="*/ 522 w 2209"/>
                <a:gd name="T41" fmla="*/ 593 h 1385"/>
                <a:gd name="T42" fmla="*/ 569 w 2209"/>
                <a:gd name="T43" fmla="*/ 664 h 1385"/>
                <a:gd name="T44" fmla="*/ 593 w 2209"/>
                <a:gd name="T45" fmla="*/ 766 h 1385"/>
                <a:gd name="T46" fmla="*/ 442 w 2209"/>
                <a:gd name="T47" fmla="*/ 626 h 1385"/>
                <a:gd name="T48" fmla="*/ 397 w 2209"/>
                <a:gd name="T49" fmla="*/ 504 h 1385"/>
                <a:gd name="T50" fmla="*/ 307 w 2209"/>
                <a:gd name="T51" fmla="*/ 449 h 1385"/>
                <a:gd name="T52" fmla="*/ 300 w 2209"/>
                <a:gd name="T53" fmla="*/ 393 h 1385"/>
                <a:gd name="T54" fmla="*/ 182 w 2209"/>
                <a:gd name="T55" fmla="*/ 239 h 1385"/>
                <a:gd name="T56" fmla="*/ 140 w 2209"/>
                <a:gd name="T57" fmla="*/ 116 h 1385"/>
                <a:gd name="T58" fmla="*/ 510 w 2209"/>
                <a:gd name="T59" fmla="*/ 111 h 1385"/>
                <a:gd name="T60" fmla="*/ 952 w 2209"/>
                <a:gd name="T61" fmla="*/ 222 h 1385"/>
                <a:gd name="T62" fmla="*/ 1125 w 2209"/>
                <a:gd name="T63" fmla="*/ 227 h 1385"/>
                <a:gd name="T64" fmla="*/ 1292 w 2209"/>
                <a:gd name="T65" fmla="*/ 393 h 1385"/>
                <a:gd name="T66" fmla="*/ 1448 w 2209"/>
                <a:gd name="T67" fmla="*/ 532 h 1385"/>
                <a:gd name="T68" fmla="*/ 1472 w 2209"/>
                <a:gd name="T69" fmla="*/ 870 h 1385"/>
                <a:gd name="T70" fmla="*/ 1536 w 2209"/>
                <a:gd name="T71" fmla="*/ 997 h 1385"/>
                <a:gd name="T72" fmla="*/ 1649 w 2209"/>
                <a:gd name="T73" fmla="*/ 1092 h 1385"/>
                <a:gd name="T74" fmla="*/ 1762 w 2209"/>
                <a:gd name="T75" fmla="*/ 1108 h 1385"/>
                <a:gd name="T76" fmla="*/ 1864 w 2209"/>
                <a:gd name="T77" fmla="*/ 1104 h 1385"/>
                <a:gd name="T78" fmla="*/ 1935 w 2209"/>
                <a:gd name="T79" fmla="*/ 1037 h 1385"/>
                <a:gd name="T80" fmla="*/ 2095 w 2209"/>
                <a:gd name="T81" fmla="*/ 870 h 1385"/>
                <a:gd name="T82" fmla="*/ 2209 w 2209"/>
                <a:gd name="T83" fmla="*/ 893 h 1385"/>
                <a:gd name="T84" fmla="*/ 2150 w 2209"/>
                <a:gd name="T85" fmla="*/ 1021 h 1385"/>
                <a:gd name="T86" fmla="*/ 2133 w 2209"/>
                <a:gd name="T87" fmla="*/ 1104 h 1385"/>
                <a:gd name="T88" fmla="*/ 359 w 2209"/>
                <a:gd name="T89" fmla="*/ 293 h 1385"/>
                <a:gd name="T90" fmla="*/ 359 w 2209"/>
                <a:gd name="T91" fmla="*/ 293 h 1385"/>
                <a:gd name="T92" fmla="*/ 425 w 2209"/>
                <a:gd name="T93" fmla="*/ 315 h 1385"/>
                <a:gd name="T94" fmla="*/ 0 w 2209"/>
                <a:gd name="T95" fmla="*/ 298 h 1385"/>
                <a:gd name="T96" fmla="*/ 225 w 2209"/>
                <a:gd name="T97" fmla="*/ 371 h 1385"/>
                <a:gd name="T98" fmla="*/ 501 w 2209"/>
                <a:gd name="T99" fmla="*/ 544 h 1385"/>
                <a:gd name="T100" fmla="*/ 442 w 2209"/>
                <a:gd name="T101" fmla="*/ 586 h 1385"/>
                <a:gd name="T102" fmla="*/ 539 w 2209"/>
                <a:gd name="T103" fmla="*/ 598 h 1385"/>
                <a:gd name="T104" fmla="*/ 463 w 2209"/>
                <a:gd name="T105" fmla="*/ 655 h 1385"/>
                <a:gd name="T106" fmla="*/ 825 w 2209"/>
                <a:gd name="T107" fmla="*/ 870 h 1385"/>
                <a:gd name="T108" fmla="*/ 855 w 2209"/>
                <a:gd name="T109" fmla="*/ 886 h 1385"/>
                <a:gd name="T110" fmla="*/ 2204 w 2209"/>
                <a:gd name="T111" fmla="*/ 943 h 1385"/>
                <a:gd name="T112" fmla="*/ 517 w 2209"/>
                <a:gd name="T113" fmla="*/ 1071 h 13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209" h="1385">
                  <a:moveTo>
                    <a:pt x="2103" y="1104"/>
                  </a:moveTo>
                  <a:lnTo>
                    <a:pt x="2095" y="1104"/>
                  </a:lnTo>
                  <a:lnTo>
                    <a:pt x="2065" y="1141"/>
                  </a:lnTo>
                  <a:lnTo>
                    <a:pt x="2058" y="1130"/>
                  </a:lnTo>
                  <a:lnTo>
                    <a:pt x="2048" y="1141"/>
                  </a:lnTo>
                  <a:lnTo>
                    <a:pt x="2048" y="1146"/>
                  </a:lnTo>
                  <a:lnTo>
                    <a:pt x="1918" y="1146"/>
                  </a:lnTo>
                  <a:lnTo>
                    <a:pt x="1918" y="1186"/>
                  </a:lnTo>
                  <a:lnTo>
                    <a:pt x="1885" y="1186"/>
                  </a:lnTo>
                  <a:lnTo>
                    <a:pt x="1935" y="1224"/>
                  </a:lnTo>
                  <a:lnTo>
                    <a:pt x="1940" y="1252"/>
                  </a:lnTo>
                  <a:lnTo>
                    <a:pt x="1956" y="1252"/>
                  </a:lnTo>
                  <a:lnTo>
                    <a:pt x="1956" y="1274"/>
                  </a:lnTo>
                  <a:lnTo>
                    <a:pt x="1864" y="1274"/>
                  </a:lnTo>
                  <a:lnTo>
                    <a:pt x="1831" y="1335"/>
                  </a:lnTo>
                  <a:lnTo>
                    <a:pt x="1843" y="1352"/>
                  </a:lnTo>
                  <a:lnTo>
                    <a:pt x="1826" y="1385"/>
                  </a:lnTo>
                  <a:lnTo>
                    <a:pt x="1793" y="1352"/>
                  </a:lnTo>
                  <a:lnTo>
                    <a:pt x="1793" y="1347"/>
                  </a:lnTo>
                  <a:lnTo>
                    <a:pt x="1779" y="1335"/>
                  </a:lnTo>
                  <a:lnTo>
                    <a:pt x="1708" y="1274"/>
                  </a:lnTo>
                  <a:lnTo>
                    <a:pt x="1682" y="1257"/>
                  </a:lnTo>
                  <a:lnTo>
                    <a:pt x="1682" y="1269"/>
                  </a:lnTo>
                  <a:lnTo>
                    <a:pt x="1703" y="1281"/>
                  </a:lnTo>
                  <a:lnTo>
                    <a:pt x="1654" y="1269"/>
                  </a:lnTo>
                  <a:lnTo>
                    <a:pt x="1666" y="1257"/>
                  </a:lnTo>
                  <a:lnTo>
                    <a:pt x="1654" y="1257"/>
                  </a:lnTo>
                  <a:lnTo>
                    <a:pt x="1649" y="1269"/>
                  </a:lnTo>
                  <a:lnTo>
                    <a:pt x="1649" y="1252"/>
                  </a:lnTo>
                  <a:lnTo>
                    <a:pt x="1632" y="1257"/>
                  </a:lnTo>
                  <a:lnTo>
                    <a:pt x="1649" y="1269"/>
                  </a:lnTo>
                  <a:lnTo>
                    <a:pt x="1616" y="1269"/>
                  </a:lnTo>
                  <a:lnTo>
                    <a:pt x="1611" y="1281"/>
                  </a:lnTo>
                  <a:lnTo>
                    <a:pt x="1536" y="1309"/>
                  </a:lnTo>
                  <a:lnTo>
                    <a:pt x="1481" y="1293"/>
                  </a:lnTo>
                  <a:lnTo>
                    <a:pt x="1439" y="1281"/>
                  </a:lnTo>
                  <a:lnTo>
                    <a:pt x="1417" y="1269"/>
                  </a:lnTo>
                  <a:lnTo>
                    <a:pt x="1384" y="1257"/>
                  </a:lnTo>
                  <a:lnTo>
                    <a:pt x="1373" y="1241"/>
                  </a:lnTo>
                  <a:lnTo>
                    <a:pt x="1309" y="1224"/>
                  </a:lnTo>
                  <a:lnTo>
                    <a:pt x="1292" y="1219"/>
                  </a:lnTo>
                  <a:lnTo>
                    <a:pt x="1217" y="1186"/>
                  </a:lnTo>
                  <a:lnTo>
                    <a:pt x="1169" y="1158"/>
                  </a:lnTo>
                  <a:lnTo>
                    <a:pt x="1148" y="1130"/>
                  </a:lnTo>
                  <a:lnTo>
                    <a:pt x="1132" y="1141"/>
                  </a:lnTo>
                  <a:lnTo>
                    <a:pt x="1051" y="1108"/>
                  </a:lnTo>
                  <a:lnTo>
                    <a:pt x="1006" y="1071"/>
                  </a:lnTo>
                  <a:lnTo>
                    <a:pt x="943" y="1037"/>
                  </a:lnTo>
                  <a:lnTo>
                    <a:pt x="900" y="993"/>
                  </a:lnTo>
                  <a:lnTo>
                    <a:pt x="888" y="959"/>
                  </a:lnTo>
                  <a:lnTo>
                    <a:pt x="914" y="943"/>
                  </a:lnTo>
                  <a:lnTo>
                    <a:pt x="910" y="926"/>
                  </a:lnTo>
                  <a:lnTo>
                    <a:pt x="893" y="926"/>
                  </a:lnTo>
                  <a:lnTo>
                    <a:pt x="914" y="903"/>
                  </a:lnTo>
                  <a:lnTo>
                    <a:pt x="926" y="882"/>
                  </a:lnTo>
                  <a:lnTo>
                    <a:pt x="900" y="865"/>
                  </a:lnTo>
                  <a:lnTo>
                    <a:pt x="893" y="837"/>
                  </a:lnTo>
                  <a:lnTo>
                    <a:pt x="893" y="808"/>
                  </a:lnTo>
                  <a:lnTo>
                    <a:pt x="879" y="782"/>
                  </a:lnTo>
                  <a:lnTo>
                    <a:pt x="841" y="742"/>
                  </a:lnTo>
                  <a:lnTo>
                    <a:pt x="791" y="688"/>
                  </a:lnTo>
                  <a:lnTo>
                    <a:pt x="749" y="648"/>
                  </a:lnTo>
                  <a:lnTo>
                    <a:pt x="754" y="648"/>
                  </a:lnTo>
                  <a:lnTo>
                    <a:pt x="754" y="643"/>
                  </a:lnTo>
                  <a:lnTo>
                    <a:pt x="749" y="648"/>
                  </a:lnTo>
                  <a:lnTo>
                    <a:pt x="732" y="631"/>
                  </a:lnTo>
                  <a:lnTo>
                    <a:pt x="737" y="643"/>
                  </a:lnTo>
                  <a:lnTo>
                    <a:pt x="728" y="631"/>
                  </a:lnTo>
                  <a:lnTo>
                    <a:pt x="728" y="610"/>
                  </a:lnTo>
                  <a:lnTo>
                    <a:pt x="728" y="610"/>
                  </a:lnTo>
                  <a:lnTo>
                    <a:pt x="728" y="615"/>
                  </a:lnTo>
                  <a:lnTo>
                    <a:pt x="716" y="615"/>
                  </a:lnTo>
                  <a:lnTo>
                    <a:pt x="711" y="598"/>
                  </a:lnTo>
                  <a:lnTo>
                    <a:pt x="728" y="610"/>
                  </a:lnTo>
                  <a:lnTo>
                    <a:pt x="728" y="598"/>
                  </a:lnTo>
                  <a:lnTo>
                    <a:pt x="699" y="593"/>
                  </a:lnTo>
                  <a:lnTo>
                    <a:pt x="695" y="586"/>
                  </a:lnTo>
                  <a:lnTo>
                    <a:pt x="678" y="577"/>
                  </a:lnTo>
                  <a:lnTo>
                    <a:pt x="673" y="560"/>
                  </a:lnTo>
                  <a:lnTo>
                    <a:pt x="662" y="560"/>
                  </a:lnTo>
                  <a:lnTo>
                    <a:pt x="662" y="570"/>
                  </a:lnTo>
                  <a:lnTo>
                    <a:pt x="645" y="560"/>
                  </a:lnTo>
                  <a:lnTo>
                    <a:pt x="657" y="560"/>
                  </a:lnTo>
                  <a:lnTo>
                    <a:pt x="673" y="544"/>
                  </a:lnTo>
                  <a:lnTo>
                    <a:pt x="645" y="560"/>
                  </a:lnTo>
                  <a:lnTo>
                    <a:pt x="631" y="544"/>
                  </a:lnTo>
                  <a:lnTo>
                    <a:pt x="624" y="532"/>
                  </a:lnTo>
                  <a:lnTo>
                    <a:pt x="640" y="504"/>
                  </a:lnTo>
                  <a:lnTo>
                    <a:pt x="645" y="515"/>
                  </a:lnTo>
                  <a:lnTo>
                    <a:pt x="645" y="504"/>
                  </a:lnTo>
                  <a:lnTo>
                    <a:pt x="624" y="475"/>
                  </a:lnTo>
                  <a:lnTo>
                    <a:pt x="619" y="466"/>
                  </a:lnTo>
                  <a:lnTo>
                    <a:pt x="603" y="475"/>
                  </a:lnTo>
                  <a:lnTo>
                    <a:pt x="586" y="442"/>
                  </a:lnTo>
                  <a:lnTo>
                    <a:pt x="565" y="442"/>
                  </a:lnTo>
                  <a:lnTo>
                    <a:pt x="548" y="426"/>
                  </a:lnTo>
                  <a:lnTo>
                    <a:pt x="539" y="404"/>
                  </a:lnTo>
                  <a:lnTo>
                    <a:pt x="548" y="388"/>
                  </a:lnTo>
                  <a:lnTo>
                    <a:pt x="532" y="376"/>
                  </a:lnTo>
                  <a:lnTo>
                    <a:pt x="522" y="388"/>
                  </a:lnTo>
                  <a:lnTo>
                    <a:pt x="510" y="376"/>
                  </a:lnTo>
                  <a:lnTo>
                    <a:pt x="484" y="350"/>
                  </a:lnTo>
                  <a:lnTo>
                    <a:pt x="468" y="338"/>
                  </a:lnTo>
                  <a:lnTo>
                    <a:pt x="458" y="310"/>
                  </a:lnTo>
                  <a:lnTo>
                    <a:pt x="430" y="298"/>
                  </a:lnTo>
                  <a:lnTo>
                    <a:pt x="430" y="265"/>
                  </a:lnTo>
                  <a:lnTo>
                    <a:pt x="414" y="260"/>
                  </a:lnTo>
                  <a:lnTo>
                    <a:pt x="414" y="260"/>
                  </a:lnTo>
                  <a:lnTo>
                    <a:pt x="392" y="222"/>
                  </a:lnTo>
                  <a:lnTo>
                    <a:pt x="392" y="199"/>
                  </a:lnTo>
                  <a:lnTo>
                    <a:pt x="371" y="166"/>
                  </a:lnTo>
                  <a:lnTo>
                    <a:pt x="371" y="116"/>
                  </a:lnTo>
                  <a:lnTo>
                    <a:pt x="333" y="111"/>
                  </a:lnTo>
                  <a:lnTo>
                    <a:pt x="333" y="95"/>
                  </a:lnTo>
                  <a:lnTo>
                    <a:pt x="307" y="88"/>
                  </a:lnTo>
                  <a:lnTo>
                    <a:pt x="300" y="100"/>
                  </a:lnTo>
                  <a:lnTo>
                    <a:pt x="291" y="95"/>
                  </a:lnTo>
                  <a:lnTo>
                    <a:pt x="232" y="60"/>
                  </a:lnTo>
                  <a:lnTo>
                    <a:pt x="253" y="88"/>
                  </a:lnTo>
                  <a:lnTo>
                    <a:pt x="248" y="128"/>
                  </a:lnTo>
                  <a:lnTo>
                    <a:pt x="253" y="145"/>
                  </a:lnTo>
                  <a:lnTo>
                    <a:pt x="262" y="204"/>
                  </a:lnTo>
                  <a:lnTo>
                    <a:pt x="269" y="222"/>
                  </a:lnTo>
                  <a:lnTo>
                    <a:pt x="333" y="277"/>
                  </a:lnTo>
                  <a:lnTo>
                    <a:pt x="338" y="310"/>
                  </a:lnTo>
                  <a:lnTo>
                    <a:pt x="345" y="298"/>
                  </a:lnTo>
                  <a:lnTo>
                    <a:pt x="354" y="310"/>
                  </a:lnTo>
                  <a:lnTo>
                    <a:pt x="359" y="310"/>
                  </a:lnTo>
                  <a:lnTo>
                    <a:pt x="371" y="338"/>
                  </a:lnTo>
                  <a:lnTo>
                    <a:pt x="388" y="338"/>
                  </a:lnTo>
                  <a:lnTo>
                    <a:pt x="388" y="355"/>
                  </a:lnTo>
                  <a:lnTo>
                    <a:pt x="392" y="371"/>
                  </a:lnTo>
                  <a:lnTo>
                    <a:pt x="392" y="388"/>
                  </a:lnTo>
                  <a:lnTo>
                    <a:pt x="409" y="404"/>
                  </a:lnTo>
                  <a:lnTo>
                    <a:pt x="425" y="409"/>
                  </a:lnTo>
                  <a:lnTo>
                    <a:pt x="458" y="475"/>
                  </a:lnTo>
                  <a:lnTo>
                    <a:pt x="463" y="487"/>
                  </a:lnTo>
                  <a:lnTo>
                    <a:pt x="468" y="482"/>
                  </a:lnTo>
                  <a:lnTo>
                    <a:pt x="458" y="466"/>
                  </a:lnTo>
                  <a:lnTo>
                    <a:pt x="458" y="459"/>
                  </a:lnTo>
                  <a:lnTo>
                    <a:pt x="480" y="475"/>
                  </a:lnTo>
                  <a:lnTo>
                    <a:pt x="480" y="482"/>
                  </a:lnTo>
                  <a:lnTo>
                    <a:pt x="484" y="504"/>
                  </a:lnTo>
                  <a:lnTo>
                    <a:pt x="496" y="544"/>
                  </a:lnTo>
                  <a:lnTo>
                    <a:pt x="501" y="560"/>
                  </a:lnTo>
                  <a:lnTo>
                    <a:pt x="517" y="570"/>
                  </a:lnTo>
                  <a:lnTo>
                    <a:pt x="522" y="593"/>
                  </a:lnTo>
                  <a:lnTo>
                    <a:pt x="539" y="615"/>
                  </a:lnTo>
                  <a:lnTo>
                    <a:pt x="532" y="643"/>
                  </a:lnTo>
                  <a:lnTo>
                    <a:pt x="539" y="655"/>
                  </a:lnTo>
                  <a:lnTo>
                    <a:pt x="565" y="664"/>
                  </a:lnTo>
                  <a:lnTo>
                    <a:pt x="555" y="664"/>
                  </a:lnTo>
                  <a:lnTo>
                    <a:pt x="565" y="671"/>
                  </a:lnTo>
                  <a:lnTo>
                    <a:pt x="569" y="664"/>
                  </a:lnTo>
                  <a:lnTo>
                    <a:pt x="565" y="655"/>
                  </a:lnTo>
                  <a:lnTo>
                    <a:pt x="569" y="655"/>
                  </a:lnTo>
                  <a:lnTo>
                    <a:pt x="603" y="681"/>
                  </a:lnTo>
                  <a:lnTo>
                    <a:pt x="607" y="704"/>
                  </a:lnTo>
                  <a:lnTo>
                    <a:pt x="624" y="721"/>
                  </a:lnTo>
                  <a:lnTo>
                    <a:pt x="619" y="754"/>
                  </a:lnTo>
                  <a:lnTo>
                    <a:pt x="593" y="766"/>
                  </a:lnTo>
                  <a:lnTo>
                    <a:pt x="586" y="766"/>
                  </a:lnTo>
                  <a:lnTo>
                    <a:pt x="565" y="709"/>
                  </a:lnTo>
                  <a:lnTo>
                    <a:pt x="484" y="655"/>
                  </a:lnTo>
                  <a:lnTo>
                    <a:pt x="468" y="643"/>
                  </a:lnTo>
                  <a:lnTo>
                    <a:pt x="463" y="643"/>
                  </a:lnTo>
                  <a:lnTo>
                    <a:pt x="447" y="626"/>
                  </a:lnTo>
                  <a:lnTo>
                    <a:pt x="442" y="626"/>
                  </a:lnTo>
                  <a:lnTo>
                    <a:pt x="442" y="598"/>
                  </a:lnTo>
                  <a:lnTo>
                    <a:pt x="430" y="615"/>
                  </a:lnTo>
                  <a:lnTo>
                    <a:pt x="442" y="560"/>
                  </a:lnTo>
                  <a:lnTo>
                    <a:pt x="442" y="570"/>
                  </a:lnTo>
                  <a:lnTo>
                    <a:pt x="442" y="544"/>
                  </a:lnTo>
                  <a:lnTo>
                    <a:pt x="414" y="504"/>
                  </a:lnTo>
                  <a:lnTo>
                    <a:pt x="397" y="504"/>
                  </a:lnTo>
                  <a:lnTo>
                    <a:pt x="359" y="475"/>
                  </a:lnTo>
                  <a:lnTo>
                    <a:pt x="371" y="459"/>
                  </a:lnTo>
                  <a:lnTo>
                    <a:pt x="354" y="466"/>
                  </a:lnTo>
                  <a:lnTo>
                    <a:pt x="345" y="466"/>
                  </a:lnTo>
                  <a:lnTo>
                    <a:pt x="333" y="475"/>
                  </a:lnTo>
                  <a:lnTo>
                    <a:pt x="317" y="449"/>
                  </a:lnTo>
                  <a:lnTo>
                    <a:pt x="307" y="449"/>
                  </a:lnTo>
                  <a:lnTo>
                    <a:pt x="291" y="442"/>
                  </a:lnTo>
                  <a:lnTo>
                    <a:pt x="269" y="433"/>
                  </a:lnTo>
                  <a:lnTo>
                    <a:pt x="269" y="421"/>
                  </a:lnTo>
                  <a:lnTo>
                    <a:pt x="236" y="393"/>
                  </a:lnTo>
                  <a:lnTo>
                    <a:pt x="232" y="388"/>
                  </a:lnTo>
                  <a:lnTo>
                    <a:pt x="307" y="393"/>
                  </a:lnTo>
                  <a:lnTo>
                    <a:pt x="300" y="393"/>
                  </a:lnTo>
                  <a:lnTo>
                    <a:pt x="291" y="393"/>
                  </a:lnTo>
                  <a:lnTo>
                    <a:pt x="286" y="388"/>
                  </a:lnTo>
                  <a:lnTo>
                    <a:pt x="291" y="371"/>
                  </a:lnTo>
                  <a:lnTo>
                    <a:pt x="300" y="331"/>
                  </a:lnTo>
                  <a:lnTo>
                    <a:pt x="236" y="265"/>
                  </a:lnTo>
                  <a:lnTo>
                    <a:pt x="225" y="260"/>
                  </a:lnTo>
                  <a:lnTo>
                    <a:pt x="182" y="239"/>
                  </a:lnTo>
                  <a:lnTo>
                    <a:pt x="177" y="187"/>
                  </a:lnTo>
                  <a:lnTo>
                    <a:pt x="173" y="182"/>
                  </a:lnTo>
                  <a:lnTo>
                    <a:pt x="173" y="187"/>
                  </a:lnTo>
                  <a:lnTo>
                    <a:pt x="161" y="182"/>
                  </a:lnTo>
                  <a:lnTo>
                    <a:pt x="161" y="154"/>
                  </a:lnTo>
                  <a:lnTo>
                    <a:pt x="144" y="145"/>
                  </a:lnTo>
                  <a:lnTo>
                    <a:pt x="140" y="116"/>
                  </a:lnTo>
                  <a:lnTo>
                    <a:pt x="118" y="95"/>
                  </a:lnTo>
                  <a:lnTo>
                    <a:pt x="123" y="71"/>
                  </a:lnTo>
                  <a:lnTo>
                    <a:pt x="106" y="60"/>
                  </a:lnTo>
                  <a:lnTo>
                    <a:pt x="85" y="17"/>
                  </a:lnTo>
                  <a:lnTo>
                    <a:pt x="253" y="0"/>
                  </a:lnTo>
                  <a:lnTo>
                    <a:pt x="248" y="17"/>
                  </a:lnTo>
                  <a:lnTo>
                    <a:pt x="510" y="111"/>
                  </a:lnTo>
                  <a:lnTo>
                    <a:pt x="711" y="111"/>
                  </a:lnTo>
                  <a:lnTo>
                    <a:pt x="711" y="76"/>
                  </a:lnTo>
                  <a:lnTo>
                    <a:pt x="841" y="76"/>
                  </a:lnTo>
                  <a:lnTo>
                    <a:pt x="846" y="100"/>
                  </a:lnTo>
                  <a:lnTo>
                    <a:pt x="943" y="171"/>
                  </a:lnTo>
                  <a:lnTo>
                    <a:pt x="952" y="204"/>
                  </a:lnTo>
                  <a:lnTo>
                    <a:pt x="952" y="222"/>
                  </a:lnTo>
                  <a:lnTo>
                    <a:pt x="969" y="244"/>
                  </a:lnTo>
                  <a:lnTo>
                    <a:pt x="1002" y="265"/>
                  </a:lnTo>
                  <a:lnTo>
                    <a:pt x="1051" y="293"/>
                  </a:lnTo>
                  <a:lnTo>
                    <a:pt x="1061" y="298"/>
                  </a:lnTo>
                  <a:lnTo>
                    <a:pt x="1089" y="277"/>
                  </a:lnTo>
                  <a:lnTo>
                    <a:pt x="1103" y="239"/>
                  </a:lnTo>
                  <a:lnTo>
                    <a:pt x="1125" y="227"/>
                  </a:lnTo>
                  <a:lnTo>
                    <a:pt x="1141" y="239"/>
                  </a:lnTo>
                  <a:lnTo>
                    <a:pt x="1186" y="239"/>
                  </a:lnTo>
                  <a:lnTo>
                    <a:pt x="1195" y="244"/>
                  </a:lnTo>
                  <a:lnTo>
                    <a:pt x="1238" y="282"/>
                  </a:lnTo>
                  <a:lnTo>
                    <a:pt x="1266" y="355"/>
                  </a:lnTo>
                  <a:lnTo>
                    <a:pt x="1276" y="367"/>
                  </a:lnTo>
                  <a:lnTo>
                    <a:pt x="1292" y="393"/>
                  </a:lnTo>
                  <a:lnTo>
                    <a:pt x="1321" y="409"/>
                  </a:lnTo>
                  <a:lnTo>
                    <a:pt x="1325" y="449"/>
                  </a:lnTo>
                  <a:lnTo>
                    <a:pt x="1342" y="466"/>
                  </a:lnTo>
                  <a:lnTo>
                    <a:pt x="1347" y="499"/>
                  </a:lnTo>
                  <a:lnTo>
                    <a:pt x="1396" y="515"/>
                  </a:lnTo>
                  <a:lnTo>
                    <a:pt x="1410" y="520"/>
                  </a:lnTo>
                  <a:lnTo>
                    <a:pt x="1448" y="532"/>
                  </a:lnTo>
                  <a:lnTo>
                    <a:pt x="1465" y="537"/>
                  </a:lnTo>
                  <a:lnTo>
                    <a:pt x="1486" y="532"/>
                  </a:lnTo>
                  <a:lnTo>
                    <a:pt x="1448" y="643"/>
                  </a:lnTo>
                  <a:lnTo>
                    <a:pt x="1439" y="766"/>
                  </a:lnTo>
                  <a:lnTo>
                    <a:pt x="1434" y="792"/>
                  </a:lnTo>
                  <a:lnTo>
                    <a:pt x="1448" y="837"/>
                  </a:lnTo>
                  <a:lnTo>
                    <a:pt x="1472" y="870"/>
                  </a:lnTo>
                  <a:lnTo>
                    <a:pt x="1465" y="886"/>
                  </a:lnTo>
                  <a:lnTo>
                    <a:pt x="1465" y="882"/>
                  </a:lnTo>
                  <a:lnTo>
                    <a:pt x="1472" y="870"/>
                  </a:lnTo>
                  <a:lnTo>
                    <a:pt x="1439" y="832"/>
                  </a:lnTo>
                  <a:lnTo>
                    <a:pt x="1448" y="865"/>
                  </a:lnTo>
                  <a:lnTo>
                    <a:pt x="1486" y="936"/>
                  </a:lnTo>
                  <a:lnTo>
                    <a:pt x="1536" y="997"/>
                  </a:lnTo>
                  <a:lnTo>
                    <a:pt x="1545" y="1037"/>
                  </a:lnTo>
                  <a:lnTo>
                    <a:pt x="1573" y="1059"/>
                  </a:lnTo>
                  <a:lnTo>
                    <a:pt x="1573" y="1071"/>
                  </a:lnTo>
                  <a:lnTo>
                    <a:pt x="1578" y="1075"/>
                  </a:lnTo>
                  <a:lnTo>
                    <a:pt x="1628" y="1087"/>
                  </a:lnTo>
                  <a:lnTo>
                    <a:pt x="1632" y="1092"/>
                  </a:lnTo>
                  <a:lnTo>
                    <a:pt x="1649" y="1092"/>
                  </a:lnTo>
                  <a:lnTo>
                    <a:pt x="1670" y="1125"/>
                  </a:lnTo>
                  <a:lnTo>
                    <a:pt x="1720" y="1113"/>
                  </a:lnTo>
                  <a:lnTo>
                    <a:pt x="1734" y="1104"/>
                  </a:lnTo>
                  <a:lnTo>
                    <a:pt x="1720" y="1108"/>
                  </a:lnTo>
                  <a:lnTo>
                    <a:pt x="1734" y="1104"/>
                  </a:lnTo>
                  <a:lnTo>
                    <a:pt x="1762" y="1104"/>
                  </a:lnTo>
                  <a:lnTo>
                    <a:pt x="1762" y="1108"/>
                  </a:lnTo>
                  <a:lnTo>
                    <a:pt x="1805" y="1087"/>
                  </a:lnTo>
                  <a:lnTo>
                    <a:pt x="1847" y="1075"/>
                  </a:lnTo>
                  <a:lnTo>
                    <a:pt x="1859" y="1087"/>
                  </a:lnTo>
                  <a:lnTo>
                    <a:pt x="1843" y="1092"/>
                  </a:lnTo>
                  <a:lnTo>
                    <a:pt x="1859" y="1092"/>
                  </a:lnTo>
                  <a:lnTo>
                    <a:pt x="1859" y="1108"/>
                  </a:lnTo>
                  <a:lnTo>
                    <a:pt x="1864" y="1104"/>
                  </a:lnTo>
                  <a:lnTo>
                    <a:pt x="1880" y="1104"/>
                  </a:lnTo>
                  <a:lnTo>
                    <a:pt x="1885" y="1092"/>
                  </a:lnTo>
                  <a:lnTo>
                    <a:pt x="1902" y="1087"/>
                  </a:lnTo>
                  <a:lnTo>
                    <a:pt x="1885" y="1075"/>
                  </a:lnTo>
                  <a:lnTo>
                    <a:pt x="1897" y="1071"/>
                  </a:lnTo>
                  <a:lnTo>
                    <a:pt x="1885" y="1071"/>
                  </a:lnTo>
                  <a:lnTo>
                    <a:pt x="1935" y="1037"/>
                  </a:lnTo>
                  <a:lnTo>
                    <a:pt x="1940" y="1002"/>
                  </a:lnTo>
                  <a:lnTo>
                    <a:pt x="1956" y="993"/>
                  </a:lnTo>
                  <a:lnTo>
                    <a:pt x="1951" y="943"/>
                  </a:lnTo>
                  <a:lnTo>
                    <a:pt x="1965" y="910"/>
                  </a:lnTo>
                  <a:lnTo>
                    <a:pt x="1994" y="886"/>
                  </a:lnTo>
                  <a:lnTo>
                    <a:pt x="2065" y="882"/>
                  </a:lnTo>
                  <a:lnTo>
                    <a:pt x="2095" y="870"/>
                  </a:lnTo>
                  <a:lnTo>
                    <a:pt x="2128" y="865"/>
                  </a:lnTo>
                  <a:lnTo>
                    <a:pt x="2183" y="882"/>
                  </a:lnTo>
                  <a:lnTo>
                    <a:pt x="2188" y="870"/>
                  </a:lnTo>
                  <a:lnTo>
                    <a:pt x="2166" y="870"/>
                  </a:lnTo>
                  <a:lnTo>
                    <a:pt x="2192" y="865"/>
                  </a:lnTo>
                  <a:lnTo>
                    <a:pt x="2209" y="882"/>
                  </a:lnTo>
                  <a:lnTo>
                    <a:pt x="2209" y="893"/>
                  </a:lnTo>
                  <a:lnTo>
                    <a:pt x="2204" y="926"/>
                  </a:lnTo>
                  <a:lnTo>
                    <a:pt x="2166" y="964"/>
                  </a:lnTo>
                  <a:lnTo>
                    <a:pt x="2166" y="997"/>
                  </a:lnTo>
                  <a:lnTo>
                    <a:pt x="2166" y="993"/>
                  </a:lnTo>
                  <a:lnTo>
                    <a:pt x="2154" y="997"/>
                  </a:lnTo>
                  <a:lnTo>
                    <a:pt x="2138" y="1002"/>
                  </a:lnTo>
                  <a:lnTo>
                    <a:pt x="2150" y="1021"/>
                  </a:lnTo>
                  <a:lnTo>
                    <a:pt x="2166" y="1014"/>
                  </a:lnTo>
                  <a:lnTo>
                    <a:pt x="2166" y="1030"/>
                  </a:lnTo>
                  <a:lnTo>
                    <a:pt x="2150" y="1037"/>
                  </a:lnTo>
                  <a:lnTo>
                    <a:pt x="2150" y="1047"/>
                  </a:lnTo>
                  <a:lnTo>
                    <a:pt x="2166" y="1037"/>
                  </a:lnTo>
                  <a:lnTo>
                    <a:pt x="2133" y="1113"/>
                  </a:lnTo>
                  <a:lnTo>
                    <a:pt x="2133" y="1104"/>
                  </a:lnTo>
                  <a:lnTo>
                    <a:pt x="2117" y="1092"/>
                  </a:lnTo>
                  <a:lnTo>
                    <a:pt x="2128" y="1087"/>
                  </a:lnTo>
                  <a:lnTo>
                    <a:pt x="2128" y="1071"/>
                  </a:lnTo>
                  <a:lnTo>
                    <a:pt x="2103" y="1104"/>
                  </a:lnTo>
                  <a:lnTo>
                    <a:pt x="2103" y="1104"/>
                  </a:lnTo>
                  <a:lnTo>
                    <a:pt x="2103" y="1104"/>
                  </a:lnTo>
                  <a:close/>
                  <a:moveTo>
                    <a:pt x="359" y="293"/>
                  </a:moveTo>
                  <a:lnTo>
                    <a:pt x="333" y="260"/>
                  </a:lnTo>
                  <a:lnTo>
                    <a:pt x="333" y="256"/>
                  </a:lnTo>
                  <a:lnTo>
                    <a:pt x="345" y="260"/>
                  </a:lnTo>
                  <a:lnTo>
                    <a:pt x="345" y="265"/>
                  </a:lnTo>
                  <a:lnTo>
                    <a:pt x="359" y="277"/>
                  </a:lnTo>
                  <a:lnTo>
                    <a:pt x="359" y="293"/>
                  </a:lnTo>
                  <a:lnTo>
                    <a:pt x="359" y="293"/>
                  </a:lnTo>
                  <a:lnTo>
                    <a:pt x="359" y="293"/>
                  </a:lnTo>
                  <a:close/>
                  <a:moveTo>
                    <a:pt x="425" y="315"/>
                  </a:moveTo>
                  <a:lnTo>
                    <a:pt x="409" y="310"/>
                  </a:lnTo>
                  <a:lnTo>
                    <a:pt x="414" y="282"/>
                  </a:lnTo>
                  <a:lnTo>
                    <a:pt x="425" y="277"/>
                  </a:lnTo>
                  <a:lnTo>
                    <a:pt x="430" y="298"/>
                  </a:lnTo>
                  <a:lnTo>
                    <a:pt x="425" y="315"/>
                  </a:lnTo>
                  <a:lnTo>
                    <a:pt x="425" y="315"/>
                  </a:lnTo>
                  <a:lnTo>
                    <a:pt x="425" y="315"/>
                  </a:lnTo>
                  <a:close/>
                  <a:moveTo>
                    <a:pt x="0" y="298"/>
                  </a:moveTo>
                  <a:lnTo>
                    <a:pt x="0" y="282"/>
                  </a:lnTo>
                  <a:lnTo>
                    <a:pt x="0" y="282"/>
                  </a:lnTo>
                  <a:lnTo>
                    <a:pt x="10" y="293"/>
                  </a:lnTo>
                  <a:lnTo>
                    <a:pt x="0" y="298"/>
                  </a:lnTo>
                  <a:lnTo>
                    <a:pt x="0" y="298"/>
                  </a:lnTo>
                  <a:lnTo>
                    <a:pt x="0" y="298"/>
                  </a:lnTo>
                  <a:close/>
                  <a:moveTo>
                    <a:pt x="225" y="371"/>
                  </a:moveTo>
                  <a:lnTo>
                    <a:pt x="215" y="367"/>
                  </a:lnTo>
                  <a:lnTo>
                    <a:pt x="215" y="350"/>
                  </a:lnTo>
                  <a:lnTo>
                    <a:pt x="225" y="367"/>
                  </a:lnTo>
                  <a:lnTo>
                    <a:pt x="225" y="371"/>
                  </a:lnTo>
                  <a:lnTo>
                    <a:pt x="225" y="371"/>
                  </a:lnTo>
                  <a:lnTo>
                    <a:pt x="225" y="371"/>
                  </a:lnTo>
                  <a:close/>
                  <a:moveTo>
                    <a:pt x="501" y="544"/>
                  </a:moveTo>
                  <a:lnTo>
                    <a:pt x="501" y="532"/>
                  </a:lnTo>
                  <a:lnTo>
                    <a:pt x="510" y="520"/>
                  </a:lnTo>
                  <a:lnTo>
                    <a:pt x="501" y="544"/>
                  </a:lnTo>
                  <a:lnTo>
                    <a:pt x="501" y="544"/>
                  </a:lnTo>
                  <a:lnTo>
                    <a:pt x="501" y="544"/>
                  </a:lnTo>
                  <a:close/>
                  <a:moveTo>
                    <a:pt x="442" y="586"/>
                  </a:moveTo>
                  <a:lnTo>
                    <a:pt x="430" y="615"/>
                  </a:lnTo>
                  <a:lnTo>
                    <a:pt x="442" y="643"/>
                  </a:lnTo>
                  <a:lnTo>
                    <a:pt x="430" y="615"/>
                  </a:lnTo>
                  <a:lnTo>
                    <a:pt x="442" y="586"/>
                  </a:lnTo>
                  <a:lnTo>
                    <a:pt x="442" y="586"/>
                  </a:lnTo>
                  <a:lnTo>
                    <a:pt x="442" y="586"/>
                  </a:lnTo>
                  <a:close/>
                  <a:moveTo>
                    <a:pt x="539" y="598"/>
                  </a:moveTo>
                  <a:lnTo>
                    <a:pt x="548" y="598"/>
                  </a:lnTo>
                  <a:lnTo>
                    <a:pt x="548" y="615"/>
                  </a:lnTo>
                  <a:lnTo>
                    <a:pt x="539" y="610"/>
                  </a:lnTo>
                  <a:lnTo>
                    <a:pt x="539" y="598"/>
                  </a:lnTo>
                  <a:lnTo>
                    <a:pt x="539" y="598"/>
                  </a:lnTo>
                  <a:lnTo>
                    <a:pt x="539" y="598"/>
                  </a:lnTo>
                  <a:close/>
                  <a:moveTo>
                    <a:pt x="463" y="655"/>
                  </a:moveTo>
                  <a:lnTo>
                    <a:pt x="447" y="643"/>
                  </a:lnTo>
                  <a:lnTo>
                    <a:pt x="458" y="643"/>
                  </a:lnTo>
                  <a:lnTo>
                    <a:pt x="463" y="655"/>
                  </a:lnTo>
                  <a:lnTo>
                    <a:pt x="463" y="655"/>
                  </a:lnTo>
                  <a:lnTo>
                    <a:pt x="463" y="655"/>
                  </a:lnTo>
                  <a:close/>
                  <a:moveTo>
                    <a:pt x="825" y="870"/>
                  </a:moveTo>
                  <a:lnTo>
                    <a:pt x="817" y="853"/>
                  </a:lnTo>
                  <a:lnTo>
                    <a:pt x="834" y="853"/>
                  </a:lnTo>
                  <a:lnTo>
                    <a:pt x="834" y="870"/>
                  </a:lnTo>
                  <a:lnTo>
                    <a:pt x="825" y="870"/>
                  </a:lnTo>
                  <a:lnTo>
                    <a:pt x="825" y="870"/>
                  </a:lnTo>
                  <a:lnTo>
                    <a:pt x="825" y="870"/>
                  </a:lnTo>
                  <a:close/>
                  <a:moveTo>
                    <a:pt x="841" y="882"/>
                  </a:moveTo>
                  <a:lnTo>
                    <a:pt x="834" y="882"/>
                  </a:lnTo>
                  <a:lnTo>
                    <a:pt x="841" y="870"/>
                  </a:lnTo>
                  <a:lnTo>
                    <a:pt x="841" y="882"/>
                  </a:lnTo>
                  <a:lnTo>
                    <a:pt x="841" y="882"/>
                  </a:lnTo>
                  <a:lnTo>
                    <a:pt x="841" y="882"/>
                  </a:lnTo>
                  <a:close/>
                  <a:moveTo>
                    <a:pt x="855" y="886"/>
                  </a:moveTo>
                  <a:lnTo>
                    <a:pt x="846" y="886"/>
                  </a:lnTo>
                  <a:lnTo>
                    <a:pt x="855" y="886"/>
                  </a:lnTo>
                  <a:lnTo>
                    <a:pt x="855" y="886"/>
                  </a:lnTo>
                  <a:lnTo>
                    <a:pt x="855" y="886"/>
                  </a:lnTo>
                  <a:lnTo>
                    <a:pt x="855" y="886"/>
                  </a:lnTo>
                  <a:close/>
                  <a:moveTo>
                    <a:pt x="2192" y="964"/>
                  </a:moveTo>
                  <a:lnTo>
                    <a:pt x="2204" y="943"/>
                  </a:lnTo>
                  <a:lnTo>
                    <a:pt x="2209" y="943"/>
                  </a:lnTo>
                  <a:lnTo>
                    <a:pt x="2192" y="964"/>
                  </a:lnTo>
                  <a:lnTo>
                    <a:pt x="2192" y="964"/>
                  </a:lnTo>
                  <a:lnTo>
                    <a:pt x="2192" y="964"/>
                  </a:lnTo>
                  <a:close/>
                  <a:moveTo>
                    <a:pt x="517" y="1075"/>
                  </a:moveTo>
                  <a:lnTo>
                    <a:pt x="510" y="1075"/>
                  </a:lnTo>
                  <a:lnTo>
                    <a:pt x="517" y="1071"/>
                  </a:lnTo>
                  <a:lnTo>
                    <a:pt x="522" y="1075"/>
                  </a:lnTo>
                  <a:lnTo>
                    <a:pt x="517" y="1075"/>
                  </a:lnTo>
                  <a:lnTo>
                    <a:pt x="517" y="1075"/>
                  </a:lnTo>
                  <a:lnTo>
                    <a:pt x="517" y="1075"/>
                  </a:lnTo>
                  <a:close/>
                </a:path>
              </a:pathLst>
            </a:custGeom>
            <a:solidFill>
              <a:schemeClr val="bg2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71" name="Freeform 515">
              <a:extLst>
                <a:ext uri="{FF2B5EF4-FFF2-40B4-BE49-F238E27FC236}">
                  <a16:creationId xmlns:a16="http://schemas.microsoft.com/office/drawing/2014/main" id="{9A774D71-C935-46A9-BAC3-6E4AFE29E7A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233796" y="2661670"/>
              <a:ext cx="211335" cy="71681"/>
            </a:xfrm>
            <a:custGeom>
              <a:avLst/>
              <a:gdLst>
                <a:gd name="T0" fmla="*/ 1205 w 1377"/>
                <a:gd name="T1" fmla="*/ 4 h 467"/>
                <a:gd name="T2" fmla="*/ 1238 w 1377"/>
                <a:gd name="T3" fmla="*/ 0 h 467"/>
                <a:gd name="T4" fmla="*/ 1233 w 1377"/>
                <a:gd name="T5" fmla="*/ 0 h 467"/>
                <a:gd name="T6" fmla="*/ 1184 w 1377"/>
                <a:gd name="T7" fmla="*/ 222 h 467"/>
                <a:gd name="T8" fmla="*/ 1125 w 1377"/>
                <a:gd name="T9" fmla="*/ 226 h 467"/>
                <a:gd name="T10" fmla="*/ 1099 w 1377"/>
                <a:gd name="T11" fmla="*/ 304 h 467"/>
                <a:gd name="T12" fmla="*/ 1070 w 1377"/>
                <a:gd name="T13" fmla="*/ 361 h 467"/>
                <a:gd name="T14" fmla="*/ 1037 w 1377"/>
                <a:gd name="T15" fmla="*/ 415 h 467"/>
                <a:gd name="T16" fmla="*/ 936 w 1377"/>
                <a:gd name="T17" fmla="*/ 411 h 467"/>
                <a:gd name="T18" fmla="*/ 865 w 1377"/>
                <a:gd name="T19" fmla="*/ 444 h 467"/>
                <a:gd name="T20" fmla="*/ 704 w 1377"/>
                <a:gd name="T21" fmla="*/ 411 h 467"/>
                <a:gd name="T22" fmla="*/ 718 w 1377"/>
                <a:gd name="T23" fmla="*/ 406 h 467"/>
                <a:gd name="T24" fmla="*/ 784 w 1377"/>
                <a:gd name="T25" fmla="*/ 415 h 467"/>
                <a:gd name="T26" fmla="*/ 827 w 1377"/>
                <a:gd name="T27" fmla="*/ 427 h 467"/>
                <a:gd name="T28" fmla="*/ 822 w 1377"/>
                <a:gd name="T29" fmla="*/ 373 h 467"/>
                <a:gd name="T30" fmla="*/ 827 w 1377"/>
                <a:gd name="T31" fmla="*/ 333 h 467"/>
                <a:gd name="T32" fmla="*/ 1006 w 1377"/>
                <a:gd name="T33" fmla="*/ 193 h 467"/>
                <a:gd name="T34" fmla="*/ 1070 w 1377"/>
                <a:gd name="T35" fmla="*/ 226 h 467"/>
                <a:gd name="T36" fmla="*/ 1082 w 1377"/>
                <a:gd name="T37" fmla="*/ 181 h 467"/>
                <a:gd name="T38" fmla="*/ 1091 w 1377"/>
                <a:gd name="T39" fmla="*/ 172 h 467"/>
                <a:gd name="T40" fmla="*/ 1108 w 1377"/>
                <a:gd name="T41" fmla="*/ 139 h 467"/>
                <a:gd name="T42" fmla="*/ 1151 w 1377"/>
                <a:gd name="T43" fmla="*/ 99 h 467"/>
                <a:gd name="T44" fmla="*/ 1205 w 1377"/>
                <a:gd name="T45" fmla="*/ 25 h 467"/>
                <a:gd name="T46" fmla="*/ 1238 w 1377"/>
                <a:gd name="T47" fmla="*/ 44 h 467"/>
                <a:gd name="T48" fmla="*/ 1259 w 1377"/>
                <a:gd name="T49" fmla="*/ 77 h 467"/>
                <a:gd name="T50" fmla="*/ 1292 w 1377"/>
                <a:gd name="T51" fmla="*/ 82 h 467"/>
                <a:gd name="T52" fmla="*/ 1314 w 1377"/>
                <a:gd name="T53" fmla="*/ 111 h 467"/>
                <a:gd name="T54" fmla="*/ 1377 w 1377"/>
                <a:gd name="T55" fmla="*/ 155 h 467"/>
                <a:gd name="T56" fmla="*/ 1297 w 1377"/>
                <a:gd name="T57" fmla="*/ 172 h 467"/>
                <a:gd name="T58" fmla="*/ 1330 w 1377"/>
                <a:gd name="T59" fmla="*/ 205 h 467"/>
                <a:gd name="T60" fmla="*/ 1271 w 1377"/>
                <a:gd name="T61" fmla="*/ 210 h 467"/>
                <a:gd name="T62" fmla="*/ 1243 w 1377"/>
                <a:gd name="T63" fmla="*/ 44 h 467"/>
                <a:gd name="T64" fmla="*/ 1243 w 1377"/>
                <a:gd name="T65" fmla="*/ 44 h 467"/>
                <a:gd name="T66" fmla="*/ 38 w 1377"/>
                <a:gd name="T67" fmla="*/ 44 h 467"/>
                <a:gd name="T68" fmla="*/ 83 w 1377"/>
                <a:gd name="T69" fmla="*/ 54 h 467"/>
                <a:gd name="T70" fmla="*/ 92 w 1377"/>
                <a:gd name="T71" fmla="*/ 111 h 467"/>
                <a:gd name="T72" fmla="*/ 158 w 1377"/>
                <a:gd name="T73" fmla="*/ 111 h 467"/>
                <a:gd name="T74" fmla="*/ 243 w 1377"/>
                <a:gd name="T75" fmla="*/ 132 h 467"/>
                <a:gd name="T76" fmla="*/ 272 w 1377"/>
                <a:gd name="T77" fmla="*/ 278 h 467"/>
                <a:gd name="T78" fmla="*/ 326 w 1377"/>
                <a:gd name="T79" fmla="*/ 406 h 467"/>
                <a:gd name="T80" fmla="*/ 303 w 1377"/>
                <a:gd name="T81" fmla="*/ 427 h 467"/>
                <a:gd name="T82" fmla="*/ 217 w 1377"/>
                <a:gd name="T83" fmla="*/ 394 h 467"/>
                <a:gd name="T84" fmla="*/ 121 w 1377"/>
                <a:gd name="T85" fmla="*/ 321 h 467"/>
                <a:gd name="T86" fmla="*/ 83 w 1377"/>
                <a:gd name="T87" fmla="*/ 250 h 467"/>
                <a:gd name="T88" fmla="*/ 88 w 1377"/>
                <a:gd name="T89" fmla="*/ 238 h 467"/>
                <a:gd name="T90" fmla="*/ 54 w 1377"/>
                <a:gd name="T91" fmla="*/ 148 h 467"/>
                <a:gd name="T92" fmla="*/ 33 w 1377"/>
                <a:gd name="T93" fmla="*/ 61 h 467"/>
                <a:gd name="T94" fmla="*/ 0 w 1377"/>
                <a:gd name="T95" fmla="*/ 61 h 467"/>
                <a:gd name="T96" fmla="*/ 50 w 1377"/>
                <a:gd name="T97" fmla="*/ 132 h 467"/>
                <a:gd name="T98" fmla="*/ 50 w 1377"/>
                <a:gd name="T99" fmla="*/ 132 h 467"/>
                <a:gd name="T100" fmla="*/ 1099 w 1377"/>
                <a:gd name="T101" fmla="*/ 139 h 467"/>
                <a:gd name="T102" fmla="*/ 1091 w 1377"/>
                <a:gd name="T103" fmla="*/ 148 h 467"/>
                <a:gd name="T104" fmla="*/ 1288 w 1377"/>
                <a:gd name="T105" fmla="*/ 226 h 467"/>
                <a:gd name="T106" fmla="*/ 822 w 1377"/>
                <a:gd name="T107" fmla="*/ 321 h 467"/>
                <a:gd name="T108" fmla="*/ 822 w 1377"/>
                <a:gd name="T109" fmla="*/ 349 h 4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377" h="467">
                  <a:moveTo>
                    <a:pt x="1205" y="4"/>
                  </a:moveTo>
                  <a:lnTo>
                    <a:pt x="1221" y="0"/>
                  </a:lnTo>
                  <a:lnTo>
                    <a:pt x="1221" y="0"/>
                  </a:lnTo>
                  <a:lnTo>
                    <a:pt x="1205" y="4"/>
                  </a:lnTo>
                  <a:lnTo>
                    <a:pt x="1205" y="4"/>
                  </a:lnTo>
                  <a:lnTo>
                    <a:pt x="1205" y="4"/>
                  </a:lnTo>
                  <a:close/>
                  <a:moveTo>
                    <a:pt x="1233" y="0"/>
                  </a:moveTo>
                  <a:lnTo>
                    <a:pt x="1238" y="0"/>
                  </a:lnTo>
                  <a:lnTo>
                    <a:pt x="1238" y="4"/>
                  </a:lnTo>
                  <a:lnTo>
                    <a:pt x="1221" y="16"/>
                  </a:lnTo>
                  <a:lnTo>
                    <a:pt x="1233" y="0"/>
                  </a:lnTo>
                  <a:lnTo>
                    <a:pt x="1233" y="0"/>
                  </a:lnTo>
                  <a:lnTo>
                    <a:pt x="1233" y="0"/>
                  </a:lnTo>
                  <a:close/>
                  <a:moveTo>
                    <a:pt x="1259" y="226"/>
                  </a:moveTo>
                  <a:lnTo>
                    <a:pt x="1238" y="210"/>
                  </a:lnTo>
                  <a:lnTo>
                    <a:pt x="1184" y="222"/>
                  </a:lnTo>
                  <a:lnTo>
                    <a:pt x="1162" y="210"/>
                  </a:lnTo>
                  <a:lnTo>
                    <a:pt x="1151" y="222"/>
                  </a:lnTo>
                  <a:lnTo>
                    <a:pt x="1136" y="210"/>
                  </a:lnTo>
                  <a:lnTo>
                    <a:pt x="1125" y="226"/>
                  </a:lnTo>
                  <a:lnTo>
                    <a:pt x="1125" y="259"/>
                  </a:lnTo>
                  <a:lnTo>
                    <a:pt x="1125" y="278"/>
                  </a:lnTo>
                  <a:lnTo>
                    <a:pt x="1113" y="304"/>
                  </a:lnTo>
                  <a:lnTo>
                    <a:pt x="1099" y="304"/>
                  </a:lnTo>
                  <a:lnTo>
                    <a:pt x="1091" y="316"/>
                  </a:lnTo>
                  <a:lnTo>
                    <a:pt x="1082" y="337"/>
                  </a:lnTo>
                  <a:lnTo>
                    <a:pt x="1099" y="349"/>
                  </a:lnTo>
                  <a:lnTo>
                    <a:pt x="1070" y="361"/>
                  </a:lnTo>
                  <a:lnTo>
                    <a:pt x="1070" y="389"/>
                  </a:lnTo>
                  <a:lnTo>
                    <a:pt x="1061" y="406"/>
                  </a:lnTo>
                  <a:lnTo>
                    <a:pt x="1054" y="427"/>
                  </a:lnTo>
                  <a:lnTo>
                    <a:pt x="1037" y="415"/>
                  </a:lnTo>
                  <a:lnTo>
                    <a:pt x="1006" y="415"/>
                  </a:lnTo>
                  <a:lnTo>
                    <a:pt x="985" y="434"/>
                  </a:lnTo>
                  <a:lnTo>
                    <a:pt x="947" y="427"/>
                  </a:lnTo>
                  <a:lnTo>
                    <a:pt x="936" y="411"/>
                  </a:lnTo>
                  <a:lnTo>
                    <a:pt x="898" y="411"/>
                  </a:lnTo>
                  <a:lnTo>
                    <a:pt x="881" y="415"/>
                  </a:lnTo>
                  <a:lnTo>
                    <a:pt x="877" y="444"/>
                  </a:lnTo>
                  <a:lnTo>
                    <a:pt x="865" y="444"/>
                  </a:lnTo>
                  <a:lnTo>
                    <a:pt x="860" y="460"/>
                  </a:lnTo>
                  <a:lnTo>
                    <a:pt x="810" y="451"/>
                  </a:lnTo>
                  <a:lnTo>
                    <a:pt x="768" y="467"/>
                  </a:lnTo>
                  <a:lnTo>
                    <a:pt x="704" y="411"/>
                  </a:lnTo>
                  <a:lnTo>
                    <a:pt x="697" y="389"/>
                  </a:lnTo>
                  <a:lnTo>
                    <a:pt x="704" y="377"/>
                  </a:lnTo>
                  <a:lnTo>
                    <a:pt x="704" y="389"/>
                  </a:lnTo>
                  <a:lnTo>
                    <a:pt x="718" y="406"/>
                  </a:lnTo>
                  <a:lnTo>
                    <a:pt x="747" y="406"/>
                  </a:lnTo>
                  <a:lnTo>
                    <a:pt x="751" y="394"/>
                  </a:lnTo>
                  <a:lnTo>
                    <a:pt x="758" y="411"/>
                  </a:lnTo>
                  <a:lnTo>
                    <a:pt x="784" y="415"/>
                  </a:lnTo>
                  <a:lnTo>
                    <a:pt x="773" y="415"/>
                  </a:lnTo>
                  <a:lnTo>
                    <a:pt x="784" y="411"/>
                  </a:lnTo>
                  <a:lnTo>
                    <a:pt x="810" y="427"/>
                  </a:lnTo>
                  <a:lnTo>
                    <a:pt x="827" y="427"/>
                  </a:lnTo>
                  <a:lnTo>
                    <a:pt x="806" y="415"/>
                  </a:lnTo>
                  <a:lnTo>
                    <a:pt x="801" y="411"/>
                  </a:lnTo>
                  <a:lnTo>
                    <a:pt x="810" y="377"/>
                  </a:lnTo>
                  <a:lnTo>
                    <a:pt x="822" y="373"/>
                  </a:lnTo>
                  <a:lnTo>
                    <a:pt x="810" y="373"/>
                  </a:lnTo>
                  <a:lnTo>
                    <a:pt x="810" y="356"/>
                  </a:lnTo>
                  <a:lnTo>
                    <a:pt x="827" y="356"/>
                  </a:lnTo>
                  <a:lnTo>
                    <a:pt x="827" y="333"/>
                  </a:lnTo>
                  <a:lnTo>
                    <a:pt x="843" y="321"/>
                  </a:lnTo>
                  <a:lnTo>
                    <a:pt x="936" y="300"/>
                  </a:lnTo>
                  <a:lnTo>
                    <a:pt x="1006" y="222"/>
                  </a:lnTo>
                  <a:lnTo>
                    <a:pt x="1006" y="193"/>
                  </a:lnTo>
                  <a:lnTo>
                    <a:pt x="1016" y="193"/>
                  </a:lnTo>
                  <a:lnTo>
                    <a:pt x="1028" y="193"/>
                  </a:lnTo>
                  <a:lnTo>
                    <a:pt x="1054" y="238"/>
                  </a:lnTo>
                  <a:lnTo>
                    <a:pt x="1070" y="226"/>
                  </a:lnTo>
                  <a:lnTo>
                    <a:pt x="1070" y="210"/>
                  </a:lnTo>
                  <a:lnTo>
                    <a:pt x="1070" y="188"/>
                  </a:lnTo>
                  <a:lnTo>
                    <a:pt x="1082" y="172"/>
                  </a:lnTo>
                  <a:lnTo>
                    <a:pt x="1082" y="181"/>
                  </a:lnTo>
                  <a:lnTo>
                    <a:pt x="1082" y="210"/>
                  </a:lnTo>
                  <a:lnTo>
                    <a:pt x="1108" y="210"/>
                  </a:lnTo>
                  <a:lnTo>
                    <a:pt x="1091" y="172"/>
                  </a:lnTo>
                  <a:lnTo>
                    <a:pt x="1091" y="172"/>
                  </a:lnTo>
                  <a:lnTo>
                    <a:pt x="1108" y="172"/>
                  </a:lnTo>
                  <a:lnTo>
                    <a:pt x="1113" y="165"/>
                  </a:lnTo>
                  <a:lnTo>
                    <a:pt x="1125" y="148"/>
                  </a:lnTo>
                  <a:lnTo>
                    <a:pt x="1108" y="139"/>
                  </a:lnTo>
                  <a:lnTo>
                    <a:pt x="1108" y="132"/>
                  </a:lnTo>
                  <a:lnTo>
                    <a:pt x="1113" y="127"/>
                  </a:lnTo>
                  <a:lnTo>
                    <a:pt x="1136" y="127"/>
                  </a:lnTo>
                  <a:lnTo>
                    <a:pt x="1151" y="99"/>
                  </a:lnTo>
                  <a:lnTo>
                    <a:pt x="1162" y="82"/>
                  </a:lnTo>
                  <a:lnTo>
                    <a:pt x="1184" y="61"/>
                  </a:lnTo>
                  <a:lnTo>
                    <a:pt x="1200" y="21"/>
                  </a:lnTo>
                  <a:lnTo>
                    <a:pt x="1205" y="25"/>
                  </a:lnTo>
                  <a:lnTo>
                    <a:pt x="1205" y="54"/>
                  </a:lnTo>
                  <a:lnTo>
                    <a:pt x="1233" y="21"/>
                  </a:lnTo>
                  <a:lnTo>
                    <a:pt x="1238" y="21"/>
                  </a:lnTo>
                  <a:lnTo>
                    <a:pt x="1238" y="44"/>
                  </a:lnTo>
                  <a:lnTo>
                    <a:pt x="1271" y="54"/>
                  </a:lnTo>
                  <a:lnTo>
                    <a:pt x="1271" y="61"/>
                  </a:lnTo>
                  <a:lnTo>
                    <a:pt x="1271" y="77"/>
                  </a:lnTo>
                  <a:lnTo>
                    <a:pt x="1259" y="77"/>
                  </a:lnTo>
                  <a:lnTo>
                    <a:pt x="1271" y="94"/>
                  </a:lnTo>
                  <a:lnTo>
                    <a:pt x="1254" y="99"/>
                  </a:lnTo>
                  <a:lnTo>
                    <a:pt x="1276" y="99"/>
                  </a:lnTo>
                  <a:lnTo>
                    <a:pt x="1292" y="82"/>
                  </a:lnTo>
                  <a:lnTo>
                    <a:pt x="1297" y="99"/>
                  </a:lnTo>
                  <a:lnTo>
                    <a:pt x="1288" y="111"/>
                  </a:lnTo>
                  <a:lnTo>
                    <a:pt x="1288" y="115"/>
                  </a:lnTo>
                  <a:lnTo>
                    <a:pt x="1314" y="111"/>
                  </a:lnTo>
                  <a:lnTo>
                    <a:pt x="1351" y="132"/>
                  </a:lnTo>
                  <a:lnTo>
                    <a:pt x="1377" y="132"/>
                  </a:lnTo>
                  <a:lnTo>
                    <a:pt x="1377" y="139"/>
                  </a:lnTo>
                  <a:lnTo>
                    <a:pt x="1377" y="155"/>
                  </a:lnTo>
                  <a:lnTo>
                    <a:pt x="1363" y="155"/>
                  </a:lnTo>
                  <a:lnTo>
                    <a:pt x="1340" y="172"/>
                  </a:lnTo>
                  <a:lnTo>
                    <a:pt x="1314" y="165"/>
                  </a:lnTo>
                  <a:lnTo>
                    <a:pt x="1297" y="172"/>
                  </a:lnTo>
                  <a:lnTo>
                    <a:pt x="1309" y="188"/>
                  </a:lnTo>
                  <a:lnTo>
                    <a:pt x="1325" y="193"/>
                  </a:lnTo>
                  <a:lnTo>
                    <a:pt x="1325" y="205"/>
                  </a:lnTo>
                  <a:lnTo>
                    <a:pt x="1330" y="205"/>
                  </a:lnTo>
                  <a:lnTo>
                    <a:pt x="1340" y="205"/>
                  </a:lnTo>
                  <a:lnTo>
                    <a:pt x="1330" y="210"/>
                  </a:lnTo>
                  <a:lnTo>
                    <a:pt x="1292" y="222"/>
                  </a:lnTo>
                  <a:lnTo>
                    <a:pt x="1271" y="210"/>
                  </a:lnTo>
                  <a:lnTo>
                    <a:pt x="1259" y="226"/>
                  </a:lnTo>
                  <a:lnTo>
                    <a:pt x="1259" y="226"/>
                  </a:lnTo>
                  <a:lnTo>
                    <a:pt x="1259" y="226"/>
                  </a:lnTo>
                  <a:close/>
                  <a:moveTo>
                    <a:pt x="1243" y="44"/>
                  </a:moveTo>
                  <a:lnTo>
                    <a:pt x="1254" y="37"/>
                  </a:lnTo>
                  <a:lnTo>
                    <a:pt x="1254" y="44"/>
                  </a:lnTo>
                  <a:lnTo>
                    <a:pt x="1254" y="44"/>
                  </a:lnTo>
                  <a:lnTo>
                    <a:pt x="1243" y="44"/>
                  </a:lnTo>
                  <a:lnTo>
                    <a:pt x="1243" y="44"/>
                  </a:lnTo>
                  <a:lnTo>
                    <a:pt x="1243" y="44"/>
                  </a:lnTo>
                  <a:close/>
                  <a:moveTo>
                    <a:pt x="33" y="61"/>
                  </a:moveTo>
                  <a:lnTo>
                    <a:pt x="38" y="44"/>
                  </a:lnTo>
                  <a:lnTo>
                    <a:pt x="50" y="44"/>
                  </a:lnTo>
                  <a:lnTo>
                    <a:pt x="54" y="54"/>
                  </a:lnTo>
                  <a:lnTo>
                    <a:pt x="71" y="61"/>
                  </a:lnTo>
                  <a:lnTo>
                    <a:pt x="83" y="54"/>
                  </a:lnTo>
                  <a:lnTo>
                    <a:pt x="88" y="77"/>
                  </a:lnTo>
                  <a:lnTo>
                    <a:pt x="104" y="77"/>
                  </a:lnTo>
                  <a:lnTo>
                    <a:pt x="104" y="94"/>
                  </a:lnTo>
                  <a:lnTo>
                    <a:pt x="92" y="111"/>
                  </a:lnTo>
                  <a:lnTo>
                    <a:pt x="104" y="115"/>
                  </a:lnTo>
                  <a:lnTo>
                    <a:pt x="137" y="99"/>
                  </a:lnTo>
                  <a:lnTo>
                    <a:pt x="142" y="111"/>
                  </a:lnTo>
                  <a:lnTo>
                    <a:pt x="158" y="111"/>
                  </a:lnTo>
                  <a:lnTo>
                    <a:pt x="175" y="77"/>
                  </a:lnTo>
                  <a:lnTo>
                    <a:pt x="189" y="77"/>
                  </a:lnTo>
                  <a:lnTo>
                    <a:pt x="201" y="99"/>
                  </a:lnTo>
                  <a:lnTo>
                    <a:pt x="243" y="132"/>
                  </a:lnTo>
                  <a:lnTo>
                    <a:pt x="265" y="172"/>
                  </a:lnTo>
                  <a:lnTo>
                    <a:pt x="272" y="210"/>
                  </a:lnTo>
                  <a:lnTo>
                    <a:pt x="255" y="259"/>
                  </a:lnTo>
                  <a:lnTo>
                    <a:pt x="272" y="278"/>
                  </a:lnTo>
                  <a:lnTo>
                    <a:pt x="265" y="316"/>
                  </a:lnTo>
                  <a:lnTo>
                    <a:pt x="281" y="333"/>
                  </a:lnTo>
                  <a:lnTo>
                    <a:pt x="298" y="337"/>
                  </a:lnTo>
                  <a:lnTo>
                    <a:pt x="326" y="406"/>
                  </a:lnTo>
                  <a:lnTo>
                    <a:pt x="326" y="427"/>
                  </a:lnTo>
                  <a:lnTo>
                    <a:pt x="310" y="427"/>
                  </a:lnTo>
                  <a:lnTo>
                    <a:pt x="303" y="411"/>
                  </a:lnTo>
                  <a:lnTo>
                    <a:pt x="303" y="427"/>
                  </a:lnTo>
                  <a:lnTo>
                    <a:pt x="288" y="415"/>
                  </a:lnTo>
                  <a:lnTo>
                    <a:pt x="272" y="434"/>
                  </a:lnTo>
                  <a:lnTo>
                    <a:pt x="265" y="415"/>
                  </a:lnTo>
                  <a:lnTo>
                    <a:pt x="217" y="394"/>
                  </a:lnTo>
                  <a:lnTo>
                    <a:pt x="201" y="377"/>
                  </a:lnTo>
                  <a:lnTo>
                    <a:pt x="180" y="361"/>
                  </a:lnTo>
                  <a:lnTo>
                    <a:pt x="147" y="337"/>
                  </a:lnTo>
                  <a:lnTo>
                    <a:pt x="121" y="321"/>
                  </a:lnTo>
                  <a:lnTo>
                    <a:pt x="125" y="304"/>
                  </a:lnTo>
                  <a:lnTo>
                    <a:pt x="121" y="295"/>
                  </a:lnTo>
                  <a:lnTo>
                    <a:pt x="92" y="266"/>
                  </a:lnTo>
                  <a:lnTo>
                    <a:pt x="83" y="250"/>
                  </a:lnTo>
                  <a:lnTo>
                    <a:pt x="88" y="250"/>
                  </a:lnTo>
                  <a:lnTo>
                    <a:pt x="71" y="243"/>
                  </a:lnTo>
                  <a:lnTo>
                    <a:pt x="83" y="238"/>
                  </a:lnTo>
                  <a:lnTo>
                    <a:pt x="88" y="238"/>
                  </a:lnTo>
                  <a:lnTo>
                    <a:pt x="71" y="226"/>
                  </a:lnTo>
                  <a:lnTo>
                    <a:pt x="71" y="181"/>
                  </a:lnTo>
                  <a:lnTo>
                    <a:pt x="50" y="155"/>
                  </a:lnTo>
                  <a:lnTo>
                    <a:pt x="54" y="148"/>
                  </a:lnTo>
                  <a:lnTo>
                    <a:pt x="50" y="94"/>
                  </a:lnTo>
                  <a:lnTo>
                    <a:pt x="33" y="61"/>
                  </a:lnTo>
                  <a:lnTo>
                    <a:pt x="33" y="61"/>
                  </a:lnTo>
                  <a:lnTo>
                    <a:pt x="33" y="61"/>
                  </a:lnTo>
                  <a:close/>
                  <a:moveTo>
                    <a:pt x="17" y="61"/>
                  </a:moveTo>
                  <a:lnTo>
                    <a:pt x="17" y="70"/>
                  </a:lnTo>
                  <a:lnTo>
                    <a:pt x="12" y="77"/>
                  </a:lnTo>
                  <a:lnTo>
                    <a:pt x="0" y="61"/>
                  </a:lnTo>
                  <a:lnTo>
                    <a:pt x="17" y="61"/>
                  </a:lnTo>
                  <a:lnTo>
                    <a:pt x="17" y="61"/>
                  </a:lnTo>
                  <a:lnTo>
                    <a:pt x="17" y="61"/>
                  </a:lnTo>
                  <a:close/>
                  <a:moveTo>
                    <a:pt x="50" y="132"/>
                  </a:moveTo>
                  <a:lnTo>
                    <a:pt x="50" y="148"/>
                  </a:lnTo>
                  <a:lnTo>
                    <a:pt x="38" y="148"/>
                  </a:lnTo>
                  <a:lnTo>
                    <a:pt x="38" y="132"/>
                  </a:lnTo>
                  <a:lnTo>
                    <a:pt x="50" y="132"/>
                  </a:lnTo>
                  <a:lnTo>
                    <a:pt x="50" y="132"/>
                  </a:lnTo>
                  <a:lnTo>
                    <a:pt x="50" y="132"/>
                  </a:lnTo>
                  <a:close/>
                  <a:moveTo>
                    <a:pt x="1091" y="148"/>
                  </a:moveTo>
                  <a:lnTo>
                    <a:pt x="1099" y="139"/>
                  </a:lnTo>
                  <a:lnTo>
                    <a:pt x="1099" y="139"/>
                  </a:lnTo>
                  <a:lnTo>
                    <a:pt x="1091" y="148"/>
                  </a:lnTo>
                  <a:lnTo>
                    <a:pt x="1091" y="148"/>
                  </a:lnTo>
                  <a:lnTo>
                    <a:pt x="1091" y="148"/>
                  </a:lnTo>
                  <a:close/>
                  <a:moveTo>
                    <a:pt x="1288" y="226"/>
                  </a:moveTo>
                  <a:lnTo>
                    <a:pt x="1271" y="226"/>
                  </a:lnTo>
                  <a:lnTo>
                    <a:pt x="1271" y="222"/>
                  </a:lnTo>
                  <a:lnTo>
                    <a:pt x="1288" y="226"/>
                  </a:lnTo>
                  <a:lnTo>
                    <a:pt x="1288" y="226"/>
                  </a:lnTo>
                  <a:lnTo>
                    <a:pt x="1288" y="226"/>
                  </a:lnTo>
                  <a:close/>
                  <a:moveTo>
                    <a:pt x="822" y="349"/>
                  </a:moveTo>
                  <a:lnTo>
                    <a:pt x="822" y="321"/>
                  </a:lnTo>
                  <a:lnTo>
                    <a:pt x="827" y="356"/>
                  </a:lnTo>
                  <a:lnTo>
                    <a:pt x="822" y="349"/>
                  </a:lnTo>
                  <a:lnTo>
                    <a:pt x="822" y="349"/>
                  </a:lnTo>
                  <a:lnTo>
                    <a:pt x="822" y="349"/>
                  </a:lnTo>
                  <a:close/>
                </a:path>
              </a:pathLst>
            </a:custGeom>
            <a:solidFill>
              <a:schemeClr val="bg2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72" name="Freeform 516">
              <a:extLst>
                <a:ext uri="{FF2B5EF4-FFF2-40B4-BE49-F238E27FC236}">
                  <a16:creationId xmlns:a16="http://schemas.microsoft.com/office/drawing/2014/main" id="{C12F46B7-2383-4855-8C4F-7A81CAD57F3B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486988" y="2858446"/>
              <a:ext cx="114185" cy="188181"/>
            </a:xfrm>
            <a:custGeom>
              <a:avLst/>
              <a:gdLst>
                <a:gd name="T0" fmla="*/ 206 w 744"/>
                <a:gd name="T1" fmla="*/ 260 h 1226"/>
                <a:gd name="T2" fmla="*/ 298 w 744"/>
                <a:gd name="T3" fmla="*/ 305 h 1226"/>
                <a:gd name="T4" fmla="*/ 293 w 744"/>
                <a:gd name="T5" fmla="*/ 414 h 1226"/>
                <a:gd name="T6" fmla="*/ 331 w 744"/>
                <a:gd name="T7" fmla="*/ 470 h 1226"/>
                <a:gd name="T8" fmla="*/ 352 w 744"/>
                <a:gd name="T9" fmla="*/ 491 h 1226"/>
                <a:gd name="T10" fmla="*/ 364 w 744"/>
                <a:gd name="T11" fmla="*/ 414 h 1226"/>
                <a:gd name="T12" fmla="*/ 397 w 744"/>
                <a:gd name="T13" fmla="*/ 364 h 1226"/>
                <a:gd name="T14" fmla="*/ 397 w 744"/>
                <a:gd name="T15" fmla="*/ 310 h 1226"/>
                <a:gd name="T16" fmla="*/ 310 w 744"/>
                <a:gd name="T17" fmla="*/ 220 h 1226"/>
                <a:gd name="T18" fmla="*/ 293 w 744"/>
                <a:gd name="T19" fmla="*/ 128 h 1226"/>
                <a:gd name="T20" fmla="*/ 331 w 744"/>
                <a:gd name="T21" fmla="*/ 83 h 1226"/>
                <a:gd name="T22" fmla="*/ 418 w 744"/>
                <a:gd name="T23" fmla="*/ 83 h 1226"/>
                <a:gd name="T24" fmla="*/ 461 w 744"/>
                <a:gd name="T25" fmla="*/ 83 h 1226"/>
                <a:gd name="T26" fmla="*/ 543 w 744"/>
                <a:gd name="T27" fmla="*/ 66 h 1226"/>
                <a:gd name="T28" fmla="*/ 612 w 744"/>
                <a:gd name="T29" fmla="*/ 54 h 1226"/>
                <a:gd name="T30" fmla="*/ 721 w 744"/>
                <a:gd name="T31" fmla="*/ 0 h 1226"/>
                <a:gd name="T32" fmla="*/ 728 w 744"/>
                <a:gd name="T33" fmla="*/ 33 h 1226"/>
                <a:gd name="T34" fmla="*/ 728 w 744"/>
                <a:gd name="T35" fmla="*/ 38 h 1226"/>
                <a:gd name="T36" fmla="*/ 721 w 744"/>
                <a:gd name="T37" fmla="*/ 88 h 1226"/>
                <a:gd name="T38" fmla="*/ 732 w 744"/>
                <a:gd name="T39" fmla="*/ 166 h 1226"/>
                <a:gd name="T40" fmla="*/ 728 w 744"/>
                <a:gd name="T41" fmla="*/ 182 h 1226"/>
                <a:gd name="T42" fmla="*/ 721 w 744"/>
                <a:gd name="T43" fmla="*/ 272 h 1226"/>
                <a:gd name="T44" fmla="*/ 728 w 744"/>
                <a:gd name="T45" fmla="*/ 293 h 1226"/>
                <a:gd name="T46" fmla="*/ 732 w 744"/>
                <a:gd name="T47" fmla="*/ 343 h 1226"/>
                <a:gd name="T48" fmla="*/ 728 w 744"/>
                <a:gd name="T49" fmla="*/ 364 h 1226"/>
                <a:gd name="T50" fmla="*/ 673 w 744"/>
                <a:gd name="T51" fmla="*/ 425 h 1226"/>
                <a:gd name="T52" fmla="*/ 624 w 744"/>
                <a:gd name="T53" fmla="*/ 470 h 1226"/>
                <a:gd name="T54" fmla="*/ 489 w 744"/>
                <a:gd name="T55" fmla="*/ 536 h 1226"/>
                <a:gd name="T56" fmla="*/ 473 w 744"/>
                <a:gd name="T57" fmla="*/ 565 h 1226"/>
                <a:gd name="T58" fmla="*/ 406 w 744"/>
                <a:gd name="T59" fmla="*/ 619 h 1226"/>
                <a:gd name="T60" fmla="*/ 314 w 744"/>
                <a:gd name="T61" fmla="*/ 690 h 1226"/>
                <a:gd name="T62" fmla="*/ 343 w 744"/>
                <a:gd name="T63" fmla="*/ 775 h 1226"/>
                <a:gd name="T64" fmla="*/ 352 w 744"/>
                <a:gd name="T65" fmla="*/ 884 h 1226"/>
                <a:gd name="T66" fmla="*/ 369 w 744"/>
                <a:gd name="T67" fmla="*/ 874 h 1226"/>
                <a:gd name="T68" fmla="*/ 380 w 744"/>
                <a:gd name="T69" fmla="*/ 928 h 1226"/>
                <a:gd name="T70" fmla="*/ 352 w 744"/>
                <a:gd name="T71" fmla="*/ 1006 h 1226"/>
                <a:gd name="T72" fmla="*/ 331 w 744"/>
                <a:gd name="T73" fmla="*/ 1051 h 1226"/>
                <a:gd name="T74" fmla="*/ 163 w 744"/>
                <a:gd name="T75" fmla="*/ 1155 h 1226"/>
                <a:gd name="T76" fmla="*/ 184 w 744"/>
                <a:gd name="T77" fmla="*/ 1226 h 1226"/>
                <a:gd name="T78" fmla="*/ 125 w 744"/>
                <a:gd name="T79" fmla="*/ 1155 h 1226"/>
                <a:gd name="T80" fmla="*/ 92 w 744"/>
                <a:gd name="T81" fmla="*/ 966 h 1226"/>
                <a:gd name="T82" fmla="*/ 151 w 744"/>
                <a:gd name="T83" fmla="*/ 801 h 1226"/>
                <a:gd name="T84" fmla="*/ 163 w 744"/>
                <a:gd name="T85" fmla="*/ 768 h 1226"/>
                <a:gd name="T86" fmla="*/ 184 w 744"/>
                <a:gd name="T87" fmla="*/ 730 h 1226"/>
                <a:gd name="T88" fmla="*/ 184 w 744"/>
                <a:gd name="T89" fmla="*/ 636 h 1226"/>
                <a:gd name="T90" fmla="*/ 184 w 744"/>
                <a:gd name="T91" fmla="*/ 607 h 1226"/>
                <a:gd name="T92" fmla="*/ 191 w 744"/>
                <a:gd name="T93" fmla="*/ 569 h 1226"/>
                <a:gd name="T94" fmla="*/ 191 w 744"/>
                <a:gd name="T95" fmla="*/ 515 h 1226"/>
                <a:gd name="T96" fmla="*/ 191 w 744"/>
                <a:gd name="T97" fmla="*/ 458 h 1226"/>
                <a:gd name="T98" fmla="*/ 147 w 744"/>
                <a:gd name="T99" fmla="*/ 442 h 1226"/>
                <a:gd name="T100" fmla="*/ 83 w 744"/>
                <a:gd name="T101" fmla="*/ 421 h 1226"/>
                <a:gd name="T102" fmla="*/ 17 w 744"/>
                <a:gd name="T103" fmla="*/ 380 h 1226"/>
                <a:gd name="T104" fmla="*/ 678 w 744"/>
                <a:gd name="T105" fmla="*/ 437 h 1226"/>
                <a:gd name="T106" fmla="*/ 678 w 744"/>
                <a:gd name="T107" fmla="*/ 437 h 1226"/>
                <a:gd name="T108" fmla="*/ 191 w 744"/>
                <a:gd name="T109" fmla="*/ 1160 h 1226"/>
                <a:gd name="T110" fmla="*/ 191 w 744"/>
                <a:gd name="T111" fmla="*/ 1160 h 1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744" h="1226">
                  <a:moveTo>
                    <a:pt x="17" y="380"/>
                  </a:moveTo>
                  <a:lnTo>
                    <a:pt x="0" y="331"/>
                  </a:lnTo>
                  <a:lnTo>
                    <a:pt x="206" y="260"/>
                  </a:lnTo>
                  <a:lnTo>
                    <a:pt x="239" y="305"/>
                  </a:lnTo>
                  <a:lnTo>
                    <a:pt x="288" y="288"/>
                  </a:lnTo>
                  <a:lnTo>
                    <a:pt x="298" y="305"/>
                  </a:lnTo>
                  <a:lnTo>
                    <a:pt x="298" y="359"/>
                  </a:lnTo>
                  <a:lnTo>
                    <a:pt x="276" y="397"/>
                  </a:lnTo>
                  <a:lnTo>
                    <a:pt x="293" y="414"/>
                  </a:lnTo>
                  <a:lnTo>
                    <a:pt x="293" y="425"/>
                  </a:lnTo>
                  <a:lnTo>
                    <a:pt x="298" y="425"/>
                  </a:lnTo>
                  <a:lnTo>
                    <a:pt x="331" y="470"/>
                  </a:lnTo>
                  <a:lnTo>
                    <a:pt x="347" y="470"/>
                  </a:lnTo>
                  <a:lnTo>
                    <a:pt x="343" y="491"/>
                  </a:lnTo>
                  <a:lnTo>
                    <a:pt x="352" y="491"/>
                  </a:lnTo>
                  <a:lnTo>
                    <a:pt x="352" y="458"/>
                  </a:lnTo>
                  <a:lnTo>
                    <a:pt x="343" y="442"/>
                  </a:lnTo>
                  <a:lnTo>
                    <a:pt x="364" y="414"/>
                  </a:lnTo>
                  <a:lnTo>
                    <a:pt x="369" y="421"/>
                  </a:lnTo>
                  <a:lnTo>
                    <a:pt x="397" y="404"/>
                  </a:lnTo>
                  <a:lnTo>
                    <a:pt x="397" y="364"/>
                  </a:lnTo>
                  <a:lnTo>
                    <a:pt x="385" y="347"/>
                  </a:lnTo>
                  <a:lnTo>
                    <a:pt x="402" y="326"/>
                  </a:lnTo>
                  <a:lnTo>
                    <a:pt x="397" y="310"/>
                  </a:lnTo>
                  <a:lnTo>
                    <a:pt x="343" y="236"/>
                  </a:lnTo>
                  <a:lnTo>
                    <a:pt x="326" y="220"/>
                  </a:lnTo>
                  <a:lnTo>
                    <a:pt x="310" y="220"/>
                  </a:lnTo>
                  <a:lnTo>
                    <a:pt x="298" y="215"/>
                  </a:lnTo>
                  <a:lnTo>
                    <a:pt x="298" y="166"/>
                  </a:lnTo>
                  <a:lnTo>
                    <a:pt x="293" y="128"/>
                  </a:lnTo>
                  <a:lnTo>
                    <a:pt x="310" y="95"/>
                  </a:lnTo>
                  <a:lnTo>
                    <a:pt x="310" y="83"/>
                  </a:lnTo>
                  <a:lnTo>
                    <a:pt x="331" y="83"/>
                  </a:lnTo>
                  <a:lnTo>
                    <a:pt x="369" y="88"/>
                  </a:lnTo>
                  <a:lnTo>
                    <a:pt x="397" y="71"/>
                  </a:lnTo>
                  <a:lnTo>
                    <a:pt x="418" y="83"/>
                  </a:lnTo>
                  <a:lnTo>
                    <a:pt x="418" y="95"/>
                  </a:lnTo>
                  <a:lnTo>
                    <a:pt x="439" y="95"/>
                  </a:lnTo>
                  <a:lnTo>
                    <a:pt x="461" y="83"/>
                  </a:lnTo>
                  <a:lnTo>
                    <a:pt x="510" y="95"/>
                  </a:lnTo>
                  <a:lnTo>
                    <a:pt x="532" y="83"/>
                  </a:lnTo>
                  <a:lnTo>
                    <a:pt x="543" y="66"/>
                  </a:lnTo>
                  <a:lnTo>
                    <a:pt x="548" y="54"/>
                  </a:lnTo>
                  <a:lnTo>
                    <a:pt x="581" y="71"/>
                  </a:lnTo>
                  <a:lnTo>
                    <a:pt x="612" y="54"/>
                  </a:lnTo>
                  <a:lnTo>
                    <a:pt x="636" y="54"/>
                  </a:lnTo>
                  <a:lnTo>
                    <a:pt x="721" y="0"/>
                  </a:lnTo>
                  <a:lnTo>
                    <a:pt x="721" y="0"/>
                  </a:lnTo>
                  <a:lnTo>
                    <a:pt x="728" y="17"/>
                  </a:lnTo>
                  <a:lnTo>
                    <a:pt x="721" y="29"/>
                  </a:lnTo>
                  <a:lnTo>
                    <a:pt x="728" y="33"/>
                  </a:lnTo>
                  <a:lnTo>
                    <a:pt x="721" y="33"/>
                  </a:lnTo>
                  <a:lnTo>
                    <a:pt x="721" y="38"/>
                  </a:lnTo>
                  <a:lnTo>
                    <a:pt x="728" y="38"/>
                  </a:lnTo>
                  <a:lnTo>
                    <a:pt x="711" y="66"/>
                  </a:lnTo>
                  <a:lnTo>
                    <a:pt x="721" y="71"/>
                  </a:lnTo>
                  <a:lnTo>
                    <a:pt x="721" y="88"/>
                  </a:lnTo>
                  <a:lnTo>
                    <a:pt x="721" y="111"/>
                  </a:lnTo>
                  <a:lnTo>
                    <a:pt x="721" y="149"/>
                  </a:lnTo>
                  <a:lnTo>
                    <a:pt x="732" y="166"/>
                  </a:lnTo>
                  <a:lnTo>
                    <a:pt x="711" y="182"/>
                  </a:lnTo>
                  <a:lnTo>
                    <a:pt x="721" y="194"/>
                  </a:lnTo>
                  <a:lnTo>
                    <a:pt x="728" y="182"/>
                  </a:lnTo>
                  <a:lnTo>
                    <a:pt x="721" y="220"/>
                  </a:lnTo>
                  <a:lnTo>
                    <a:pt x="732" y="260"/>
                  </a:lnTo>
                  <a:lnTo>
                    <a:pt x="721" y="272"/>
                  </a:lnTo>
                  <a:lnTo>
                    <a:pt x="728" y="277"/>
                  </a:lnTo>
                  <a:lnTo>
                    <a:pt x="732" y="277"/>
                  </a:lnTo>
                  <a:lnTo>
                    <a:pt x="728" y="293"/>
                  </a:lnTo>
                  <a:lnTo>
                    <a:pt x="744" y="288"/>
                  </a:lnTo>
                  <a:lnTo>
                    <a:pt x="744" y="310"/>
                  </a:lnTo>
                  <a:lnTo>
                    <a:pt x="732" y="343"/>
                  </a:lnTo>
                  <a:lnTo>
                    <a:pt x="721" y="343"/>
                  </a:lnTo>
                  <a:lnTo>
                    <a:pt x="732" y="347"/>
                  </a:lnTo>
                  <a:lnTo>
                    <a:pt x="728" y="364"/>
                  </a:lnTo>
                  <a:lnTo>
                    <a:pt x="695" y="404"/>
                  </a:lnTo>
                  <a:lnTo>
                    <a:pt x="690" y="421"/>
                  </a:lnTo>
                  <a:lnTo>
                    <a:pt x="673" y="425"/>
                  </a:lnTo>
                  <a:lnTo>
                    <a:pt x="673" y="437"/>
                  </a:lnTo>
                  <a:lnTo>
                    <a:pt x="666" y="442"/>
                  </a:lnTo>
                  <a:lnTo>
                    <a:pt x="624" y="470"/>
                  </a:lnTo>
                  <a:lnTo>
                    <a:pt x="619" y="475"/>
                  </a:lnTo>
                  <a:lnTo>
                    <a:pt x="532" y="508"/>
                  </a:lnTo>
                  <a:lnTo>
                    <a:pt x="489" y="536"/>
                  </a:lnTo>
                  <a:lnTo>
                    <a:pt x="473" y="553"/>
                  </a:lnTo>
                  <a:lnTo>
                    <a:pt x="461" y="548"/>
                  </a:lnTo>
                  <a:lnTo>
                    <a:pt x="473" y="565"/>
                  </a:lnTo>
                  <a:lnTo>
                    <a:pt x="423" y="619"/>
                  </a:lnTo>
                  <a:lnTo>
                    <a:pt x="406" y="619"/>
                  </a:lnTo>
                  <a:lnTo>
                    <a:pt x="406" y="619"/>
                  </a:lnTo>
                  <a:lnTo>
                    <a:pt x="326" y="697"/>
                  </a:lnTo>
                  <a:lnTo>
                    <a:pt x="310" y="673"/>
                  </a:lnTo>
                  <a:lnTo>
                    <a:pt x="314" y="690"/>
                  </a:lnTo>
                  <a:lnTo>
                    <a:pt x="314" y="718"/>
                  </a:lnTo>
                  <a:lnTo>
                    <a:pt x="310" y="735"/>
                  </a:lnTo>
                  <a:lnTo>
                    <a:pt x="343" y="775"/>
                  </a:lnTo>
                  <a:lnTo>
                    <a:pt x="343" y="801"/>
                  </a:lnTo>
                  <a:lnTo>
                    <a:pt x="352" y="825"/>
                  </a:lnTo>
                  <a:lnTo>
                    <a:pt x="352" y="884"/>
                  </a:lnTo>
                  <a:lnTo>
                    <a:pt x="364" y="884"/>
                  </a:lnTo>
                  <a:lnTo>
                    <a:pt x="369" y="862"/>
                  </a:lnTo>
                  <a:lnTo>
                    <a:pt x="369" y="874"/>
                  </a:lnTo>
                  <a:lnTo>
                    <a:pt x="369" y="917"/>
                  </a:lnTo>
                  <a:lnTo>
                    <a:pt x="369" y="928"/>
                  </a:lnTo>
                  <a:lnTo>
                    <a:pt x="380" y="928"/>
                  </a:lnTo>
                  <a:lnTo>
                    <a:pt x="369" y="940"/>
                  </a:lnTo>
                  <a:lnTo>
                    <a:pt x="352" y="995"/>
                  </a:lnTo>
                  <a:lnTo>
                    <a:pt x="352" y="1006"/>
                  </a:lnTo>
                  <a:lnTo>
                    <a:pt x="369" y="990"/>
                  </a:lnTo>
                  <a:lnTo>
                    <a:pt x="369" y="1011"/>
                  </a:lnTo>
                  <a:lnTo>
                    <a:pt x="331" y="1051"/>
                  </a:lnTo>
                  <a:lnTo>
                    <a:pt x="239" y="1094"/>
                  </a:lnTo>
                  <a:lnTo>
                    <a:pt x="180" y="1134"/>
                  </a:lnTo>
                  <a:lnTo>
                    <a:pt x="163" y="1155"/>
                  </a:lnTo>
                  <a:lnTo>
                    <a:pt x="184" y="1177"/>
                  </a:lnTo>
                  <a:lnTo>
                    <a:pt x="191" y="1160"/>
                  </a:lnTo>
                  <a:lnTo>
                    <a:pt x="184" y="1226"/>
                  </a:lnTo>
                  <a:lnTo>
                    <a:pt x="130" y="1226"/>
                  </a:lnTo>
                  <a:lnTo>
                    <a:pt x="130" y="1172"/>
                  </a:lnTo>
                  <a:lnTo>
                    <a:pt x="125" y="1155"/>
                  </a:lnTo>
                  <a:lnTo>
                    <a:pt x="125" y="1040"/>
                  </a:lnTo>
                  <a:lnTo>
                    <a:pt x="113" y="1006"/>
                  </a:lnTo>
                  <a:lnTo>
                    <a:pt x="92" y="966"/>
                  </a:lnTo>
                  <a:lnTo>
                    <a:pt x="92" y="940"/>
                  </a:lnTo>
                  <a:lnTo>
                    <a:pt x="76" y="884"/>
                  </a:lnTo>
                  <a:lnTo>
                    <a:pt x="151" y="801"/>
                  </a:lnTo>
                  <a:lnTo>
                    <a:pt x="151" y="808"/>
                  </a:lnTo>
                  <a:lnTo>
                    <a:pt x="147" y="791"/>
                  </a:lnTo>
                  <a:lnTo>
                    <a:pt x="163" y="768"/>
                  </a:lnTo>
                  <a:lnTo>
                    <a:pt x="151" y="751"/>
                  </a:lnTo>
                  <a:lnTo>
                    <a:pt x="168" y="747"/>
                  </a:lnTo>
                  <a:lnTo>
                    <a:pt x="184" y="730"/>
                  </a:lnTo>
                  <a:lnTo>
                    <a:pt x="201" y="690"/>
                  </a:lnTo>
                  <a:lnTo>
                    <a:pt x="180" y="664"/>
                  </a:lnTo>
                  <a:lnTo>
                    <a:pt x="184" y="636"/>
                  </a:lnTo>
                  <a:lnTo>
                    <a:pt x="168" y="624"/>
                  </a:lnTo>
                  <a:lnTo>
                    <a:pt x="168" y="619"/>
                  </a:lnTo>
                  <a:lnTo>
                    <a:pt x="184" y="607"/>
                  </a:lnTo>
                  <a:lnTo>
                    <a:pt x="184" y="591"/>
                  </a:lnTo>
                  <a:lnTo>
                    <a:pt x="201" y="581"/>
                  </a:lnTo>
                  <a:lnTo>
                    <a:pt x="191" y="569"/>
                  </a:lnTo>
                  <a:lnTo>
                    <a:pt x="184" y="553"/>
                  </a:lnTo>
                  <a:lnTo>
                    <a:pt x="191" y="525"/>
                  </a:lnTo>
                  <a:lnTo>
                    <a:pt x="191" y="515"/>
                  </a:lnTo>
                  <a:lnTo>
                    <a:pt x="191" y="508"/>
                  </a:lnTo>
                  <a:lnTo>
                    <a:pt x="184" y="475"/>
                  </a:lnTo>
                  <a:lnTo>
                    <a:pt x="191" y="458"/>
                  </a:lnTo>
                  <a:lnTo>
                    <a:pt x="180" y="458"/>
                  </a:lnTo>
                  <a:lnTo>
                    <a:pt x="168" y="454"/>
                  </a:lnTo>
                  <a:lnTo>
                    <a:pt x="147" y="442"/>
                  </a:lnTo>
                  <a:lnTo>
                    <a:pt x="113" y="437"/>
                  </a:lnTo>
                  <a:lnTo>
                    <a:pt x="99" y="421"/>
                  </a:lnTo>
                  <a:lnTo>
                    <a:pt x="83" y="421"/>
                  </a:lnTo>
                  <a:lnTo>
                    <a:pt x="71" y="404"/>
                  </a:lnTo>
                  <a:lnTo>
                    <a:pt x="17" y="404"/>
                  </a:lnTo>
                  <a:lnTo>
                    <a:pt x="17" y="380"/>
                  </a:lnTo>
                  <a:lnTo>
                    <a:pt x="17" y="380"/>
                  </a:lnTo>
                  <a:lnTo>
                    <a:pt x="17" y="380"/>
                  </a:lnTo>
                  <a:close/>
                  <a:moveTo>
                    <a:pt x="678" y="437"/>
                  </a:moveTo>
                  <a:lnTo>
                    <a:pt x="673" y="425"/>
                  </a:lnTo>
                  <a:lnTo>
                    <a:pt x="678" y="425"/>
                  </a:lnTo>
                  <a:lnTo>
                    <a:pt x="678" y="437"/>
                  </a:lnTo>
                  <a:lnTo>
                    <a:pt x="678" y="437"/>
                  </a:lnTo>
                  <a:lnTo>
                    <a:pt x="678" y="437"/>
                  </a:lnTo>
                  <a:close/>
                  <a:moveTo>
                    <a:pt x="191" y="1160"/>
                  </a:moveTo>
                  <a:lnTo>
                    <a:pt x="184" y="1155"/>
                  </a:lnTo>
                  <a:lnTo>
                    <a:pt x="191" y="1155"/>
                  </a:lnTo>
                  <a:lnTo>
                    <a:pt x="191" y="1160"/>
                  </a:lnTo>
                  <a:lnTo>
                    <a:pt x="191" y="1160"/>
                  </a:lnTo>
                  <a:lnTo>
                    <a:pt x="191" y="1160"/>
                  </a:lnTo>
                  <a:close/>
                </a:path>
              </a:pathLst>
            </a:custGeom>
            <a:solidFill>
              <a:schemeClr val="bg2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73" name="Freeform 517">
              <a:extLst>
                <a:ext uri="{FF2B5EF4-FFF2-40B4-BE49-F238E27FC236}">
                  <a16:creationId xmlns:a16="http://schemas.microsoft.com/office/drawing/2014/main" id="{96A70DBC-B696-4039-BB1F-2CF903938A3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926582" y="2967579"/>
              <a:ext cx="43587" cy="29010"/>
            </a:xfrm>
            <a:custGeom>
              <a:avLst/>
              <a:gdLst>
                <a:gd name="T0" fmla="*/ 199 w 284"/>
                <a:gd name="T1" fmla="*/ 173 h 189"/>
                <a:gd name="T2" fmla="*/ 199 w 284"/>
                <a:gd name="T3" fmla="*/ 168 h 189"/>
                <a:gd name="T4" fmla="*/ 194 w 284"/>
                <a:gd name="T5" fmla="*/ 168 h 189"/>
                <a:gd name="T6" fmla="*/ 177 w 284"/>
                <a:gd name="T7" fmla="*/ 163 h 189"/>
                <a:gd name="T8" fmla="*/ 173 w 284"/>
                <a:gd name="T9" fmla="*/ 168 h 189"/>
                <a:gd name="T10" fmla="*/ 173 w 284"/>
                <a:gd name="T11" fmla="*/ 163 h 189"/>
                <a:gd name="T12" fmla="*/ 147 w 284"/>
                <a:gd name="T13" fmla="*/ 151 h 189"/>
                <a:gd name="T14" fmla="*/ 147 w 284"/>
                <a:gd name="T15" fmla="*/ 135 h 189"/>
                <a:gd name="T16" fmla="*/ 88 w 284"/>
                <a:gd name="T17" fmla="*/ 111 h 189"/>
                <a:gd name="T18" fmla="*/ 29 w 284"/>
                <a:gd name="T19" fmla="*/ 52 h 189"/>
                <a:gd name="T20" fmla="*/ 0 w 284"/>
                <a:gd name="T21" fmla="*/ 0 h 189"/>
                <a:gd name="T22" fmla="*/ 29 w 284"/>
                <a:gd name="T23" fmla="*/ 17 h 189"/>
                <a:gd name="T24" fmla="*/ 29 w 284"/>
                <a:gd name="T25" fmla="*/ 7 h 189"/>
                <a:gd name="T26" fmla="*/ 38 w 284"/>
                <a:gd name="T27" fmla="*/ 17 h 189"/>
                <a:gd name="T28" fmla="*/ 66 w 284"/>
                <a:gd name="T29" fmla="*/ 40 h 189"/>
                <a:gd name="T30" fmla="*/ 88 w 284"/>
                <a:gd name="T31" fmla="*/ 52 h 189"/>
                <a:gd name="T32" fmla="*/ 118 w 284"/>
                <a:gd name="T33" fmla="*/ 90 h 189"/>
                <a:gd name="T34" fmla="*/ 140 w 284"/>
                <a:gd name="T35" fmla="*/ 95 h 189"/>
                <a:gd name="T36" fmla="*/ 210 w 284"/>
                <a:gd name="T37" fmla="*/ 151 h 189"/>
                <a:gd name="T38" fmla="*/ 210 w 284"/>
                <a:gd name="T39" fmla="*/ 168 h 189"/>
                <a:gd name="T40" fmla="*/ 199 w 284"/>
                <a:gd name="T41" fmla="*/ 173 h 189"/>
                <a:gd name="T42" fmla="*/ 199 w 284"/>
                <a:gd name="T43" fmla="*/ 173 h 189"/>
                <a:gd name="T44" fmla="*/ 199 w 284"/>
                <a:gd name="T45" fmla="*/ 173 h 189"/>
                <a:gd name="T46" fmla="*/ 177 w 284"/>
                <a:gd name="T47" fmla="*/ 52 h 189"/>
                <a:gd name="T48" fmla="*/ 189 w 284"/>
                <a:gd name="T49" fmla="*/ 24 h 189"/>
                <a:gd name="T50" fmla="*/ 189 w 284"/>
                <a:gd name="T51" fmla="*/ 40 h 189"/>
                <a:gd name="T52" fmla="*/ 177 w 284"/>
                <a:gd name="T53" fmla="*/ 52 h 189"/>
                <a:gd name="T54" fmla="*/ 177 w 284"/>
                <a:gd name="T55" fmla="*/ 52 h 189"/>
                <a:gd name="T56" fmla="*/ 177 w 284"/>
                <a:gd name="T57" fmla="*/ 52 h 189"/>
                <a:gd name="T58" fmla="*/ 241 w 284"/>
                <a:gd name="T59" fmla="*/ 78 h 189"/>
                <a:gd name="T60" fmla="*/ 215 w 284"/>
                <a:gd name="T61" fmla="*/ 62 h 189"/>
                <a:gd name="T62" fmla="*/ 225 w 284"/>
                <a:gd name="T63" fmla="*/ 57 h 189"/>
                <a:gd name="T64" fmla="*/ 215 w 284"/>
                <a:gd name="T65" fmla="*/ 52 h 189"/>
                <a:gd name="T66" fmla="*/ 232 w 284"/>
                <a:gd name="T67" fmla="*/ 52 h 189"/>
                <a:gd name="T68" fmla="*/ 232 w 284"/>
                <a:gd name="T69" fmla="*/ 57 h 189"/>
                <a:gd name="T70" fmla="*/ 241 w 284"/>
                <a:gd name="T71" fmla="*/ 73 h 189"/>
                <a:gd name="T72" fmla="*/ 241 w 284"/>
                <a:gd name="T73" fmla="*/ 78 h 189"/>
                <a:gd name="T74" fmla="*/ 241 w 284"/>
                <a:gd name="T75" fmla="*/ 78 h 189"/>
                <a:gd name="T76" fmla="*/ 241 w 284"/>
                <a:gd name="T77" fmla="*/ 78 h 189"/>
                <a:gd name="T78" fmla="*/ 279 w 284"/>
                <a:gd name="T79" fmla="*/ 118 h 189"/>
                <a:gd name="T80" fmla="*/ 270 w 284"/>
                <a:gd name="T81" fmla="*/ 95 h 189"/>
                <a:gd name="T82" fmla="*/ 284 w 284"/>
                <a:gd name="T83" fmla="*/ 106 h 189"/>
                <a:gd name="T84" fmla="*/ 284 w 284"/>
                <a:gd name="T85" fmla="*/ 111 h 189"/>
                <a:gd name="T86" fmla="*/ 279 w 284"/>
                <a:gd name="T87" fmla="*/ 118 h 189"/>
                <a:gd name="T88" fmla="*/ 279 w 284"/>
                <a:gd name="T89" fmla="*/ 118 h 189"/>
                <a:gd name="T90" fmla="*/ 279 w 284"/>
                <a:gd name="T91" fmla="*/ 118 h 189"/>
                <a:gd name="T92" fmla="*/ 248 w 284"/>
                <a:gd name="T93" fmla="*/ 189 h 189"/>
                <a:gd name="T94" fmla="*/ 241 w 284"/>
                <a:gd name="T95" fmla="*/ 189 h 189"/>
                <a:gd name="T96" fmla="*/ 241 w 284"/>
                <a:gd name="T97" fmla="*/ 184 h 189"/>
                <a:gd name="T98" fmla="*/ 248 w 284"/>
                <a:gd name="T99" fmla="*/ 189 h 189"/>
                <a:gd name="T100" fmla="*/ 248 w 284"/>
                <a:gd name="T101" fmla="*/ 189 h 189"/>
                <a:gd name="T102" fmla="*/ 248 w 284"/>
                <a:gd name="T103" fmla="*/ 189 h 189"/>
                <a:gd name="T104" fmla="*/ 248 w 284"/>
                <a:gd name="T105" fmla="*/ 189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84" h="189">
                  <a:moveTo>
                    <a:pt x="199" y="173"/>
                  </a:moveTo>
                  <a:lnTo>
                    <a:pt x="199" y="168"/>
                  </a:lnTo>
                  <a:lnTo>
                    <a:pt x="194" y="168"/>
                  </a:lnTo>
                  <a:lnTo>
                    <a:pt x="177" y="163"/>
                  </a:lnTo>
                  <a:lnTo>
                    <a:pt x="173" y="168"/>
                  </a:lnTo>
                  <a:lnTo>
                    <a:pt x="173" y="163"/>
                  </a:lnTo>
                  <a:lnTo>
                    <a:pt x="147" y="151"/>
                  </a:lnTo>
                  <a:lnTo>
                    <a:pt x="147" y="135"/>
                  </a:lnTo>
                  <a:lnTo>
                    <a:pt x="88" y="111"/>
                  </a:lnTo>
                  <a:lnTo>
                    <a:pt x="29" y="52"/>
                  </a:lnTo>
                  <a:lnTo>
                    <a:pt x="0" y="0"/>
                  </a:lnTo>
                  <a:lnTo>
                    <a:pt x="29" y="17"/>
                  </a:lnTo>
                  <a:lnTo>
                    <a:pt x="29" y="7"/>
                  </a:lnTo>
                  <a:lnTo>
                    <a:pt x="38" y="17"/>
                  </a:lnTo>
                  <a:lnTo>
                    <a:pt x="66" y="40"/>
                  </a:lnTo>
                  <a:lnTo>
                    <a:pt x="88" y="52"/>
                  </a:lnTo>
                  <a:lnTo>
                    <a:pt x="118" y="90"/>
                  </a:lnTo>
                  <a:lnTo>
                    <a:pt x="140" y="95"/>
                  </a:lnTo>
                  <a:lnTo>
                    <a:pt x="210" y="151"/>
                  </a:lnTo>
                  <a:lnTo>
                    <a:pt x="210" y="168"/>
                  </a:lnTo>
                  <a:lnTo>
                    <a:pt x="199" y="173"/>
                  </a:lnTo>
                  <a:lnTo>
                    <a:pt x="199" y="173"/>
                  </a:lnTo>
                  <a:lnTo>
                    <a:pt x="199" y="173"/>
                  </a:lnTo>
                  <a:close/>
                  <a:moveTo>
                    <a:pt x="177" y="52"/>
                  </a:moveTo>
                  <a:lnTo>
                    <a:pt x="189" y="24"/>
                  </a:lnTo>
                  <a:lnTo>
                    <a:pt x="189" y="40"/>
                  </a:lnTo>
                  <a:lnTo>
                    <a:pt x="177" y="52"/>
                  </a:lnTo>
                  <a:lnTo>
                    <a:pt x="177" y="52"/>
                  </a:lnTo>
                  <a:lnTo>
                    <a:pt x="177" y="52"/>
                  </a:lnTo>
                  <a:close/>
                  <a:moveTo>
                    <a:pt x="241" y="78"/>
                  </a:moveTo>
                  <a:lnTo>
                    <a:pt x="215" y="62"/>
                  </a:lnTo>
                  <a:lnTo>
                    <a:pt x="225" y="57"/>
                  </a:lnTo>
                  <a:lnTo>
                    <a:pt x="215" y="52"/>
                  </a:lnTo>
                  <a:lnTo>
                    <a:pt x="232" y="52"/>
                  </a:lnTo>
                  <a:lnTo>
                    <a:pt x="232" y="57"/>
                  </a:lnTo>
                  <a:lnTo>
                    <a:pt x="241" y="73"/>
                  </a:lnTo>
                  <a:lnTo>
                    <a:pt x="241" y="78"/>
                  </a:lnTo>
                  <a:lnTo>
                    <a:pt x="241" y="78"/>
                  </a:lnTo>
                  <a:lnTo>
                    <a:pt x="241" y="78"/>
                  </a:lnTo>
                  <a:close/>
                  <a:moveTo>
                    <a:pt x="279" y="118"/>
                  </a:moveTo>
                  <a:lnTo>
                    <a:pt x="270" y="95"/>
                  </a:lnTo>
                  <a:lnTo>
                    <a:pt x="284" y="106"/>
                  </a:lnTo>
                  <a:lnTo>
                    <a:pt x="284" y="111"/>
                  </a:lnTo>
                  <a:lnTo>
                    <a:pt x="279" y="118"/>
                  </a:lnTo>
                  <a:lnTo>
                    <a:pt x="279" y="118"/>
                  </a:lnTo>
                  <a:lnTo>
                    <a:pt x="279" y="118"/>
                  </a:lnTo>
                  <a:close/>
                  <a:moveTo>
                    <a:pt x="248" y="189"/>
                  </a:moveTo>
                  <a:lnTo>
                    <a:pt x="241" y="189"/>
                  </a:lnTo>
                  <a:lnTo>
                    <a:pt x="241" y="184"/>
                  </a:lnTo>
                  <a:lnTo>
                    <a:pt x="248" y="189"/>
                  </a:lnTo>
                  <a:lnTo>
                    <a:pt x="248" y="189"/>
                  </a:lnTo>
                  <a:lnTo>
                    <a:pt x="248" y="189"/>
                  </a:lnTo>
                  <a:lnTo>
                    <a:pt x="248" y="189"/>
                  </a:lnTo>
                  <a:close/>
                </a:path>
              </a:pathLst>
            </a:custGeom>
            <a:solidFill>
              <a:schemeClr val="bg2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74" name="Freeform 518">
              <a:extLst>
                <a:ext uri="{FF2B5EF4-FFF2-40B4-BE49-F238E27FC236}">
                  <a16:creationId xmlns:a16="http://schemas.microsoft.com/office/drawing/2014/main" id="{1BB01A62-E82A-4353-8FF8-68770CDB0EC9}"/>
                </a:ext>
              </a:extLst>
            </p:cNvPr>
            <p:cNvSpPr>
              <a:spLocks/>
            </p:cNvSpPr>
            <p:nvPr/>
          </p:nvSpPr>
          <p:spPr bwMode="gray">
            <a:xfrm>
              <a:off x="4332046" y="2954533"/>
              <a:ext cx="767" cy="2149"/>
            </a:xfrm>
            <a:custGeom>
              <a:avLst/>
              <a:gdLst>
                <a:gd name="T0" fmla="*/ 0 w 5"/>
                <a:gd name="T1" fmla="*/ 14 h 14"/>
                <a:gd name="T2" fmla="*/ 0 w 5"/>
                <a:gd name="T3" fmla="*/ 10 h 14"/>
                <a:gd name="T4" fmla="*/ 5 w 5"/>
                <a:gd name="T5" fmla="*/ 0 h 14"/>
                <a:gd name="T6" fmla="*/ 5 w 5"/>
                <a:gd name="T7" fmla="*/ 10 h 14"/>
                <a:gd name="T8" fmla="*/ 0 w 5"/>
                <a:gd name="T9" fmla="*/ 14 h 14"/>
                <a:gd name="T10" fmla="*/ 0 w 5"/>
                <a:gd name="T11" fmla="*/ 14 h 14"/>
                <a:gd name="T12" fmla="*/ 0 w 5"/>
                <a:gd name="T13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" h="14">
                  <a:moveTo>
                    <a:pt x="0" y="14"/>
                  </a:moveTo>
                  <a:lnTo>
                    <a:pt x="0" y="10"/>
                  </a:lnTo>
                  <a:lnTo>
                    <a:pt x="5" y="0"/>
                  </a:lnTo>
                  <a:lnTo>
                    <a:pt x="5" y="10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0" y="14"/>
                  </a:lnTo>
                  <a:close/>
                </a:path>
              </a:pathLst>
            </a:custGeom>
            <a:solidFill>
              <a:schemeClr val="bg2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75" name="Freeform 519">
              <a:extLst>
                <a:ext uri="{FF2B5EF4-FFF2-40B4-BE49-F238E27FC236}">
                  <a16:creationId xmlns:a16="http://schemas.microsoft.com/office/drawing/2014/main" id="{1B9135D9-9470-4575-BB5B-2B7EAE0C0F80}"/>
                </a:ext>
              </a:extLst>
            </p:cNvPr>
            <p:cNvSpPr>
              <a:spLocks/>
            </p:cNvSpPr>
            <p:nvPr/>
          </p:nvSpPr>
          <p:spPr bwMode="gray">
            <a:xfrm>
              <a:off x="6162542" y="2477787"/>
              <a:ext cx="170357" cy="134920"/>
            </a:xfrm>
            <a:custGeom>
              <a:avLst/>
              <a:gdLst>
                <a:gd name="T0" fmla="*/ 194 w 1110"/>
                <a:gd name="T1" fmla="*/ 824 h 879"/>
                <a:gd name="T2" fmla="*/ 161 w 1110"/>
                <a:gd name="T3" fmla="*/ 862 h 879"/>
                <a:gd name="T4" fmla="*/ 144 w 1110"/>
                <a:gd name="T5" fmla="*/ 824 h 879"/>
                <a:gd name="T6" fmla="*/ 102 w 1110"/>
                <a:gd name="T7" fmla="*/ 808 h 879"/>
                <a:gd name="T8" fmla="*/ 64 w 1110"/>
                <a:gd name="T9" fmla="*/ 751 h 879"/>
                <a:gd name="T10" fmla="*/ 64 w 1110"/>
                <a:gd name="T11" fmla="*/ 742 h 879"/>
                <a:gd name="T12" fmla="*/ 31 w 1110"/>
                <a:gd name="T13" fmla="*/ 725 h 879"/>
                <a:gd name="T14" fmla="*/ 21 w 1110"/>
                <a:gd name="T15" fmla="*/ 685 h 879"/>
                <a:gd name="T16" fmla="*/ 9 w 1110"/>
                <a:gd name="T17" fmla="*/ 642 h 879"/>
                <a:gd name="T18" fmla="*/ 64 w 1110"/>
                <a:gd name="T19" fmla="*/ 631 h 879"/>
                <a:gd name="T20" fmla="*/ 198 w 1110"/>
                <a:gd name="T21" fmla="*/ 607 h 879"/>
                <a:gd name="T22" fmla="*/ 236 w 1110"/>
                <a:gd name="T23" fmla="*/ 607 h 879"/>
                <a:gd name="T24" fmla="*/ 264 w 1110"/>
                <a:gd name="T25" fmla="*/ 586 h 879"/>
                <a:gd name="T26" fmla="*/ 286 w 1110"/>
                <a:gd name="T27" fmla="*/ 531 h 879"/>
                <a:gd name="T28" fmla="*/ 399 w 1110"/>
                <a:gd name="T29" fmla="*/ 309 h 879"/>
                <a:gd name="T30" fmla="*/ 829 w 1110"/>
                <a:gd name="T31" fmla="*/ 0 h 879"/>
                <a:gd name="T32" fmla="*/ 987 w 1110"/>
                <a:gd name="T33" fmla="*/ 71 h 879"/>
                <a:gd name="T34" fmla="*/ 1056 w 1110"/>
                <a:gd name="T35" fmla="*/ 111 h 879"/>
                <a:gd name="T36" fmla="*/ 1089 w 1110"/>
                <a:gd name="T37" fmla="*/ 187 h 879"/>
                <a:gd name="T38" fmla="*/ 1110 w 1110"/>
                <a:gd name="T39" fmla="*/ 238 h 879"/>
                <a:gd name="T40" fmla="*/ 1077 w 1110"/>
                <a:gd name="T41" fmla="*/ 491 h 879"/>
                <a:gd name="T42" fmla="*/ 964 w 1110"/>
                <a:gd name="T43" fmla="*/ 631 h 879"/>
                <a:gd name="T44" fmla="*/ 933 w 1110"/>
                <a:gd name="T45" fmla="*/ 668 h 879"/>
                <a:gd name="T46" fmla="*/ 926 w 1110"/>
                <a:gd name="T47" fmla="*/ 725 h 879"/>
                <a:gd name="T48" fmla="*/ 895 w 1110"/>
                <a:gd name="T49" fmla="*/ 742 h 879"/>
                <a:gd name="T50" fmla="*/ 791 w 1110"/>
                <a:gd name="T51" fmla="*/ 751 h 879"/>
                <a:gd name="T52" fmla="*/ 701 w 1110"/>
                <a:gd name="T53" fmla="*/ 758 h 879"/>
                <a:gd name="T54" fmla="*/ 602 w 1110"/>
                <a:gd name="T55" fmla="*/ 779 h 879"/>
                <a:gd name="T56" fmla="*/ 539 w 1110"/>
                <a:gd name="T57" fmla="*/ 751 h 879"/>
                <a:gd name="T58" fmla="*/ 501 w 1110"/>
                <a:gd name="T59" fmla="*/ 775 h 879"/>
                <a:gd name="T60" fmla="*/ 479 w 1110"/>
                <a:gd name="T61" fmla="*/ 779 h 879"/>
                <a:gd name="T62" fmla="*/ 425 w 1110"/>
                <a:gd name="T63" fmla="*/ 735 h 879"/>
                <a:gd name="T64" fmla="*/ 361 w 1110"/>
                <a:gd name="T65" fmla="*/ 725 h 879"/>
                <a:gd name="T66" fmla="*/ 307 w 1110"/>
                <a:gd name="T67" fmla="*/ 725 h 879"/>
                <a:gd name="T68" fmla="*/ 279 w 1110"/>
                <a:gd name="T69" fmla="*/ 779 h 879"/>
                <a:gd name="T70" fmla="*/ 248 w 1110"/>
                <a:gd name="T71" fmla="*/ 812 h 879"/>
                <a:gd name="T72" fmla="*/ 253 w 1110"/>
                <a:gd name="T73" fmla="*/ 869 h 879"/>
                <a:gd name="T74" fmla="*/ 248 w 1110"/>
                <a:gd name="T75" fmla="*/ 879 h 8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110" h="879">
                  <a:moveTo>
                    <a:pt x="248" y="879"/>
                  </a:moveTo>
                  <a:lnTo>
                    <a:pt x="194" y="824"/>
                  </a:lnTo>
                  <a:lnTo>
                    <a:pt x="161" y="836"/>
                  </a:lnTo>
                  <a:lnTo>
                    <a:pt x="161" y="862"/>
                  </a:lnTo>
                  <a:lnTo>
                    <a:pt x="139" y="829"/>
                  </a:lnTo>
                  <a:lnTo>
                    <a:pt x="144" y="824"/>
                  </a:lnTo>
                  <a:lnTo>
                    <a:pt x="139" y="808"/>
                  </a:lnTo>
                  <a:lnTo>
                    <a:pt x="102" y="808"/>
                  </a:lnTo>
                  <a:lnTo>
                    <a:pt x="64" y="775"/>
                  </a:lnTo>
                  <a:lnTo>
                    <a:pt x="64" y="751"/>
                  </a:lnTo>
                  <a:lnTo>
                    <a:pt x="85" y="758"/>
                  </a:lnTo>
                  <a:lnTo>
                    <a:pt x="64" y="742"/>
                  </a:lnTo>
                  <a:lnTo>
                    <a:pt x="64" y="742"/>
                  </a:lnTo>
                  <a:lnTo>
                    <a:pt x="31" y="725"/>
                  </a:lnTo>
                  <a:lnTo>
                    <a:pt x="14" y="697"/>
                  </a:lnTo>
                  <a:lnTo>
                    <a:pt x="21" y="685"/>
                  </a:lnTo>
                  <a:lnTo>
                    <a:pt x="0" y="668"/>
                  </a:lnTo>
                  <a:lnTo>
                    <a:pt x="9" y="642"/>
                  </a:lnTo>
                  <a:lnTo>
                    <a:pt x="9" y="631"/>
                  </a:lnTo>
                  <a:lnTo>
                    <a:pt x="64" y="631"/>
                  </a:lnTo>
                  <a:lnTo>
                    <a:pt x="85" y="614"/>
                  </a:lnTo>
                  <a:lnTo>
                    <a:pt x="198" y="607"/>
                  </a:lnTo>
                  <a:lnTo>
                    <a:pt x="210" y="602"/>
                  </a:lnTo>
                  <a:lnTo>
                    <a:pt x="236" y="607"/>
                  </a:lnTo>
                  <a:lnTo>
                    <a:pt x="236" y="590"/>
                  </a:lnTo>
                  <a:lnTo>
                    <a:pt x="264" y="586"/>
                  </a:lnTo>
                  <a:lnTo>
                    <a:pt x="279" y="536"/>
                  </a:lnTo>
                  <a:lnTo>
                    <a:pt x="286" y="531"/>
                  </a:lnTo>
                  <a:lnTo>
                    <a:pt x="290" y="326"/>
                  </a:lnTo>
                  <a:lnTo>
                    <a:pt x="399" y="309"/>
                  </a:lnTo>
                  <a:lnTo>
                    <a:pt x="517" y="198"/>
                  </a:lnTo>
                  <a:lnTo>
                    <a:pt x="829" y="0"/>
                  </a:lnTo>
                  <a:lnTo>
                    <a:pt x="938" y="21"/>
                  </a:lnTo>
                  <a:lnTo>
                    <a:pt x="987" y="71"/>
                  </a:lnTo>
                  <a:lnTo>
                    <a:pt x="1039" y="38"/>
                  </a:lnTo>
                  <a:lnTo>
                    <a:pt x="1056" y="111"/>
                  </a:lnTo>
                  <a:lnTo>
                    <a:pt x="1056" y="149"/>
                  </a:lnTo>
                  <a:lnTo>
                    <a:pt x="1089" y="187"/>
                  </a:lnTo>
                  <a:lnTo>
                    <a:pt x="1089" y="203"/>
                  </a:lnTo>
                  <a:lnTo>
                    <a:pt x="1110" y="238"/>
                  </a:lnTo>
                  <a:lnTo>
                    <a:pt x="1094" y="272"/>
                  </a:lnTo>
                  <a:lnTo>
                    <a:pt x="1077" y="491"/>
                  </a:lnTo>
                  <a:lnTo>
                    <a:pt x="1001" y="574"/>
                  </a:lnTo>
                  <a:lnTo>
                    <a:pt x="964" y="631"/>
                  </a:lnTo>
                  <a:lnTo>
                    <a:pt x="950" y="664"/>
                  </a:lnTo>
                  <a:lnTo>
                    <a:pt x="933" y="668"/>
                  </a:lnTo>
                  <a:lnTo>
                    <a:pt x="950" y="725"/>
                  </a:lnTo>
                  <a:lnTo>
                    <a:pt x="926" y="725"/>
                  </a:lnTo>
                  <a:lnTo>
                    <a:pt x="916" y="742"/>
                  </a:lnTo>
                  <a:lnTo>
                    <a:pt x="895" y="742"/>
                  </a:lnTo>
                  <a:lnTo>
                    <a:pt x="862" y="775"/>
                  </a:lnTo>
                  <a:lnTo>
                    <a:pt x="791" y="751"/>
                  </a:lnTo>
                  <a:lnTo>
                    <a:pt x="739" y="751"/>
                  </a:lnTo>
                  <a:lnTo>
                    <a:pt x="701" y="758"/>
                  </a:lnTo>
                  <a:lnTo>
                    <a:pt x="668" y="796"/>
                  </a:lnTo>
                  <a:lnTo>
                    <a:pt x="602" y="779"/>
                  </a:lnTo>
                  <a:lnTo>
                    <a:pt x="560" y="758"/>
                  </a:lnTo>
                  <a:lnTo>
                    <a:pt x="539" y="751"/>
                  </a:lnTo>
                  <a:lnTo>
                    <a:pt x="505" y="775"/>
                  </a:lnTo>
                  <a:lnTo>
                    <a:pt x="501" y="775"/>
                  </a:lnTo>
                  <a:lnTo>
                    <a:pt x="484" y="779"/>
                  </a:lnTo>
                  <a:lnTo>
                    <a:pt x="479" y="779"/>
                  </a:lnTo>
                  <a:lnTo>
                    <a:pt x="430" y="725"/>
                  </a:lnTo>
                  <a:lnTo>
                    <a:pt x="425" y="735"/>
                  </a:lnTo>
                  <a:lnTo>
                    <a:pt x="378" y="718"/>
                  </a:lnTo>
                  <a:lnTo>
                    <a:pt x="361" y="725"/>
                  </a:lnTo>
                  <a:lnTo>
                    <a:pt x="333" y="725"/>
                  </a:lnTo>
                  <a:lnTo>
                    <a:pt x="307" y="725"/>
                  </a:lnTo>
                  <a:lnTo>
                    <a:pt x="286" y="742"/>
                  </a:lnTo>
                  <a:lnTo>
                    <a:pt x="279" y="779"/>
                  </a:lnTo>
                  <a:lnTo>
                    <a:pt x="269" y="796"/>
                  </a:lnTo>
                  <a:lnTo>
                    <a:pt x="248" y="812"/>
                  </a:lnTo>
                  <a:lnTo>
                    <a:pt x="248" y="862"/>
                  </a:lnTo>
                  <a:lnTo>
                    <a:pt x="253" y="869"/>
                  </a:lnTo>
                  <a:lnTo>
                    <a:pt x="248" y="879"/>
                  </a:lnTo>
                  <a:lnTo>
                    <a:pt x="248" y="879"/>
                  </a:lnTo>
                  <a:lnTo>
                    <a:pt x="248" y="879"/>
                  </a:lnTo>
                  <a:close/>
                </a:path>
              </a:pathLst>
            </a:custGeom>
            <a:solidFill>
              <a:schemeClr val="bg2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76" name="Freeform 520">
              <a:extLst>
                <a:ext uri="{FF2B5EF4-FFF2-40B4-BE49-F238E27FC236}">
                  <a16:creationId xmlns:a16="http://schemas.microsoft.com/office/drawing/2014/main" id="{504CDA00-4453-4C95-95DF-ECFC3BFC3F3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953747" y="2894671"/>
              <a:ext cx="36987" cy="74444"/>
            </a:xfrm>
            <a:custGeom>
              <a:avLst/>
              <a:gdLst>
                <a:gd name="T0" fmla="*/ 67 w 241"/>
                <a:gd name="T1" fmla="*/ 10 h 485"/>
                <a:gd name="T2" fmla="*/ 71 w 241"/>
                <a:gd name="T3" fmla="*/ 10 h 485"/>
                <a:gd name="T4" fmla="*/ 67 w 241"/>
                <a:gd name="T5" fmla="*/ 17 h 485"/>
                <a:gd name="T6" fmla="*/ 71 w 241"/>
                <a:gd name="T7" fmla="*/ 50 h 485"/>
                <a:gd name="T8" fmla="*/ 67 w 241"/>
                <a:gd name="T9" fmla="*/ 33 h 485"/>
                <a:gd name="T10" fmla="*/ 71 w 241"/>
                <a:gd name="T11" fmla="*/ 50 h 485"/>
                <a:gd name="T12" fmla="*/ 71 w 241"/>
                <a:gd name="T13" fmla="*/ 50 h 485"/>
                <a:gd name="T14" fmla="*/ 50 w 241"/>
                <a:gd name="T15" fmla="*/ 133 h 485"/>
                <a:gd name="T16" fmla="*/ 12 w 241"/>
                <a:gd name="T17" fmla="*/ 128 h 485"/>
                <a:gd name="T18" fmla="*/ 17 w 241"/>
                <a:gd name="T19" fmla="*/ 78 h 485"/>
                <a:gd name="T20" fmla="*/ 33 w 241"/>
                <a:gd name="T21" fmla="*/ 107 h 485"/>
                <a:gd name="T22" fmla="*/ 38 w 241"/>
                <a:gd name="T23" fmla="*/ 107 h 485"/>
                <a:gd name="T24" fmla="*/ 38 w 241"/>
                <a:gd name="T25" fmla="*/ 107 h 485"/>
                <a:gd name="T26" fmla="*/ 109 w 241"/>
                <a:gd name="T27" fmla="*/ 90 h 485"/>
                <a:gd name="T28" fmla="*/ 121 w 241"/>
                <a:gd name="T29" fmla="*/ 128 h 485"/>
                <a:gd name="T30" fmla="*/ 121 w 241"/>
                <a:gd name="T31" fmla="*/ 128 h 485"/>
                <a:gd name="T32" fmla="*/ 76 w 241"/>
                <a:gd name="T33" fmla="*/ 128 h 485"/>
                <a:gd name="T34" fmla="*/ 104 w 241"/>
                <a:gd name="T35" fmla="*/ 123 h 485"/>
                <a:gd name="T36" fmla="*/ 93 w 241"/>
                <a:gd name="T37" fmla="*/ 133 h 485"/>
                <a:gd name="T38" fmla="*/ 121 w 241"/>
                <a:gd name="T39" fmla="*/ 168 h 485"/>
                <a:gd name="T40" fmla="*/ 121 w 241"/>
                <a:gd name="T41" fmla="*/ 133 h 485"/>
                <a:gd name="T42" fmla="*/ 121 w 241"/>
                <a:gd name="T43" fmla="*/ 168 h 485"/>
                <a:gd name="T44" fmla="*/ 121 w 241"/>
                <a:gd name="T45" fmla="*/ 168 h 485"/>
                <a:gd name="T46" fmla="*/ 38 w 241"/>
                <a:gd name="T47" fmla="*/ 133 h 485"/>
                <a:gd name="T48" fmla="*/ 50 w 241"/>
                <a:gd name="T49" fmla="*/ 144 h 485"/>
                <a:gd name="T50" fmla="*/ 50 w 241"/>
                <a:gd name="T51" fmla="*/ 144 h 485"/>
                <a:gd name="T52" fmla="*/ 38 w 241"/>
                <a:gd name="T53" fmla="*/ 144 h 485"/>
                <a:gd name="T54" fmla="*/ 50 w 241"/>
                <a:gd name="T55" fmla="*/ 149 h 485"/>
                <a:gd name="T56" fmla="*/ 50 w 241"/>
                <a:gd name="T57" fmla="*/ 149 h 485"/>
                <a:gd name="T58" fmla="*/ 67 w 241"/>
                <a:gd name="T59" fmla="*/ 206 h 485"/>
                <a:gd name="T60" fmla="*/ 50 w 241"/>
                <a:gd name="T61" fmla="*/ 178 h 485"/>
                <a:gd name="T62" fmla="*/ 93 w 241"/>
                <a:gd name="T63" fmla="*/ 206 h 485"/>
                <a:gd name="T64" fmla="*/ 71 w 241"/>
                <a:gd name="T65" fmla="*/ 218 h 485"/>
                <a:gd name="T66" fmla="*/ 121 w 241"/>
                <a:gd name="T67" fmla="*/ 201 h 485"/>
                <a:gd name="T68" fmla="*/ 121 w 241"/>
                <a:gd name="T69" fmla="*/ 178 h 485"/>
                <a:gd name="T70" fmla="*/ 121 w 241"/>
                <a:gd name="T71" fmla="*/ 201 h 485"/>
                <a:gd name="T72" fmla="*/ 121 w 241"/>
                <a:gd name="T73" fmla="*/ 201 h 485"/>
                <a:gd name="T74" fmla="*/ 121 w 241"/>
                <a:gd name="T75" fmla="*/ 234 h 485"/>
                <a:gd name="T76" fmla="*/ 142 w 241"/>
                <a:gd name="T77" fmla="*/ 234 h 485"/>
                <a:gd name="T78" fmla="*/ 142 w 241"/>
                <a:gd name="T79" fmla="*/ 234 h 485"/>
                <a:gd name="T80" fmla="*/ 126 w 241"/>
                <a:gd name="T81" fmla="*/ 296 h 485"/>
                <a:gd name="T82" fmla="*/ 126 w 241"/>
                <a:gd name="T83" fmla="*/ 289 h 485"/>
                <a:gd name="T84" fmla="*/ 147 w 241"/>
                <a:gd name="T85" fmla="*/ 296 h 485"/>
                <a:gd name="T86" fmla="*/ 130 w 241"/>
                <a:gd name="T87" fmla="*/ 300 h 485"/>
                <a:gd name="T88" fmla="*/ 130 w 241"/>
                <a:gd name="T89" fmla="*/ 300 h 485"/>
                <a:gd name="T90" fmla="*/ 175 w 241"/>
                <a:gd name="T91" fmla="*/ 385 h 485"/>
                <a:gd name="T92" fmla="*/ 187 w 241"/>
                <a:gd name="T93" fmla="*/ 369 h 485"/>
                <a:gd name="T94" fmla="*/ 196 w 241"/>
                <a:gd name="T95" fmla="*/ 390 h 485"/>
                <a:gd name="T96" fmla="*/ 196 w 241"/>
                <a:gd name="T97" fmla="*/ 390 h 485"/>
                <a:gd name="T98" fmla="*/ 196 w 241"/>
                <a:gd name="T99" fmla="*/ 428 h 485"/>
                <a:gd name="T100" fmla="*/ 204 w 241"/>
                <a:gd name="T101" fmla="*/ 423 h 485"/>
                <a:gd name="T102" fmla="*/ 204 w 241"/>
                <a:gd name="T103" fmla="*/ 447 h 485"/>
                <a:gd name="T104" fmla="*/ 204 w 241"/>
                <a:gd name="T105" fmla="*/ 447 h 485"/>
                <a:gd name="T106" fmla="*/ 230 w 241"/>
                <a:gd name="T107" fmla="*/ 480 h 485"/>
                <a:gd name="T108" fmla="*/ 234 w 241"/>
                <a:gd name="T109" fmla="*/ 485 h 485"/>
                <a:gd name="T110" fmla="*/ 234 w 241"/>
                <a:gd name="T111" fmla="*/ 485 h 4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241" h="485">
                  <a:moveTo>
                    <a:pt x="67" y="17"/>
                  </a:moveTo>
                  <a:lnTo>
                    <a:pt x="67" y="10"/>
                  </a:lnTo>
                  <a:lnTo>
                    <a:pt x="71" y="0"/>
                  </a:lnTo>
                  <a:lnTo>
                    <a:pt x="71" y="10"/>
                  </a:lnTo>
                  <a:lnTo>
                    <a:pt x="67" y="17"/>
                  </a:lnTo>
                  <a:lnTo>
                    <a:pt x="67" y="17"/>
                  </a:lnTo>
                  <a:lnTo>
                    <a:pt x="67" y="17"/>
                  </a:lnTo>
                  <a:close/>
                  <a:moveTo>
                    <a:pt x="71" y="50"/>
                  </a:moveTo>
                  <a:lnTo>
                    <a:pt x="67" y="50"/>
                  </a:lnTo>
                  <a:lnTo>
                    <a:pt x="67" y="33"/>
                  </a:lnTo>
                  <a:lnTo>
                    <a:pt x="76" y="38"/>
                  </a:lnTo>
                  <a:lnTo>
                    <a:pt x="71" y="50"/>
                  </a:lnTo>
                  <a:lnTo>
                    <a:pt x="71" y="50"/>
                  </a:lnTo>
                  <a:lnTo>
                    <a:pt x="71" y="50"/>
                  </a:lnTo>
                  <a:close/>
                  <a:moveTo>
                    <a:pt x="38" y="107"/>
                  </a:moveTo>
                  <a:lnTo>
                    <a:pt x="50" y="133"/>
                  </a:lnTo>
                  <a:lnTo>
                    <a:pt x="17" y="144"/>
                  </a:lnTo>
                  <a:lnTo>
                    <a:pt x="12" y="128"/>
                  </a:lnTo>
                  <a:lnTo>
                    <a:pt x="0" y="71"/>
                  </a:lnTo>
                  <a:lnTo>
                    <a:pt x="17" y="78"/>
                  </a:lnTo>
                  <a:lnTo>
                    <a:pt x="17" y="107"/>
                  </a:lnTo>
                  <a:lnTo>
                    <a:pt x="33" y="107"/>
                  </a:lnTo>
                  <a:lnTo>
                    <a:pt x="33" y="90"/>
                  </a:lnTo>
                  <a:lnTo>
                    <a:pt x="38" y="107"/>
                  </a:lnTo>
                  <a:lnTo>
                    <a:pt x="38" y="107"/>
                  </a:lnTo>
                  <a:lnTo>
                    <a:pt x="38" y="107"/>
                  </a:lnTo>
                  <a:close/>
                  <a:moveTo>
                    <a:pt x="121" y="128"/>
                  </a:moveTo>
                  <a:lnTo>
                    <a:pt x="109" y="90"/>
                  </a:lnTo>
                  <a:lnTo>
                    <a:pt x="121" y="111"/>
                  </a:lnTo>
                  <a:lnTo>
                    <a:pt x="121" y="128"/>
                  </a:lnTo>
                  <a:lnTo>
                    <a:pt x="121" y="128"/>
                  </a:lnTo>
                  <a:lnTo>
                    <a:pt x="121" y="128"/>
                  </a:lnTo>
                  <a:close/>
                  <a:moveTo>
                    <a:pt x="93" y="133"/>
                  </a:moveTo>
                  <a:lnTo>
                    <a:pt x="76" y="128"/>
                  </a:lnTo>
                  <a:lnTo>
                    <a:pt x="93" y="123"/>
                  </a:lnTo>
                  <a:lnTo>
                    <a:pt x="104" y="123"/>
                  </a:lnTo>
                  <a:lnTo>
                    <a:pt x="93" y="133"/>
                  </a:lnTo>
                  <a:lnTo>
                    <a:pt x="93" y="133"/>
                  </a:lnTo>
                  <a:lnTo>
                    <a:pt x="93" y="133"/>
                  </a:lnTo>
                  <a:close/>
                  <a:moveTo>
                    <a:pt x="121" y="168"/>
                  </a:moveTo>
                  <a:lnTo>
                    <a:pt x="109" y="144"/>
                  </a:lnTo>
                  <a:lnTo>
                    <a:pt x="121" y="133"/>
                  </a:lnTo>
                  <a:lnTo>
                    <a:pt x="126" y="161"/>
                  </a:lnTo>
                  <a:lnTo>
                    <a:pt x="121" y="168"/>
                  </a:lnTo>
                  <a:lnTo>
                    <a:pt x="121" y="168"/>
                  </a:lnTo>
                  <a:lnTo>
                    <a:pt x="121" y="168"/>
                  </a:lnTo>
                  <a:close/>
                  <a:moveTo>
                    <a:pt x="50" y="144"/>
                  </a:moveTo>
                  <a:lnTo>
                    <a:pt x="38" y="133"/>
                  </a:lnTo>
                  <a:lnTo>
                    <a:pt x="50" y="133"/>
                  </a:lnTo>
                  <a:lnTo>
                    <a:pt x="50" y="144"/>
                  </a:lnTo>
                  <a:lnTo>
                    <a:pt x="50" y="144"/>
                  </a:lnTo>
                  <a:lnTo>
                    <a:pt x="50" y="144"/>
                  </a:lnTo>
                  <a:close/>
                  <a:moveTo>
                    <a:pt x="50" y="149"/>
                  </a:moveTo>
                  <a:lnTo>
                    <a:pt x="38" y="144"/>
                  </a:lnTo>
                  <a:lnTo>
                    <a:pt x="50" y="144"/>
                  </a:lnTo>
                  <a:lnTo>
                    <a:pt x="50" y="149"/>
                  </a:lnTo>
                  <a:lnTo>
                    <a:pt x="50" y="149"/>
                  </a:lnTo>
                  <a:lnTo>
                    <a:pt x="50" y="149"/>
                  </a:lnTo>
                  <a:close/>
                  <a:moveTo>
                    <a:pt x="71" y="218"/>
                  </a:moveTo>
                  <a:lnTo>
                    <a:pt x="67" y="206"/>
                  </a:lnTo>
                  <a:lnTo>
                    <a:pt x="67" y="185"/>
                  </a:lnTo>
                  <a:lnTo>
                    <a:pt x="50" y="178"/>
                  </a:lnTo>
                  <a:lnTo>
                    <a:pt x="50" y="161"/>
                  </a:lnTo>
                  <a:lnTo>
                    <a:pt x="93" y="206"/>
                  </a:lnTo>
                  <a:lnTo>
                    <a:pt x="71" y="218"/>
                  </a:lnTo>
                  <a:lnTo>
                    <a:pt x="71" y="218"/>
                  </a:lnTo>
                  <a:lnTo>
                    <a:pt x="71" y="218"/>
                  </a:lnTo>
                  <a:close/>
                  <a:moveTo>
                    <a:pt x="121" y="201"/>
                  </a:moveTo>
                  <a:lnTo>
                    <a:pt x="104" y="185"/>
                  </a:lnTo>
                  <a:lnTo>
                    <a:pt x="121" y="178"/>
                  </a:lnTo>
                  <a:lnTo>
                    <a:pt x="126" y="189"/>
                  </a:lnTo>
                  <a:lnTo>
                    <a:pt x="121" y="201"/>
                  </a:lnTo>
                  <a:lnTo>
                    <a:pt x="121" y="201"/>
                  </a:lnTo>
                  <a:lnTo>
                    <a:pt x="121" y="201"/>
                  </a:lnTo>
                  <a:close/>
                  <a:moveTo>
                    <a:pt x="142" y="234"/>
                  </a:moveTo>
                  <a:lnTo>
                    <a:pt x="121" y="234"/>
                  </a:lnTo>
                  <a:lnTo>
                    <a:pt x="121" y="218"/>
                  </a:lnTo>
                  <a:lnTo>
                    <a:pt x="142" y="234"/>
                  </a:lnTo>
                  <a:lnTo>
                    <a:pt x="142" y="234"/>
                  </a:lnTo>
                  <a:lnTo>
                    <a:pt x="142" y="234"/>
                  </a:lnTo>
                  <a:close/>
                  <a:moveTo>
                    <a:pt x="130" y="300"/>
                  </a:moveTo>
                  <a:lnTo>
                    <a:pt x="126" y="296"/>
                  </a:lnTo>
                  <a:lnTo>
                    <a:pt x="121" y="296"/>
                  </a:lnTo>
                  <a:lnTo>
                    <a:pt x="126" y="289"/>
                  </a:lnTo>
                  <a:lnTo>
                    <a:pt x="130" y="289"/>
                  </a:lnTo>
                  <a:lnTo>
                    <a:pt x="147" y="296"/>
                  </a:lnTo>
                  <a:lnTo>
                    <a:pt x="142" y="300"/>
                  </a:lnTo>
                  <a:lnTo>
                    <a:pt x="130" y="300"/>
                  </a:lnTo>
                  <a:lnTo>
                    <a:pt x="130" y="300"/>
                  </a:lnTo>
                  <a:lnTo>
                    <a:pt x="130" y="300"/>
                  </a:lnTo>
                  <a:close/>
                  <a:moveTo>
                    <a:pt x="196" y="390"/>
                  </a:moveTo>
                  <a:lnTo>
                    <a:pt x="175" y="385"/>
                  </a:lnTo>
                  <a:lnTo>
                    <a:pt x="180" y="369"/>
                  </a:lnTo>
                  <a:lnTo>
                    <a:pt x="187" y="369"/>
                  </a:lnTo>
                  <a:lnTo>
                    <a:pt x="196" y="385"/>
                  </a:lnTo>
                  <a:lnTo>
                    <a:pt x="196" y="390"/>
                  </a:lnTo>
                  <a:lnTo>
                    <a:pt x="196" y="390"/>
                  </a:lnTo>
                  <a:lnTo>
                    <a:pt x="196" y="390"/>
                  </a:lnTo>
                  <a:close/>
                  <a:moveTo>
                    <a:pt x="204" y="447"/>
                  </a:moveTo>
                  <a:lnTo>
                    <a:pt x="196" y="428"/>
                  </a:lnTo>
                  <a:lnTo>
                    <a:pt x="196" y="423"/>
                  </a:lnTo>
                  <a:lnTo>
                    <a:pt x="204" y="423"/>
                  </a:lnTo>
                  <a:lnTo>
                    <a:pt x="213" y="428"/>
                  </a:lnTo>
                  <a:lnTo>
                    <a:pt x="204" y="447"/>
                  </a:lnTo>
                  <a:lnTo>
                    <a:pt x="204" y="447"/>
                  </a:lnTo>
                  <a:lnTo>
                    <a:pt x="204" y="447"/>
                  </a:lnTo>
                  <a:close/>
                  <a:moveTo>
                    <a:pt x="234" y="485"/>
                  </a:moveTo>
                  <a:lnTo>
                    <a:pt x="230" y="480"/>
                  </a:lnTo>
                  <a:lnTo>
                    <a:pt x="241" y="485"/>
                  </a:lnTo>
                  <a:lnTo>
                    <a:pt x="234" y="485"/>
                  </a:lnTo>
                  <a:lnTo>
                    <a:pt x="234" y="485"/>
                  </a:lnTo>
                  <a:lnTo>
                    <a:pt x="234" y="485"/>
                  </a:lnTo>
                  <a:close/>
                </a:path>
              </a:pathLst>
            </a:custGeom>
            <a:solidFill>
              <a:schemeClr val="bg2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77" name="Freeform 521">
              <a:extLst>
                <a:ext uri="{FF2B5EF4-FFF2-40B4-BE49-F238E27FC236}">
                  <a16:creationId xmlns:a16="http://schemas.microsoft.com/office/drawing/2014/main" id="{44C21526-E1EC-4221-AAB1-971A5FBE835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190014" y="2588301"/>
              <a:ext cx="129072" cy="107445"/>
            </a:xfrm>
            <a:custGeom>
              <a:avLst/>
              <a:gdLst>
                <a:gd name="T0" fmla="*/ 648 w 841"/>
                <a:gd name="T1" fmla="*/ 494 h 700"/>
                <a:gd name="T2" fmla="*/ 610 w 841"/>
                <a:gd name="T3" fmla="*/ 539 h 700"/>
                <a:gd name="T4" fmla="*/ 556 w 841"/>
                <a:gd name="T5" fmla="*/ 494 h 700"/>
                <a:gd name="T6" fmla="*/ 522 w 841"/>
                <a:gd name="T7" fmla="*/ 501 h 700"/>
                <a:gd name="T8" fmla="*/ 492 w 841"/>
                <a:gd name="T9" fmla="*/ 534 h 700"/>
                <a:gd name="T10" fmla="*/ 437 w 841"/>
                <a:gd name="T11" fmla="*/ 605 h 700"/>
                <a:gd name="T12" fmla="*/ 409 w 841"/>
                <a:gd name="T13" fmla="*/ 666 h 700"/>
                <a:gd name="T14" fmla="*/ 395 w 841"/>
                <a:gd name="T15" fmla="*/ 671 h 700"/>
                <a:gd name="T16" fmla="*/ 345 w 841"/>
                <a:gd name="T17" fmla="*/ 666 h 700"/>
                <a:gd name="T18" fmla="*/ 308 w 841"/>
                <a:gd name="T19" fmla="*/ 662 h 700"/>
                <a:gd name="T20" fmla="*/ 303 w 841"/>
                <a:gd name="T21" fmla="*/ 666 h 700"/>
                <a:gd name="T22" fmla="*/ 291 w 841"/>
                <a:gd name="T23" fmla="*/ 688 h 700"/>
                <a:gd name="T24" fmla="*/ 286 w 841"/>
                <a:gd name="T25" fmla="*/ 688 h 700"/>
                <a:gd name="T26" fmla="*/ 286 w 841"/>
                <a:gd name="T27" fmla="*/ 688 h 700"/>
                <a:gd name="T28" fmla="*/ 253 w 841"/>
                <a:gd name="T29" fmla="*/ 683 h 700"/>
                <a:gd name="T30" fmla="*/ 215 w 841"/>
                <a:gd name="T31" fmla="*/ 683 h 700"/>
                <a:gd name="T32" fmla="*/ 199 w 841"/>
                <a:gd name="T33" fmla="*/ 633 h 700"/>
                <a:gd name="T34" fmla="*/ 211 w 841"/>
                <a:gd name="T35" fmla="*/ 605 h 700"/>
                <a:gd name="T36" fmla="*/ 178 w 841"/>
                <a:gd name="T37" fmla="*/ 605 h 700"/>
                <a:gd name="T38" fmla="*/ 156 w 841"/>
                <a:gd name="T39" fmla="*/ 572 h 700"/>
                <a:gd name="T40" fmla="*/ 85 w 841"/>
                <a:gd name="T41" fmla="*/ 522 h 700"/>
                <a:gd name="T42" fmla="*/ 48 w 841"/>
                <a:gd name="T43" fmla="*/ 551 h 700"/>
                <a:gd name="T44" fmla="*/ 0 w 841"/>
                <a:gd name="T45" fmla="*/ 440 h 700"/>
                <a:gd name="T46" fmla="*/ 38 w 841"/>
                <a:gd name="T47" fmla="*/ 329 h 700"/>
                <a:gd name="T48" fmla="*/ 71 w 841"/>
                <a:gd name="T49" fmla="*/ 284 h 700"/>
                <a:gd name="T50" fmla="*/ 76 w 841"/>
                <a:gd name="T51" fmla="*/ 244 h 700"/>
                <a:gd name="T52" fmla="*/ 76 w 841"/>
                <a:gd name="T53" fmla="*/ 222 h 700"/>
                <a:gd name="T54" fmla="*/ 71 w 841"/>
                <a:gd name="T55" fmla="*/ 161 h 700"/>
                <a:gd name="T56" fmla="*/ 71 w 841"/>
                <a:gd name="T57" fmla="*/ 95 h 700"/>
                <a:gd name="T58" fmla="*/ 109 w 841"/>
                <a:gd name="T59" fmla="*/ 22 h 700"/>
                <a:gd name="T60" fmla="*/ 185 w 841"/>
                <a:gd name="T61" fmla="*/ 5 h 700"/>
                <a:gd name="T62" fmla="*/ 253 w 841"/>
                <a:gd name="T63" fmla="*/ 5 h 700"/>
                <a:gd name="T64" fmla="*/ 324 w 841"/>
                <a:gd name="T65" fmla="*/ 57 h 700"/>
                <a:gd name="T66" fmla="*/ 383 w 841"/>
                <a:gd name="T67" fmla="*/ 38 h 700"/>
                <a:gd name="T68" fmla="*/ 522 w 841"/>
                <a:gd name="T69" fmla="*/ 38 h 700"/>
                <a:gd name="T70" fmla="*/ 685 w 841"/>
                <a:gd name="T71" fmla="*/ 57 h 700"/>
                <a:gd name="T72" fmla="*/ 749 w 841"/>
                <a:gd name="T73" fmla="*/ 5 h 700"/>
                <a:gd name="T74" fmla="*/ 808 w 841"/>
                <a:gd name="T75" fmla="*/ 107 h 700"/>
                <a:gd name="T76" fmla="*/ 841 w 841"/>
                <a:gd name="T77" fmla="*/ 149 h 700"/>
                <a:gd name="T78" fmla="*/ 792 w 841"/>
                <a:gd name="T79" fmla="*/ 189 h 700"/>
                <a:gd name="T80" fmla="*/ 754 w 841"/>
                <a:gd name="T81" fmla="*/ 272 h 700"/>
                <a:gd name="T82" fmla="*/ 719 w 841"/>
                <a:gd name="T83" fmla="*/ 329 h 700"/>
                <a:gd name="T84" fmla="*/ 685 w 841"/>
                <a:gd name="T85" fmla="*/ 383 h 700"/>
                <a:gd name="T86" fmla="*/ 669 w 841"/>
                <a:gd name="T87" fmla="*/ 428 h 700"/>
                <a:gd name="T88" fmla="*/ 643 w 841"/>
                <a:gd name="T89" fmla="*/ 478 h 700"/>
                <a:gd name="T90" fmla="*/ 319 w 841"/>
                <a:gd name="T91" fmla="*/ 688 h 700"/>
                <a:gd name="T92" fmla="*/ 319 w 841"/>
                <a:gd name="T93" fmla="*/ 688 h 700"/>
                <a:gd name="T94" fmla="*/ 341 w 841"/>
                <a:gd name="T95" fmla="*/ 683 h 700"/>
                <a:gd name="T96" fmla="*/ 341 w 841"/>
                <a:gd name="T97" fmla="*/ 683 h 7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841" h="700">
                  <a:moveTo>
                    <a:pt x="643" y="478"/>
                  </a:moveTo>
                  <a:lnTo>
                    <a:pt x="643" y="478"/>
                  </a:lnTo>
                  <a:lnTo>
                    <a:pt x="648" y="494"/>
                  </a:lnTo>
                  <a:lnTo>
                    <a:pt x="626" y="506"/>
                  </a:lnTo>
                  <a:lnTo>
                    <a:pt x="626" y="522"/>
                  </a:lnTo>
                  <a:lnTo>
                    <a:pt x="610" y="539"/>
                  </a:lnTo>
                  <a:lnTo>
                    <a:pt x="593" y="539"/>
                  </a:lnTo>
                  <a:lnTo>
                    <a:pt x="593" y="518"/>
                  </a:lnTo>
                  <a:lnTo>
                    <a:pt x="556" y="494"/>
                  </a:lnTo>
                  <a:lnTo>
                    <a:pt x="556" y="506"/>
                  </a:lnTo>
                  <a:lnTo>
                    <a:pt x="534" y="506"/>
                  </a:lnTo>
                  <a:lnTo>
                    <a:pt x="522" y="501"/>
                  </a:lnTo>
                  <a:lnTo>
                    <a:pt x="506" y="518"/>
                  </a:lnTo>
                  <a:lnTo>
                    <a:pt x="501" y="518"/>
                  </a:lnTo>
                  <a:lnTo>
                    <a:pt x="492" y="534"/>
                  </a:lnTo>
                  <a:lnTo>
                    <a:pt x="471" y="551"/>
                  </a:lnTo>
                  <a:lnTo>
                    <a:pt x="437" y="577"/>
                  </a:lnTo>
                  <a:lnTo>
                    <a:pt x="437" y="605"/>
                  </a:lnTo>
                  <a:lnTo>
                    <a:pt x="433" y="629"/>
                  </a:lnTo>
                  <a:lnTo>
                    <a:pt x="416" y="662"/>
                  </a:lnTo>
                  <a:lnTo>
                    <a:pt x="409" y="666"/>
                  </a:lnTo>
                  <a:lnTo>
                    <a:pt x="395" y="650"/>
                  </a:lnTo>
                  <a:lnTo>
                    <a:pt x="400" y="666"/>
                  </a:lnTo>
                  <a:lnTo>
                    <a:pt x="395" y="671"/>
                  </a:lnTo>
                  <a:lnTo>
                    <a:pt x="357" y="683"/>
                  </a:lnTo>
                  <a:lnTo>
                    <a:pt x="345" y="671"/>
                  </a:lnTo>
                  <a:lnTo>
                    <a:pt x="345" y="666"/>
                  </a:lnTo>
                  <a:lnTo>
                    <a:pt x="341" y="671"/>
                  </a:lnTo>
                  <a:lnTo>
                    <a:pt x="324" y="671"/>
                  </a:lnTo>
                  <a:lnTo>
                    <a:pt x="308" y="662"/>
                  </a:lnTo>
                  <a:lnTo>
                    <a:pt x="319" y="683"/>
                  </a:lnTo>
                  <a:lnTo>
                    <a:pt x="308" y="683"/>
                  </a:lnTo>
                  <a:lnTo>
                    <a:pt x="303" y="666"/>
                  </a:lnTo>
                  <a:lnTo>
                    <a:pt x="303" y="666"/>
                  </a:lnTo>
                  <a:lnTo>
                    <a:pt x="308" y="688"/>
                  </a:lnTo>
                  <a:lnTo>
                    <a:pt x="291" y="688"/>
                  </a:lnTo>
                  <a:lnTo>
                    <a:pt x="291" y="662"/>
                  </a:lnTo>
                  <a:lnTo>
                    <a:pt x="291" y="688"/>
                  </a:lnTo>
                  <a:lnTo>
                    <a:pt x="286" y="688"/>
                  </a:lnTo>
                  <a:lnTo>
                    <a:pt x="286" y="671"/>
                  </a:lnTo>
                  <a:lnTo>
                    <a:pt x="286" y="683"/>
                  </a:lnTo>
                  <a:lnTo>
                    <a:pt x="286" y="688"/>
                  </a:lnTo>
                  <a:lnTo>
                    <a:pt x="253" y="700"/>
                  </a:lnTo>
                  <a:lnTo>
                    <a:pt x="265" y="683"/>
                  </a:lnTo>
                  <a:lnTo>
                    <a:pt x="253" y="683"/>
                  </a:lnTo>
                  <a:lnTo>
                    <a:pt x="248" y="688"/>
                  </a:lnTo>
                  <a:lnTo>
                    <a:pt x="237" y="700"/>
                  </a:lnTo>
                  <a:lnTo>
                    <a:pt x="215" y="683"/>
                  </a:lnTo>
                  <a:lnTo>
                    <a:pt x="199" y="650"/>
                  </a:lnTo>
                  <a:lnTo>
                    <a:pt x="194" y="633"/>
                  </a:lnTo>
                  <a:lnTo>
                    <a:pt x="199" y="633"/>
                  </a:lnTo>
                  <a:lnTo>
                    <a:pt x="194" y="633"/>
                  </a:lnTo>
                  <a:lnTo>
                    <a:pt x="194" y="617"/>
                  </a:lnTo>
                  <a:lnTo>
                    <a:pt x="211" y="605"/>
                  </a:lnTo>
                  <a:lnTo>
                    <a:pt x="199" y="612"/>
                  </a:lnTo>
                  <a:lnTo>
                    <a:pt x="185" y="612"/>
                  </a:lnTo>
                  <a:lnTo>
                    <a:pt x="178" y="605"/>
                  </a:lnTo>
                  <a:lnTo>
                    <a:pt x="199" y="593"/>
                  </a:lnTo>
                  <a:lnTo>
                    <a:pt x="178" y="605"/>
                  </a:lnTo>
                  <a:lnTo>
                    <a:pt x="156" y="572"/>
                  </a:lnTo>
                  <a:lnTo>
                    <a:pt x="130" y="551"/>
                  </a:lnTo>
                  <a:lnTo>
                    <a:pt x="55" y="539"/>
                  </a:lnTo>
                  <a:lnTo>
                    <a:pt x="85" y="522"/>
                  </a:lnTo>
                  <a:lnTo>
                    <a:pt x="60" y="534"/>
                  </a:lnTo>
                  <a:lnTo>
                    <a:pt x="60" y="534"/>
                  </a:lnTo>
                  <a:lnTo>
                    <a:pt x="48" y="551"/>
                  </a:lnTo>
                  <a:lnTo>
                    <a:pt x="5" y="551"/>
                  </a:lnTo>
                  <a:lnTo>
                    <a:pt x="5" y="494"/>
                  </a:lnTo>
                  <a:lnTo>
                    <a:pt x="0" y="440"/>
                  </a:lnTo>
                  <a:lnTo>
                    <a:pt x="5" y="350"/>
                  </a:lnTo>
                  <a:lnTo>
                    <a:pt x="34" y="350"/>
                  </a:lnTo>
                  <a:lnTo>
                    <a:pt x="38" y="329"/>
                  </a:lnTo>
                  <a:lnTo>
                    <a:pt x="55" y="300"/>
                  </a:lnTo>
                  <a:lnTo>
                    <a:pt x="48" y="296"/>
                  </a:lnTo>
                  <a:lnTo>
                    <a:pt x="71" y="284"/>
                  </a:lnTo>
                  <a:lnTo>
                    <a:pt x="76" y="272"/>
                  </a:lnTo>
                  <a:lnTo>
                    <a:pt x="71" y="260"/>
                  </a:lnTo>
                  <a:lnTo>
                    <a:pt x="76" y="244"/>
                  </a:lnTo>
                  <a:lnTo>
                    <a:pt x="85" y="255"/>
                  </a:lnTo>
                  <a:lnTo>
                    <a:pt x="85" y="239"/>
                  </a:lnTo>
                  <a:lnTo>
                    <a:pt x="76" y="222"/>
                  </a:lnTo>
                  <a:lnTo>
                    <a:pt x="76" y="201"/>
                  </a:lnTo>
                  <a:lnTo>
                    <a:pt x="60" y="173"/>
                  </a:lnTo>
                  <a:lnTo>
                    <a:pt x="71" y="161"/>
                  </a:lnTo>
                  <a:lnTo>
                    <a:pt x="76" y="149"/>
                  </a:lnTo>
                  <a:lnTo>
                    <a:pt x="71" y="144"/>
                  </a:lnTo>
                  <a:lnTo>
                    <a:pt x="71" y="95"/>
                  </a:lnTo>
                  <a:lnTo>
                    <a:pt x="93" y="78"/>
                  </a:lnTo>
                  <a:lnTo>
                    <a:pt x="102" y="62"/>
                  </a:lnTo>
                  <a:lnTo>
                    <a:pt x="109" y="22"/>
                  </a:lnTo>
                  <a:lnTo>
                    <a:pt x="130" y="5"/>
                  </a:lnTo>
                  <a:lnTo>
                    <a:pt x="156" y="5"/>
                  </a:lnTo>
                  <a:lnTo>
                    <a:pt x="185" y="5"/>
                  </a:lnTo>
                  <a:lnTo>
                    <a:pt x="199" y="0"/>
                  </a:lnTo>
                  <a:lnTo>
                    <a:pt x="248" y="17"/>
                  </a:lnTo>
                  <a:lnTo>
                    <a:pt x="253" y="5"/>
                  </a:lnTo>
                  <a:lnTo>
                    <a:pt x="303" y="62"/>
                  </a:lnTo>
                  <a:lnTo>
                    <a:pt x="308" y="62"/>
                  </a:lnTo>
                  <a:lnTo>
                    <a:pt x="324" y="57"/>
                  </a:lnTo>
                  <a:lnTo>
                    <a:pt x="329" y="57"/>
                  </a:lnTo>
                  <a:lnTo>
                    <a:pt x="362" y="33"/>
                  </a:lnTo>
                  <a:lnTo>
                    <a:pt x="383" y="38"/>
                  </a:lnTo>
                  <a:lnTo>
                    <a:pt x="426" y="62"/>
                  </a:lnTo>
                  <a:lnTo>
                    <a:pt x="492" y="78"/>
                  </a:lnTo>
                  <a:lnTo>
                    <a:pt x="522" y="38"/>
                  </a:lnTo>
                  <a:lnTo>
                    <a:pt x="560" y="33"/>
                  </a:lnTo>
                  <a:lnTo>
                    <a:pt x="615" y="33"/>
                  </a:lnTo>
                  <a:lnTo>
                    <a:pt x="685" y="57"/>
                  </a:lnTo>
                  <a:lnTo>
                    <a:pt x="719" y="22"/>
                  </a:lnTo>
                  <a:lnTo>
                    <a:pt x="740" y="22"/>
                  </a:lnTo>
                  <a:lnTo>
                    <a:pt x="749" y="5"/>
                  </a:lnTo>
                  <a:lnTo>
                    <a:pt x="771" y="5"/>
                  </a:lnTo>
                  <a:lnTo>
                    <a:pt x="804" y="57"/>
                  </a:lnTo>
                  <a:lnTo>
                    <a:pt x="808" y="107"/>
                  </a:lnTo>
                  <a:lnTo>
                    <a:pt x="830" y="111"/>
                  </a:lnTo>
                  <a:lnTo>
                    <a:pt x="841" y="116"/>
                  </a:lnTo>
                  <a:lnTo>
                    <a:pt x="841" y="149"/>
                  </a:lnTo>
                  <a:lnTo>
                    <a:pt x="841" y="168"/>
                  </a:lnTo>
                  <a:lnTo>
                    <a:pt x="808" y="189"/>
                  </a:lnTo>
                  <a:lnTo>
                    <a:pt x="792" y="189"/>
                  </a:lnTo>
                  <a:lnTo>
                    <a:pt x="778" y="206"/>
                  </a:lnTo>
                  <a:lnTo>
                    <a:pt x="761" y="239"/>
                  </a:lnTo>
                  <a:lnTo>
                    <a:pt x="754" y="272"/>
                  </a:lnTo>
                  <a:lnTo>
                    <a:pt x="749" y="279"/>
                  </a:lnTo>
                  <a:lnTo>
                    <a:pt x="740" y="312"/>
                  </a:lnTo>
                  <a:lnTo>
                    <a:pt x="719" y="329"/>
                  </a:lnTo>
                  <a:lnTo>
                    <a:pt x="707" y="371"/>
                  </a:lnTo>
                  <a:lnTo>
                    <a:pt x="702" y="383"/>
                  </a:lnTo>
                  <a:lnTo>
                    <a:pt x="685" y="383"/>
                  </a:lnTo>
                  <a:lnTo>
                    <a:pt x="685" y="390"/>
                  </a:lnTo>
                  <a:lnTo>
                    <a:pt x="669" y="395"/>
                  </a:lnTo>
                  <a:lnTo>
                    <a:pt x="669" y="428"/>
                  </a:lnTo>
                  <a:lnTo>
                    <a:pt x="652" y="444"/>
                  </a:lnTo>
                  <a:lnTo>
                    <a:pt x="652" y="461"/>
                  </a:lnTo>
                  <a:lnTo>
                    <a:pt x="643" y="478"/>
                  </a:lnTo>
                  <a:lnTo>
                    <a:pt x="643" y="478"/>
                  </a:lnTo>
                  <a:lnTo>
                    <a:pt x="643" y="478"/>
                  </a:lnTo>
                  <a:close/>
                  <a:moveTo>
                    <a:pt x="319" y="688"/>
                  </a:moveTo>
                  <a:lnTo>
                    <a:pt x="324" y="671"/>
                  </a:lnTo>
                  <a:lnTo>
                    <a:pt x="329" y="683"/>
                  </a:lnTo>
                  <a:lnTo>
                    <a:pt x="319" y="688"/>
                  </a:lnTo>
                  <a:lnTo>
                    <a:pt x="319" y="688"/>
                  </a:lnTo>
                  <a:lnTo>
                    <a:pt x="319" y="688"/>
                  </a:lnTo>
                  <a:close/>
                  <a:moveTo>
                    <a:pt x="341" y="683"/>
                  </a:moveTo>
                  <a:lnTo>
                    <a:pt x="329" y="683"/>
                  </a:lnTo>
                  <a:lnTo>
                    <a:pt x="341" y="683"/>
                  </a:lnTo>
                  <a:lnTo>
                    <a:pt x="341" y="683"/>
                  </a:lnTo>
                  <a:lnTo>
                    <a:pt x="341" y="683"/>
                  </a:lnTo>
                  <a:lnTo>
                    <a:pt x="341" y="683"/>
                  </a:lnTo>
                  <a:close/>
                </a:path>
              </a:pathLst>
            </a:custGeom>
            <a:solidFill>
              <a:schemeClr val="bg2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78" name="Freeform 522">
              <a:extLst>
                <a:ext uri="{FF2B5EF4-FFF2-40B4-BE49-F238E27FC236}">
                  <a16:creationId xmlns:a16="http://schemas.microsoft.com/office/drawing/2014/main" id="{DB2C49E5-EFB4-44D4-AAB5-79AB33037F3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197994" y="2087303"/>
              <a:ext cx="41438" cy="39908"/>
            </a:xfrm>
            <a:custGeom>
              <a:avLst/>
              <a:gdLst>
                <a:gd name="T0" fmla="*/ 156 w 270"/>
                <a:gd name="T1" fmla="*/ 0 h 260"/>
                <a:gd name="T2" fmla="*/ 161 w 270"/>
                <a:gd name="T3" fmla="*/ 0 h 260"/>
                <a:gd name="T4" fmla="*/ 161 w 270"/>
                <a:gd name="T5" fmla="*/ 0 h 260"/>
                <a:gd name="T6" fmla="*/ 270 w 270"/>
                <a:gd name="T7" fmla="*/ 49 h 260"/>
                <a:gd name="T8" fmla="*/ 237 w 270"/>
                <a:gd name="T9" fmla="*/ 78 h 260"/>
                <a:gd name="T10" fmla="*/ 253 w 270"/>
                <a:gd name="T11" fmla="*/ 104 h 260"/>
                <a:gd name="T12" fmla="*/ 232 w 270"/>
                <a:gd name="T13" fmla="*/ 132 h 260"/>
                <a:gd name="T14" fmla="*/ 178 w 270"/>
                <a:gd name="T15" fmla="*/ 161 h 260"/>
                <a:gd name="T16" fmla="*/ 199 w 270"/>
                <a:gd name="T17" fmla="*/ 205 h 260"/>
                <a:gd name="T18" fmla="*/ 185 w 270"/>
                <a:gd name="T19" fmla="*/ 222 h 260"/>
                <a:gd name="T20" fmla="*/ 185 w 270"/>
                <a:gd name="T21" fmla="*/ 243 h 260"/>
                <a:gd name="T22" fmla="*/ 161 w 270"/>
                <a:gd name="T23" fmla="*/ 260 h 260"/>
                <a:gd name="T24" fmla="*/ 168 w 270"/>
                <a:gd name="T25" fmla="*/ 222 h 260"/>
                <a:gd name="T26" fmla="*/ 130 w 270"/>
                <a:gd name="T27" fmla="*/ 217 h 260"/>
                <a:gd name="T28" fmla="*/ 109 w 270"/>
                <a:gd name="T29" fmla="*/ 198 h 260"/>
                <a:gd name="T30" fmla="*/ 85 w 270"/>
                <a:gd name="T31" fmla="*/ 198 h 260"/>
                <a:gd name="T32" fmla="*/ 69 w 270"/>
                <a:gd name="T33" fmla="*/ 198 h 260"/>
                <a:gd name="T34" fmla="*/ 59 w 270"/>
                <a:gd name="T35" fmla="*/ 198 h 260"/>
                <a:gd name="T36" fmla="*/ 0 w 270"/>
                <a:gd name="T37" fmla="*/ 189 h 260"/>
                <a:gd name="T38" fmla="*/ 31 w 270"/>
                <a:gd name="T39" fmla="*/ 182 h 260"/>
                <a:gd name="T40" fmla="*/ 55 w 270"/>
                <a:gd name="T41" fmla="*/ 198 h 260"/>
                <a:gd name="T42" fmla="*/ 38 w 270"/>
                <a:gd name="T43" fmla="*/ 182 h 260"/>
                <a:gd name="T44" fmla="*/ 22 w 270"/>
                <a:gd name="T45" fmla="*/ 165 h 260"/>
                <a:gd name="T46" fmla="*/ 31 w 270"/>
                <a:gd name="T47" fmla="*/ 161 h 260"/>
                <a:gd name="T48" fmla="*/ 38 w 270"/>
                <a:gd name="T49" fmla="*/ 144 h 260"/>
                <a:gd name="T50" fmla="*/ 85 w 270"/>
                <a:gd name="T51" fmla="*/ 94 h 260"/>
                <a:gd name="T52" fmla="*/ 168 w 270"/>
                <a:gd name="T53" fmla="*/ 94 h 260"/>
                <a:gd name="T54" fmla="*/ 156 w 270"/>
                <a:gd name="T55" fmla="*/ 78 h 260"/>
                <a:gd name="T56" fmla="*/ 161 w 270"/>
                <a:gd name="T57" fmla="*/ 66 h 260"/>
                <a:gd name="T58" fmla="*/ 140 w 270"/>
                <a:gd name="T59" fmla="*/ 38 h 260"/>
                <a:gd name="T60" fmla="*/ 123 w 270"/>
                <a:gd name="T61" fmla="*/ 66 h 260"/>
                <a:gd name="T62" fmla="*/ 114 w 270"/>
                <a:gd name="T63" fmla="*/ 78 h 260"/>
                <a:gd name="T64" fmla="*/ 114 w 270"/>
                <a:gd name="T65" fmla="*/ 104 h 260"/>
                <a:gd name="T66" fmla="*/ 93 w 270"/>
                <a:gd name="T67" fmla="*/ 49 h 260"/>
                <a:gd name="T68" fmla="*/ 114 w 270"/>
                <a:gd name="T69" fmla="*/ 49 h 260"/>
                <a:gd name="T70" fmla="*/ 178 w 270"/>
                <a:gd name="T71" fmla="*/ 9 h 260"/>
                <a:gd name="T72" fmla="*/ 270 w 270"/>
                <a:gd name="T73" fmla="*/ 21 h 260"/>
                <a:gd name="T74" fmla="*/ 270 w 270"/>
                <a:gd name="T75" fmla="*/ 21 h 260"/>
                <a:gd name="T76" fmla="*/ 93 w 270"/>
                <a:gd name="T77" fmla="*/ 38 h 260"/>
                <a:gd name="T78" fmla="*/ 109 w 270"/>
                <a:gd name="T79" fmla="*/ 38 h 260"/>
                <a:gd name="T80" fmla="*/ 93 w 270"/>
                <a:gd name="T81" fmla="*/ 49 h 260"/>
                <a:gd name="T82" fmla="*/ 114 w 270"/>
                <a:gd name="T83" fmla="*/ 104 h 260"/>
                <a:gd name="T84" fmla="*/ 130 w 270"/>
                <a:gd name="T85" fmla="*/ 71 h 260"/>
                <a:gd name="T86" fmla="*/ 123 w 270"/>
                <a:gd name="T87" fmla="*/ 104 h 260"/>
                <a:gd name="T88" fmla="*/ 114 w 270"/>
                <a:gd name="T89" fmla="*/ 104 h 260"/>
                <a:gd name="T90" fmla="*/ 114 w 270"/>
                <a:gd name="T91" fmla="*/ 104 h 260"/>
                <a:gd name="T92" fmla="*/ 140 w 270"/>
                <a:gd name="T93" fmla="*/ 120 h 260"/>
                <a:gd name="T94" fmla="*/ 156 w 270"/>
                <a:gd name="T95" fmla="*/ 87 h 260"/>
                <a:gd name="T96" fmla="*/ 168 w 270"/>
                <a:gd name="T97" fmla="*/ 104 h 260"/>
                <a:gd name="T98" fmla="*/ 156 w 270"/>
                <a:gd name="T99" fmla="*/ 104 h 260"/>
                <a:gd name="T100" fmla="*/ 59 w 270"/>
                <a:gd name="T101" fmla="*/ 205 h 260"/>
                <a:gd name="T102" fmla="*/ 17 w 270"/>
                <a:gd name="T103" fmla="*/ 205 h 260"/>
                <a:gd name="T104" fmla="*/ 0 w 270"/>
                <a:gd name="T105" fmla="*/ 198 h 260"/>
                <a:gd name="T106" fmla="*/ 59 w 270"/>
                <a:gd name="T107" fmla="*/ 205 h 2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70" h="260">
                  <a:moveTo>
                    <a:pt x="161" y="0"/>
                  </a:moveTo>
                  <a:lnTo>
                    <a:pt x="156" y="0"/>
                  </a:lnTo>
                  <a:lnTo>
                    <a:pt x="178" y="0"/>
                  </a:lnTo>
                  <a:lnTo>
                    <a:pt x="161" y="0"/>
                  </a:lnTo>
                  <a:lnTo>
                    <a:pt x="161" y="0"/>
                  </a:lnTo>
                  <a:lnTo>
                    <a:pt x="161" y="0"/>
                  </a:lnTo>
                  <a:close/>
                  <a:moveTo>
                    <a:pt x="270" y="21"/>
                  </a:moveTo>
                  <a:lnTo>
                    <a:pt x="270" y="49"/>
                  </a:lnTo>
                  <a:lnTo>
                    <a:pt x="253" y="78"/>
                  </a:lnTo>
                  <a:lnTo>
                    <a:pt x="237" y="78"/>
                  </a:lnTo>
                  <a:lnTo>
                    <a:pt x="232" y="87"/>
                  </a:lnTo>
                  <a:lnTo>
                    <a:pt x="253" y="104"/>
                  </a:lnTo>
                  <a:lnTo>
                    <a:pt x="253" y="120"/>
                  </a:lnTo>
                  <a:lnTo>
                    <a:pt x="232" y="132"/>
                  </a:lnTo>
                  <a:lnTo>
                    <a:pt x="237" y="144"/>
                  </a:lnTo>
                  <a:lnTo>
                    <a:pt x="178" y="161"/>
                  </a:lnTo>
                  <a:lnTo>
                    <a:pt x="199" y="189"/>
                  </a:lnTo>
                  <a:lnTo>
                    <a:pt x="199" y="205"/>
                  </a:lnTo>
                  <a:lnTo>
                    <a:pt x="185" y="217"/>
                  </a:lnTo>
                  <a:lnTo>
                    <a:pt x="185" y="222"/>
                  </a:lnTo>
                  <a:lnTo>
                    <a:pt x="168" y="234"/>
                  </a:lnTo>
                  <a:lnTo>
                    <a:pt x="185" y="243"/>
                  </a:lnTo>
                  <a:lnTo>
                    <a:pt x="185" y="260"/>
                  </a:lnTo>
                  <a:lnTo>
                    <a:pt x="161" y="260"/>
                  </a:lnTo>
                  <a:lnTo>
                    <a:pt x="156" y="255"/>
                  </a:lnTo>
                  <a:lnTo>
                    <a:pt x="168" y="222"/>
                  </a:lnTo>
                  <a:lnTo>
                    <a:pt x="147" y="205"/>
                  </a:lnTo>
                  <a:lnTo>
                    <a:pt x="130" y="217"/>
                  </a:lnTo>
                  <a:lnTo>
                    <a:pt x="114" y="189"/>
                  </a:lnTo>
                  <a:lnTo>
                    <a:pt x="109" y="198"/>
                  </a:lnTo>
                  <a:lnTo>
                    <a:pt x="102" y="189"/>
                  </a:lnTo>
                  <a:lnTo>
                    <a:pt x="85" y="198"/>
                  </a:lnTo>
                  <a:lnTo>
                    <a:pt x="76" y="189"/>
                  </a:lnTo>
                  <a:lnTo>
                    <a:pt x="69" y="198"/>
                  </a:lnTo>
                  <a:lnTo>
                    <a:pt x="69" y="205"/>
                  </a:lnTo>
                  <a:lnTo>
                    <a:pt x="59" y="198"/>
                  </a:lnTo>
                  <a:lnTo>
                    <a:pt x="31" y="198"/>
                  </a:lnTo>
                  <a:lnTo>
                    <a:pt x="0" y="189"/>
                  </a:lnTo>
                  <a:lnTo>
                    <a:pt x="31" y="182"/>
                  </a:lnTo>
                  <a:lnTo>
                    <a:pt x="31" y="182"/>
                  </a:lnTo>
                  <a:lnTo>
                    <a:pt x="31" y="182"/>
                  </a:lnTo>
                  <a:lnTo>
                    <a:pt x="55" y="198"/>
                  </a:lnTo>
                  <a:lnTo>
                    <a:pt x="59" y="198"/>
                  </a:lnTo>
                  <a:lnTo>
                    <a:pt x="38" y="182"/>
                  </a:lnTo>
                  <a:lnTo>
                    <a:pt x="55" y="182"/>
                  </a:lnTo>
                  <a:lnTo>
                    <a:pt x="22" y="165"/>
                  </a:lnTo>
                  <a:lnTo>
                    <a:pt x="55" y="177"/>
                  </a:lnTo>
                  <a:lnTo>
                    <a:pt x="31" y="161"/>
                  </a:lnTo>
                  <a:lnTo>
                    <a:pt x="48" y="161"/>
                  </a:lnTo>
                  <a:lnTo>
                    <a:pt x="38" y="144"/>
                  </a:lnTo>
                  <a:lnTo>
                    <a:pt x="69" y="127"/>
                  </a:lnTo>
                  <a:lnTo>
                    <a:pt x="85" y="94"/>
                  </a:lnTo>
                  <a:lnTo>
                    <a:pt x="140" y="120"/>
                  </a:lnTo>
                  <a:lnTo>
                    <a:pt x="168" y="94"/>
                  </a:lnTo>
                  <a:lnTo>
                    <a:pt x="168" y="78"/>
                  </a:lnTo>
                  <a:lnTo>
                    <a:pt x="156" y="78"/>
                  </a:lnTo>
                  <a:lnTo>
                    <a:pt x="156" y="71"/>
                  </a:lnTo>
                  <a:lnTo>
                    <a:pt x="161" y="66"/>
                  </a:lnTo>
                  <a:lnTo>
                    <a:pt x="140" y="54"/>
                  </a:lnTo>
                  <a:lnTo>
                    <a:pt x="140" y="38"/>
                  </a:lnTo>
                  <a:lnTo>
                    <a:pt x="114" y="49"/>
                  </a:lnTo>
                  <a:lnTo>
                    <a:pt x="123" y="66"/>
                  </a:lnTo>
                  <a:lnTo>
                    <a:pt x="130" y="71"/>
                  </a:lnTo>
                  <a:lnTo>
                    <a:pt x="114" y="78"/>
                  </a:lnTo>
                  <a:lnTo>
                    <a:pt x="114" y="94"/>
                  </a:lnTo>
                  <a:lnTo>
                    <a:pt x="114" y="104"/>
                  </a:lnTo>
                  <a:lnTo>
                    <a:pt x="85" y="94"/>
                  </a:lnTo>
                  <a:lnTo>
                    <a:pt x="93" y="49"/>
                  </a:lnTo>
                  <a:lnTo>
                    <a:pt x="102" y="54"/>
                  </a:lnTo>
                  <a:lnTo>
                    <a:pt x="114" y="49"/>
                  </a:lnTo>
                  <a:lnTo>
                    <a:pt x="156" y="16"/>
                  </a:lnTo>
                  <a:lnTo>
                    <a:pt x="178" y="9"/>
                  </a:lnTo>
                  <a:lnTo>
                    <a:pt x="232" y="0"/>
                  </a:lnTo>
                  <a:lnTo>
                    <a:pt x="270" y="21"/>
                  </a:lnTo>
                  <a:lnTo>
                    <a:pt x="270" y="21"/>
                  </a:lnTo>
                  <a:lnTo>
                    <a:pt x="270" y="21"/>
                  </a:lnTo>
                  <a:close/>
                  <a:moveTo>
                    <a:pt x="93" y="49"/>
                  </a:moveTo>
                  <a:lnTo>
                    <a:pt x="93" y="38"/>
                  </a:lnTo>
                  <a:lnTo>
                    <a:pt x="102" y="21"/>
                  </a:lnTo>
                  <a:lnTo>
                    <a:pt x="109" y="38"/>
                  </a:lnTo>
                  <a:lnTo>
                    <a:pt x="93" y="49"/>
                  </a:lnTo>
                  <a:lnTo>
                    <a:pt x="93" y="49"/>
                  </a:lnTo>
                  <a:lnTo>
                    <a:pt x="93" y="49"/>
                  </a:lnTo>
                  <a:close/>
                  <a:moveTo>
                    <a:pt x="114" y="104"/>
                  </a:moveTo>
                  <a:lnTo>
                    <a:pt x="114" y="78"/>
                  </a:lnTo>
                  <a:lnTo>
                    <a:pt x="130" y="71"/>
                  </a:lnTo>
                  <a:lnTo>
                    <a:pt x="147" y="87"/>
                  </a:lnTo>
                  <a:lnTo>
                    <a:pt x="123" y="104"/>
                  </a:lnTo>
                  <a:lnTo>
                    <a:pt x="114" y="104"/>
                  </a:lnTo>
                  <a:lnTo>
                    <a:pt x="114" y="104"/>
                  </a:lnTo>
                  <a:lnTo>
                    <a:pt x="114" y="104"/>
                  </a:lnTo>
                  <a:lnTo>
                    <a:pt x="114" y="104"/>
                  </a:lnTo>
                  <a:close/>
                  <a:moveTo>
                    <a:pt x="156" y="104"/>
                  </a:moveTo>
                  <a:lnTo>
                    <a:pt x="140" y="120"/>
                  </a:lnTo>
                  <a:lnTo>
                    <a:pt x="123" y="104"/>
                  </a:lnTo>
                  <a:lnTo>
                    <a:pt x="156" y="87"/>
                  </a:lnTo>
                  <a:lnTo>
                    <a:pt x="168" y="87"/>
                  </a:lnTo>
                  <a:lnTo>
                    <a:pt x="168" y="104"/>
                  </a:lnTo>
                  <a:lnTo>
                    <a:pt x="156" y="104"/>
                  </a:lnTo>
                  <a:lnTo>
                    <a:pt x="156" y="104"/>
                  </a:lnTo>
                  <a:lnTo>
                    <a:pt x="156" y="104"/>
                  </a:lnTo>
                  <a:close/>
                  <a:moveTo>
                    <a:pt x="59" y="205"/>
                  </a:moveTo>
                  <a:lnTo>
                    <a:pt x="31" y="217"/>
                  </a:lnTo>
                  <a:lnTo>
                    <a:pt x="17" y="205"/>
                  </a:lnTo>
                  <a:lnTo>
                    <a:pt x="0" y="217"/>
                  </a:lnTo>
                  <a:lnTo>
                    <a:pt x="0" y="198"/>
                  </a:lnTo>
                  <a:lnTo>
                    <a:pt x="59" y="205"/>
                  </a:lnTo>
                  <a:lnTo>
                    <a:pt x="59" y="205"/>
                  </a:lnTo>
                  <a:lnTo>
                    <a:pt x="59" y="205"/>
                  </a:lnTo>
                  <a:close/>
                </a:path>
              </a:pathLst>
            </a:custGeom>
            <a:solidFill>
              <a:schemeClr val="bg2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79" name="Freeform 523">
              <a:extLst>
                <a:ext uri="{FF2B5EF4-FFF2-40B4-BE49-F238E27FC236}">
                  <a16:creationId xmlns:a16="http://schemas.microsoft.com/office/drawing/2014/main" id="{5FBF58F2-6BFE-47BF-B397-9CAADA83067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213649" y="1780933"/>
              <a:ext cx="282701" cy="235610"/>
            </a:xfrm>
            <a:custGeom>
              <a:avLst/>
              <a:gdLst>
                <a:gd name="T0" fmla="*/ 1713 w 1842"/>
                <a:gd name="T1" fmla="*/ 238 h 1535"/>
                <a:gd name="T2" fmla="*/ 1285 w 1842"/>
                <a:gd name="T3" fmla="*/ 326 h 1535"/>
                <a:gd name="T4" fmla="*/ 919 w 1842"/>
                <a:gd name="T5" fmla="*/ 411 h 1535"/>
                <a:gd name="T6" fmla="*/ 546 w 1842"/>
                <a:gd name="T7" fmla="*/ 886 h 1535"/>
                <a:gd name="T8" fmla="*/ 470 w 1842"/>
                <a:gd name="T9" fmla="*/ 1441 h 1535"/>
                <a:gd name="T10" fmla="*/ 399 w 1842"/>
                <a:gd name="T11" fmla="*/ 1403 h 1535"/>
                <a:gd name="T12" fmla="*/ 92 w 1842"/>
                <a:gd name="T13" fmla="*/ 1453 h 1535"/>
                <a:gd name="T14" fmla="*/ 54 w 1842"/>
                <a:gd name="T15" fmla="*/ 1386 h 1535"/>
                <a:gd name="T16" fmla="*/ 163 w 1842"/>
                <a:gd name="T17" fmla="*/ 1268 h 1535"/>
                <a:gd name="T18" fmla="*/ 54 w 1842"/>
                <a:gd name="T19" fmla="*/ 1242 h 1535"/>
                <a:gd name="T20" fmla="*/ 189 w 1842"/>
                <a:gd name="T21" fmla="*/ 1164 h 1535"/>
                <a:gd name="T22" fmla="*/ 21 w 1842"/>
                <a:gd name="T23" fmla="*/ 1148 h 1535"/>
                <a:gd name="T24" fmla="*/ 97 w 1842"/>
                <a:gd name="T25" fmla="*/ 1058 h 1535"/>
                <a:gd name="T26" fmla="*/ 206 w 1842"/>
                <a:gd name="T27" fmla="*/ 1049 h 1535"/>
                <a:gd name="T28" fmla="*/ 227 w 1842"/>
                <a:gd name="T29" fmla="*/ 980 h 1535"/>
                <a:gd name="T30" fmla="*/ 361 w 1842"/>
                <a:gd name="T31" fmla="*/ 947 h 1535"/>
                <a:gd name="T32" fmla="*/ 352 w 1842"/>
                <a:gd name="T33" fmla="*/ 938 h 1535"/>
                <a:gd name="T34" fmla="*/ 470 w 1842"/>
                <a:gd name="T35" fmla="*/ 815 h 1535"/>
                <a:gd name="T36" fmla="*/ 541 w 1842"/>
                <a:gd name="T37" fmla="*/ 720 h 1535"/>
                <a:gd name="T38" fmla="*/ 567 w 1842"/>
                <a:gd name="T39" fmla="*/ 626 h 1535"/>
                <a:gd name="T40" fmla="*/ 659 w 1842"/>
                <a:gd name="T41" fmla="*/ 503 h 1535"/>
                <a:gd name="T42" fmla="*/ 692 w 1842"/>
                <a:gd name="T43" fmla="*/ 465 h 1535"/>
                <a:gd name="T44" fmla="*/ 702 w 1842"/>
                <a:gd name="T45" fmla="*/ 420 h 1535"/>
                <a:gd name="T46" fmla="*/ 801 w 1842"/>
                <a:gd name="T47" fmla="*/ 387 h 1535"/>
                <a:gd name="T48" fmla="*/ 848 w 1842"/>
                <a:gd name="T49" fmla="*/ 338 h 1535"/>
                <a:gd name="T50" fmla="*/ 994 w 1842"/>
                <a:gd name="T51" fmla="*/ 243 h 1535"/>
                <a:gd name="T52" fmla="*/ 1049 w 1842"/>
                <a:gd name="T53" fmla="*/ 189 h 1535"/>
                <a:gd name="T54" fmla="*/ 1172 w 1842"/>
                <a:gd name="T55" fmla="*/ 111 h 1535"/>
                <a:gd name="T56" fmla="*/ 1318 w 1842"/>
                <a:gd name="T57" fmla="*/ 94 h 1535"/>
                <a:gd name="T58" fmla="*/ 1431 w 1842"/>
                <a:gd name="T59" fmla="*/ 104 h 1535"/>
                <a:gd name="T60" fmla="*/ 1557 w 1842"/>
                <a:gd name="T61" fmla="*/ 71 h 1535"/>
                <a:gd name="T62" fmla="*/ 1625 w 1842"/>
                <a:gd name="T63" fmla="*/ 94 h 1535"/>
                <a:gd name="T64" fmla="*/ 1826 w 1842"/>
                <a:gd name="T65" fmla="*/ 94 h 1535"/>
                <a:gd name="T66" fmla="*/ 1798 w 1842"/>
                <a:gd name="T67" fmla="*/ 189 h 1535"/>
                <a:gd name="T68" fmla="*/ 1205 w 1842"/>
                <a:gd name="T69" fmla="*/ 61 h 1535"/>
                <a:gd name="T70" fmla="*/ 1351 w 1842"/>
                <a:gd name="T71" fmla="*/ 71 h 1535"/>
                <a:gd name="T72" fmla="*/ 1188 w 1842"/>
                <a:gd name="T73" fmla="*/ 116 h 1535"/>
                <a:gd name="T74" fmla="*/ 999 w 1842"/>
                <a:gd name="T75" fmla="*/ 132 h 1535"/>
                <a:gd name="T76" fmla="*/ 1124 w 1842"/>
                <a:gd name="T77" fmla="*/ 132 h 1535"/>
                <a:gd name="T78" fmla="*/ 1124 w 1842"/>
                <a:gd name="T79" fmla="*/ 160 h 1535"/>
                <a:gd name="T80" fmla="*/ 1750 w 1842"/>
                <a:gd name="T81" fmla="*/ 182 h 1535"/>
                <a:gd name="T82" fmla="*/ 940 w 1842"/>
                <a:gd name="T83" fmla="*/ 198 h 1535"/>
                <a:gd name="T84" fmla="*/ 919 w 1842"/>
                <a:gd name="T85" fmla="*/ 238 h 1535"/>
                <a:gd name="T86" fmla="*/ 876 w 1842"/>
                <a:gd name="T87" fmla="*/ 276 h 1535"/>
                <a:gd name="T88" fmla="*/ 676 w 1842"/>
                <a:gd name="T89" fmla="*/ 326 h 1535"/>
                <a:gd name="T90" fmla="*/ 768 w 1842"/>
                <a:gd name="T91" fmla="*/ 349 h 1535"/>
                <a:gd name="T92" fmla="*/ 709 w 1842"/>
                <a:gd name="T93" fmla="*/ 293 h 1535"/>
                <a:gd name="T94" fmla="*/ 794 w 1842"/>
                <a:gd name="T95" fmla="*/ 354 h 1535"/>
                <a:gd name="T96" fmla="*/ 654 w 1842"/>
                <a:gd name="T97" fmla="*/ 371 h 1535"/>
                <a:gd name="T98" fmla="*/ 583 w 1842"/>
                <a:gd name="T99" fmla="*/ 404 h 1535"/>
                <a:gd name="T100" fmla="*/ 725 w 1842"/>
                <a:gd name="T101" fmla="*/ 411 h 1535"/>
                <a:gd name="T102" fmla="*/ 529 w 1842"/>
                <a:gd name="T103" fmla="*/ 666 h 1535"/>
                <a:gd name="T104" fmla="*/ 498 w 1842"/>
                <a:gd name="T105" fmla="*/ 753 h 1535"/>
                <a:gd name="T106" fmla="*/ 454 w 1842"/>
                <a:gd name="T107" fmla="*/ 810 h 1535"/>
                <a:gd name="T108" fmla="*/ 255 w 1842"/>
                <a:gd name="T109" fmla="*/ 942 h 1535"/>
                <a:gd name="T110" fmla="*/ 260 w 1842"/>
                <a:gd name="T111" fmla="*/ 959 h 1535"/>
                <a:gd name="T112" fmla="*/ 239 w 1842"/>
                <a:gd name="T113" fmla="*/ 975 h 1535"/>
                <a:gd name="T114" fmla="*/ 135 w 1842"/>
                <a:gd name="T115" fmla="*/ 1020 h 1535"/>
                <a:gd name="T116" fmla="*/ 66 w 1842"/>
                <a:gd name="T117" fmla="*/ 1075 h 1535"/>
                <a:gd name="T118" fmla="*/ 7 w 1842"/>
                <a:gd name="T119" fmla="*/ 1131 h 1535"/>
                <a:gd name="T120" fmla="*/ 21 w 1842"/>
                <a:gd name="T121" fmla="*/ 1280 h 1535"/>
                <a:gd name="T122" fmla="*/ 28 w 1842"/>
                <a:gd name="T123" fmla="*/ 1325 h 1535"/>
                <a:gd name="T124" fmla="*/ 38 w 1842"/>
                <a:gd name="T125" fmla="*/ 1353 h 15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842" h="1535">
                  <a:moveTo>
                    <a:pt x="1457" y="33"/>
                  </a:moveTo>
                  <a:lnTo>
                    <a:pt x="1443" y="21"/>
                  </a:lnTo>
                  <a:lnTo>
                    <a:pt x="1448" y="16"/>
                  </a:lnTo>
                  <a:lnTo>
                    <a:pt x="1431" y="16"/>
                  </a:lnTo>
                  <a:lnTo>
                    <a:pt x="1465" y="0"/>
                  </a:lnTo>
                  <a:lnTo>
                    <a:pt x="1486" y="5"/>
                  </a:lnTo>
                  <a:lnTo>
                    <a:pt x="1481" y="21"/>
                  </a:lnTo>
                  <a:lnTo>
                    <a:pt x="1495" y="16"/>
                  </a:lnTo>
                  <a:lnTo>
                    <a:pt x="1457" y="33"/>
                  </a:lnTo>
                  <a:lnTo>
                    <a:pt x="1457" y="33"/>
                  </a:lnTo>
                  <a:lnTo>
                    <a:pt x="1457" y="33"/>
                  </a:lnTo>
                  <a:close/>
                  <a:moveTo>
                    <a:pt x="1826" y="172"/>
                  </a:moveTo>
                  <a:lnTo>
                    <a:pt x="1826" y="189"/>
                  </a:lnTo>
                  <a:lnTo>
                    <a:pt x="1826" y="205"/>
                  </a:lnTo>
                  <a:lnTo>
                    <a:pt x="1805" y="205"/>
                  </a:lnTo>
                  <a:lnTo>
                    <a:pt x="1772" y="198"/>
                  </a:lnTo>
                  <a:lnTo>
                    <a:pt x="1772" y="205"/>
                  </a:lnTo>
                  <a:lnTo>
                    <a:pt x="1772" y="215"/>
                  </a:lnTo>
                  <a:lnTo>
                    <a:pt x="1713" y="238"/>
                  </a:lnTo>
                  <a:lnTo>
                    <a:pt x="1713" y="260"/>
                  </a:lnTo>
                  <a:lnTo>
                    <a:pt x="1691" y="272"/>
                  </a:lnTo>
                  <a:lnTo>
                    <a:pt x="1680" y="260"/>
                  </a:lnTo>
                  <a:lnTo>
                    <a:pt x="1680" y="243"/>
                  </a:lnTo>
                  <a:lnTo>
                    <a:pt x="1713" y="215"/>
                  </a:lnTo>
                  <a:lnTo>
                    <a:pt x="1701" y="189"/>
                  </a:lnTo>
                  <a:lnTo>
                    <a:pt x="1646" y="172"/>
                  </a:lnTo>
                  <a:lnTo>
                    <a:pt x="1620" y="144"/>
                  </a:lnTo>
                  <a:lnTo>
                    <a:pt x="1557" y="165"/>
                  </a:lnTo>
                  <a:lnTo>
                    <a:pt x="1519" y="160"/>
                  </a:lnTo>
                  <a:lnTo>
                    <a:pt x="1481" y="189"/>
                  </a:lnTo>
                  <a:lnTo>
                    <a:pt x="1465" y="243"/>
                  </a:lnTo>
                  <a:lnTo>
                    <a:pt x="1465" y="276"/>
                  </a:lnTo>
                  <a:lnTo>
                    <a:pt x="1457" y="293"/>
                  </a:lnTo>
                  <a:lnTo>
                    <a:pt x="1427" y="300"/>
                  </a:lnTo>
                  <a:lnTo>
                    <a:pt x="1420" y="326"/>
                  </a:lnTo>
                  <a:lnTo>
                    <a:pt x="1410" y="333"/>
                  </a:lnTo>
                  <a:lnTo>
                    <a:pt x="1339" y="300"/>
                  </a:lnTo>
                  <a:lnTo>
                    <a:pt x="1285" y="326"/>
                  </a:lnTo>
                  <a:lnTo>
                    <a:pt x="1231" y="316"/>
                  </a:lnTo>
                  <a:lnTo>
                    <a:pt x="1226" y="300"/>
                  </a:lnTo>
                  <a:lnTo>
                    <a:pt x="1179" y="243"/>
                  </a:lnTo>
                  <a:lnTo>
                    <a:pt x="1155" y="238"/>
                  </a:lnTo>
                  <a:lnTo>
                    <a:pt x="1134" y="255"/>
                  </a:lnTo>
                  <a:lnTo>
                    <a:pt x="1141" y="260"/>
                  </a:lnTo>
                  <a:lnTo>
                    <a:pt x="1134" y="276"/>
                  </a:lnTo>
                  <a:lnTo>
                    <a:pt x="1103" y="272"/>
                  </a:lnTo>
                  <a:lnTo>
                    <a:pt x="1070" y="272"/>
                  </a:lnTo>
                  <a:lnTo>
                    <a:pt x="1087" y="283"/>
                  </a:lnTo>
                  <a:lnTo>
                    <a:pt x="1087" y="300"/>
                  </a:lnTo>
                  <a:lnTo>
                    <a:pt x="1054" y="333"/>
                  </a:lnTo>
                  <a:lnTo>
                    <a:pt x="1080" y="338"/>
                  </a:lnTo>
                  <a:lnTo>
                    <a:pt x="1054" y="366"/>
                  </a:lnTo>
                  <a:lnTo>
                    <a:pt x="983" y="338"/>
                  </a:lnTo>
                  <a:lnTo>
                    <a:pt x="924" y="338"/>
                  </a:lnTo>
                  <a:lnTo>
                    <a:pt x="924" y="349"/>
                  </a:lnTo>
                  <a:lnTo>
                    <a:pt x="928" y="383"/>
                  </a:lnTo>
                  <a:lnTo>
                    <a:pt x="919" y="411"/>
                  </a:lnTo>
                  <a:lnTo>
                    <a:pt x="869" y="387"/>
                  </a:lnTo>
                  <a:lnTo>
                    <a:pt x="831" y="411"/>
                  </a:lnTo>
                  <a:lnTo>
                    <a:pt x="815" y="449"/>
                  </a:lnTo>
                  <a:lnTo>
                    <a:pt x="784" y="477"/>
                  </a:lnTo>
                  <a:lnTo>
                    <a:pt x="810" y="498"/>
                  </a:lnTo>
                  <a:lnTo>
                    <a:pt x="810" y="522"/>
                  </a:lnTo>
                  <a:lnTo>
                    <a:pt x="739" y="588"/>
                  </a:lnTo>
                  <a:lnTo>
                    <a:pt x="746" y="609"/>
                  </a:lnTo>
                  <a:lnTo>
                    <a:pt x="713" y="626"/>
                  </a:lnTo>
                  <a:lnTo>
                    <a:pt x="676" y="631"/>
                  </a:lnTo>
                  <a:lnTo>
                    <a:pt x="687" y="666"/>
                  </a:lnTo>
                  <a:lnTo>
                    <a:pt x="676" y="699"/>
                  </a:lnTo>
                  <a:lnTo>
                    <a:pt x="676" y="725"/>
                  </a:lnTo>
                  <a:lnTo>
                    <a:pt x="617" y="815"/>
                  </a:lnTo>
                  <a:lnTo>
                    <a:pt x="650" y="827"/>
                  </a:lnTo>
                  <a:lnTo>
                    <a:pt x="654" y="853"/>
                  </a:lnTo>
                  <a:lnTo>
                    <a:pt x="638" y="881"/>
                  </a:lnTo>
                  <a:lnTo>
                    <a:pt x="567" y="869"/>
                  </a:lnTo>
                  <a:lnTo>
                    <a:pt x="546" y="886"/>
                  </a:lnTo>
                  <a:lnTo>
                    <a:pt x="508" y="926"/>
                  </a:lnTo>
                  <a:lnTo>
                    <a:pt x="513" y="938"/>
                  </a:lnTo>
                  <a:lnTo>
                    <a:pt x="498" y="964"/>
                  </a:lnTo>
                  <a:lnTo>
                    <a:pt x="513" y="992"/>
                  </a:lnTo>
                  <a:lnTo>
                    <a:pt x="498" y="1004"/>
                  </a:lnTo>
                  <a:lnTo>
                    <a:pt x="508" y="1037"/>
                  </a:lnTo>
                  <a:lnTo>
                    <a:pt x="524" y="1075"/>
                  </a:lnTo>
                  <a:lnTo>
                    <a:pt x="508" y="1131"/>
                  </a:lnTo>
                  <a:lnTo>
                    <a:pt x="562" y="1181"/>
                  </a:lnTo>
                  <a:lnTo>
                    <a:pt x="546" y="1214"/>
                  </a:lnTo>
                  <a:lnTo>
                    <a:pt x="513" y="1214"/>
                  </a:lnTo>
                  <a:lnTo>
                    <a:pt x="546" y="1275"/>
                  </a:lnTo>
                  <a:lnTo>
                    <a:pt x="529" y="1313"/>
                  </a:lnTo>
                  <a:lnTo>
                    <a:pt x="508" y="1337"/>
                  </a:lnTo>
                  <a:lnTo>
                    <a:pt x="487" y="1337"/>
                  </a:lnTo>
                  <a:lnTo>
                    <a:pt x="491" y="1353"/>
                  </a:lnTo>
                  <a:lnTo>
                    <a:pt x="475" y="1370"/>
                  </a:lnTo>
                  <a:lnTo>
                    <a:pt x="487" y="1403"/>
                  </a:lnTo>
                  <a:lnTo>
                    <a:pt x="470" y="1441"/>
                  </a:lnTo>
                  <a:lnTo>
                    <a:pt x="461" y="1441"/>
                  </a:lnTo>
                  <a:lnTo>
                    <a:pt x="461" y="1436"/>
                  </a:lnTo>
                  <a:lnTo>
                    <a:pt x="454" y="1420"/>
                  </a:lnTo>
                  <a:lnTo>
                    <a:pt x="416" y="1408"/>
                  </a:lnTo>
                  <a:lnTo>
                    <a:pt x="399" y="1353"/>
                  </a:lnTo>
                  <a:lnTo>
                    <a:pt x="406" y="1337"/>
                  </a:lnTo>
                  <a:lnTo>
                    <a:pt x="416" y="1346"/>
                  </a:lnTo>
                  <a:lnTo>
                    <a:pt x="406" y="1330"/>
                  </a:lnTo>
                  <a:lnTo>
                    <a:pt x="390" y="1337"/>
                  </a:lnTo>
                  <a:lnTo>
                    <a:pt x="399" y="1370"/>
                  </a:lnTo>
                  <a:lnTo>
                    <a:pt x="399" y="1379"/>
                  </a:lnTo>
                  <a:lnTo>
                    <a:pt x="390" y="1379"/>
                  </a:lnTo>
                  <a:lnTo>
                    <a:pt x="385" y="1353"/>
                  </a:lnTo>
                  <a:lnTo>
                    <a:pt x="378" y="1353"/>
                  </a:lnTo>
                  <a:lnTo>
                    <a:pt x="390" y="1370"/>
                  </a:lnTo>
                  <a:lnTo>
                    <a:pt x="385" y="1379"/>
                  </a:lnTo>
                  <a:lnTo>
                    <a:pt x="378" y="1370"/>
                  </a:lnTo>
                  <a:lnTo>
                    <a:pt x="390" y="1386"/>
                  </a:lnTo>
                  <a:lnTo>
                    <a:pt x="399" y="1403"/>
                  </a:lnTo>
                  <a:lnTo>
                    <a:pt x="385" y="1403"/>
                  </a:lnTo>
                  <a:lnTo>
                    <a:pt x="378" y="1424"/>
                  </a:lnTo>
                  <a:lnTo>
                    <a:pt x="352" y="1436"/>
                  </a:lnTo>
                  <a:lnTo>
                    <a:pt x="331" y="1420"/>
                  </a:lnTo>
                  <a:lnTo>
                    <a:pt x="335" y="1436"/>
                  </a:lnTo>
                  <a:lnTo>
                    <a:pt x="255" y="1507"/>
                  </a:lnTo>
                  <a:lnTo>
                    <a:pt x="239" y="1514"/>
                  </a:lnTo>
                  <a:lnTo>
                    <a:pt x="239" y="1519"/>
                  </a:lnTo>
                  <a:lnTo>
                    <a:pt x="151" y="1535"/>
                  </a:lnTo>
                  <a:lnTo>
                    <a:pt x="135" y="1531"/>
                  </a:lnTo>
                  <a:lnTo>
                    <a:pt x="120" y="1531"/>
                  </a:lnTo>
                  <a:lnTo>
                    <a:pt x="130" y="1514"/>
                  </a:lnTo>
                  <a:lnTo>
                    <a:pt x="109" y="1507"/>
                  </a:lnTo>
                  <a:lnTo>
                    <a:pt x="83" y="1497"/>
                  </a:lnTo>
                  <a:lnTo>
                    <a:pt x="76" y="1490"/>
                  </a:lnTo>
                  <a:lnTo>
                    <a:pt x="59" y="1490"/>
                  </a:lnTo>
                  <a:lnTo>
                    <a:pt x="45" y="1457"/>
                  </a:lnTo>
                  <a:lnTo>
                    <a:pt x="45" y="1424"/>
                  </a:lnTo>
                  <a:lnTo>
                    <a:pt x="92" y="1453"/>
                  </a:lnTo>
                  <a:lnTo>
                    <a:pt x="97" y="1453"/>
                  </a:lnTo>
                  <a:lnTo>
                    <a:pt x="83" y="1441"/>
                  </a:lnTo>
                  <a:lnTo>
                    <a:pt x="92" y="1436"/>
                  </a:lnTo>
                  <a:lnTo>
                    <a:pt x="120" y="1424"/>
                  </a:lnTo>
                  <a:lnTo>
                    <a:pt x="92" y="1436"/>
                  </a:lnTo>
                  <a:lnTo>
                    <a:pt x="83" y="1441"/>
                  </a:lnTo>
                  <a:lnTo>
                    <a:pt x="66" y="1424"/>
                  </a:lnTo>
                  <a:lnTo>
                    <a:pt x="92" y="1403"/>
                  </a:lnTo>
                  <a:lnTo>
                    <a:pt x="113" y="1391"/>
                  </a:lnTo>
                  <a:lnTo>
                    <a:pt x="92" y="1403"/>
                  </a:lnTo>
                  <a:lnTo>
                    <a:pt x="76" y="1391"/>
                  </a:lnTo>
                  <a:lnTo>
                    <a:pt x="97" y="1379"/>
                  </a:lnTo>
                  <a:lnTo>
                    <a:pt x="113" y="1370"/>
                  </a:lnTo>
                  <a:lnTo>
                    <a:pt x="97" y="1370"/>
                  </a:lnTo>
                  <a:lnTo>
                    <a:pt x="76" y="1391"/>
                  </a:lnTo>
                  <a:lnTo>
                    <a:pt x="76" y="1386"/>
                  </a:lnTo>
                  <a:lnTo>
                    <a:pt x="92" y="1379"/>
                  </a:lnTo>
                  <a:lnTo>
                    <a:pt x="66" y="1379"/>
                  </a:lnTo>
                  <a:lnTo>
                    <a:pt x="54" y="1386"/>
                  </a:lnTo>
                  <a:lnTo>
                    <a:pt x="66" y="1386"/>
                  </a:lnTo>
                  <a:lnTo>
                    <a:pt x="66" y="1391"/>
                  </a:lnTo>
                  <a:lnTo>
                    <a:pt x="59" y="1403"/>
                  </a:lnTo>
                  <a:lnTo>
                    <a:pt x="54" y="1391"/>
                  </a:lnTo>
                  <a:lnTo>
                    <a:pt x="45" y="1403"/>
                  </a:lnTo>
                  <a:lnTo>
                    <a:pt x="28" y="1391"/>
                  </a:lnTo>
                  <a:lnTo>
                    <a:pt x="21" y="1379"/>
                  </a:lnTo>
                  <a:lnTo>
                    <a:pt x="45" y="1353"/>
                  </a:lnTo>
                  <a:lnTo>
                    <a:pt x="45" y="1379"/>
                  </a:lnTo>
                  <a:lnTo>
                    <a:pt x="54" y="1363"/>
                  </a:lnTo>
                  <a:lnTo>
                    <a:pt x="97" y="1337"/>
                  </a:lnTo>
                  <a:lnTo>
                    <a:pt x="76" y="1353"/>
                  </a:lnTo>
                  <a:lnTo>
                    <a:pt x="59" y="1337"/>
                  </a:lnTo>
                  <a:lnTo>
                    <a:pt x="76" y="1330"/>
                  </a:lnTo>
                  <a:lnTo>
                    <a:pt x="92" y="1292"/>
                  </a:lnTo>
                  <a:lnTo>
                    <a:pt x="120" y="1280"/>
                  </a:lnTo>
                  <a:lnTo>
                    <a:pt x="113" y="1313"/>
                  </a:lnTo>
                  <a:lnTo>
                    <a:pt x="120" y="1280"/>
                  </a:lnTo>
                  <a:lnTo>
                    <a:pt x="163" y="1268"/>
                  </a:lnTo>
                  <a:lnTo>
                    <a:pt x="146" y="1268"/>
                  </a:lnTo>
                  <a:lnTo>
                    <a:pt x="151" y="1259"/>
                  </a:lnTo>
                  <a:lnTo>
                    <a:pt x="130" y="1275"/>
                  </a:lnTo>
                  <a:lnTo>
                    <a:pt x="97" y="1280"/>
                  </a:lnTo>
                  <a:lnTo>
                    <a:pt x="92" y="1297"/>
                  </a:lnTo>
                  <a:lnTo>
                    <a:pt x="76" y="1297"/>
                  </a:lnTo>
                  <a:lnTo>
                    <a:pt x="66" y="1325"/>
                  </a:lnTo>
                  <a:lnTo>
                    <a:pt x="59" y="1325"/>
                  </a:lnTo>
                  <a:lnTo>
                    <a:pt x="54" y="1308"/>
                  </a:lnTo>
                  <a:lnTo>
                    <a:pt x="45" y="1308"/>
                  </a:lnTo>
                  <a:lnTo>
                    <a:pt x="59" y="1280"/>
                  </a:lnTo>
                  <a:lnTo>
                    <a:pt x="38" y="1308"/>
                  </a:lnTo>
                  <a:lnTo>
                    <a:pt x="21" y="1297"/>
                  </a:lnTo>
                  <a:lnTo>
                    <a:pt x="28" y="1297"/>
                  </a:lnTo>
                  <a:lnTo>
                    <a:pt x="21" y="1292"/>
                  </a:lnTo>
                  <a:lnTo>
                    <a:pt x="28" y="1268"/>
                  </a:lnTo>
                  <a:lnTo>
                    <a:pt x="54" y="1280"/>
                  </a:lnTo>
                  <a:lnTo>
                    <a:pt x="59" y="1252"/>
                  </a:lnTo>
                  <a:lnTo>
                    <a:pt x="54" y="1242"/>
                  </a:lnTo>
                  <a:lnTo>
                    <a:pt x="28" y="1268"/>
                  </a:lnTo>
                  <a:lnTo>
                    <a:pt x="12" y="1252"/>
                  </a:lnTo>
                  <a:lnTo>
                    <a:pt x="28" y="1259"/>
                  </a:lnTo>
                  <a:lnTo>
                    <a:pt x="21" y="1242"/>
                  </a:lnTo>
                  <a:lnTo>
                    <a:pt x="7" y="1235"/>
                  </a:lnTo>
                  <a:lnTo>
                    <a:pt x="38" y="1259"/>
                  </a:lnTo>
                  <a:lnTo>
                    <a:pt x="28" y="1242"/>
                  </a:lnTo>
                  <a:lnTo>
                    <a:pt x="45" y="1226"/>
                  </a:lnTo>
                  <a:lnTo>
                    <a:pt x="12" y="1235"/>
                  </a:lnTo>
                  <a:lnTo>
                    <a:pt x="12" y="1214"/>
                  </a:lnTo>
                  <a:lnTo>
                    <a:pt x="76" y="1202"/>
                  </a:lnTo>
                  <a:lnTo>
                    <a:pt x="109" y="1214"/>
                  </a:lnTo>
                  <a:lnTo>
                    <a:pt x="135" y="1202"/>
                  </a:lnTo>
                  <a:lnTo>
                    <a:pt x="163" y="1226"/>
                  </a:lnTo>
                  <a:lnTo>
                    <a:pt x="163" y="1219"/>
                  </a:lnTo>
                  <a:lnTo>
                    <a:pt x="151" y="1202"/>
                  </a:lnTo>
                  <a:lnTo>
                    <a:pt x="184" y="1197"/>
                  </a:lnTo>
                  <a:lnTo>
                    <a:pt x="168" y="1181"/>
                  </a:lnTo>
                  <a:lnTo>
                    <a:pt x="189" y="1164"/>
                  </a:lnTo>
                  <a:lnTo>
                    <a:pt x="168" y="1181"/>
                  </a:lnTo>
                  <a:lnTo>
                    <a:pt x="172" y="1197"/>
                  </a:lnTo>
                  <a:lnTo>
                    <a:pt x="146" y="1202"/>
                  </a:lnTo>
                  <a:lnTo>
                    <a:pt x="120" y="1186"/>
                  </a:lnTo>
                  <a:lnTo>
                    <a:pt x="130" y="1169"/>
                  </a:lnTo>
                  <a:lnTo>
                    <a:pt x="109" y="1202"/>
                  </a:lnTo>
                  <a:lnTo>
                    <a:pt x="59" y="1197"/>
                  </a:lnTo>
                  <a:lnTo>
                    <a:pt x="38" y="1214"/>
                  </a:lnTo>
                  <a:lnTo>
                    <a:pt x="12" y="1197"/>
                  </a:lnTo>
                  <a:lnTo>
                    <a:pt x="28" y="1197"/>
                  </a:lnTo>
                  <a:lnTo>
                    <a:pt x="7" y="1186"/>
                  </a:lnTo>
                  <a:lnTo>
                    <a:pt x="54" y="1181"/>
                  </a:lnTo>
                  <a:lnTo>
                    <a:pt x="12" y="1181"/>
                  </a:lnTo>
                  <a:lnTo>
                    <a:pt x="7" y="1169"/>
                  </a:lnTo>
                  <a:lnTo>
                    <a:pt x="66" y="1164"/>
                  </a:lnTo>
                  <a:lnTo>
                    <a:pt x="21" y="1164"/>
                  </a:lnTo>
                  <a:lnTo>
                    <a:pt x="21" y="1160"/>
                  </a:lnTo>
                  <a:lnTo>
                    <a:pt x="28" y="1160"/>
                  </a:lnTo>
                  <a:lnTo>
                    <a:pt x="21" y="1148"/>
                  </a:lnTo>
                  <a:lnTo>
                    <a:pt x="38" y="1148"/>
                  </a:lnTo>
                  <a:lnTo>
                    <a:pt x="7" y="1141"/>
                  </a:lnTo>
                  <a:lnTo>
                    <a:pt x="38" y="1115"/>
                  </a:lnTo>
                  <a:lnTo>
                    <a:pt x="113" y="1124"/>
                  </a:lnTo>
                  <a:lnTo>
                    <a:pt x="130" y="1115"/>
                  </a:lnTo>
                  <a:lnTo>
                    <a:pt x="21" y="1115"/>
                  </a:lnTo>
                  <a:lnTo>
                    <a:pt x="21" y="1108"/>
                  </a:lnTo>
                  <a:lnTo>
                    <a:pt x="38" y="1103"/>
                  </a:lnTo>
                  <a:lnTo>
                    <a:pt x="12" y="1086"/>
                  </a:lnTo>
                  <a:lnTo>
                    <a:pt x="21" y="1086"/>
                  </a:lnTo>
                  <a:lnTo>
                    <a:pt x="45" y="1108"/>
                  </a:lnTo>
                  <a:lnTo>
                    <a:pt x="45" y="1091"/>
                  </a:lnTo>
                  <a:lnTo>
                    <a:pt x="38" y="1091"/>
                  </a:lnTo>
                  <a:lnTo>
                    <a:pt x="38" y="1086"/>
                  </a:lnTo>
                  <a:lnTo>
                    <a:pt x="66" y="1086"/>
                  </a:lnTo>
                  <a:lnTo>
                    <a:pt x="76" y="1091"/>
                  </a:lnTo>
                  <a:lnTo>
                    <a:pt x="109" y="1103"/>
                  </a:lnTo>
                  <a:lnTo>
                    <a:pt x="76" y="1086"/>
                  </a:lnTo>
                  <a:lnTo>
                    <a:pt x="97" y="1058"/>
                  </a:lnTo>
                  <a:lnTo>
                    <a:pt x="113" y="1091"/>
                  </a:lnTo>
                  <a:lnTo>
                    <a:pt x="120" y="1091"/>
                  </a:lnTo>
                  <a:lnTo>
                    <a:pt x="109" y="1058"/>
                  </a:lnTo>
                  <a:lnTo>
                    <a:pt x="130" y="1053"/>
                  </a:lnTo>
                  <a:lnTo>
                    <a:pt x="146" y="1058"/>
                  </a:lnTo>
                  <a:lnTo>
                    <a:pt x="151" y="1075"/>
                  </a:lnTo>
                  <a:lnTo>
                    <a:pt x="146" y="1091"/>
                  </a:lnTo>
                  <a:lnTo>
                    <a:pt x="151" y="1091"/>
                  </a:lnTo>
                  <a:lnTo>
                    <a:pt x="146" y="1091"/>
                  </a:lnTo>
                  <a:lnTo>
                    <a:pt x="151" y="1075"/>
                  </a:lnTo>
                  <a:lnTo>
                    <a:pt x="172" y="1075"/>
                  </a:lnTo>
                  <a:lnTo>
                    <a:pt x="146" y="1070"/>
                  </a:lnTo>
                  <a:lnTo>
                    <a:pt x="135" y="1053"/>
                  </a:lnTo>
                  <a:lnTo>
                    <a:pt x="97" y="1053"/>
                  </a:lnTo>
                  <a:lnTo>
                    <a:pt x="120" y="1053"/>
                  </a:lnTo>
                  <a:lnTo>
                    <a:pt x="97" y="1037"/>
                  </a:lnTo>
                  <a:lnTo>
                    <a:pt x="151" y="1032"/>
                  </a:lnTo>
                  <a:lnTo>
                    <a:pt x="189" y="1053"/>
                  </a:lnTo>
                  <a:lnTo>
                    <a:pt x="206" y="1049"/>
                  </a:lnTo>
                  <a:lnTo>
                    <a:pt x="172" y="1037"/>
                  </a:lnTo>
                  <a:lnTo>
                    <a:pt x="206" y="1020"/>
                  </a:lnTo>
                  <a:lnTo>
                    <a:pt x="227" y="1032"/>
                  </a:lnTo>
                  <a:lnTo>
                    <a:pt x="222" y="1020"/>
                  </a:lnTo>
                  <a:lnTo>
                    <a:pt x="172" y="1020"/>
                  </a:lnTo>
                  <a:lnTo>
                    <a:pt x="201" y="1013"/>
                  </a:lnTo>
                  <a:lnTo>
                    <a:pt x="189" y="1013"/>
                  </a:lnTo>
                  <a:lnTo>
                    <a:pt x="146" y="1020"/>
                  </a:lnTo>
                  <a:lnTo>
                    <a:pt x="146" y="997"/>
                  </a:lnTo>
                  <a:lnTo>
                    <a:pt x="168" y="992"/>
                  </a:lnTo>
                  <a:lnTo>
                    <a:pt x="184" y="1004"/>
                  </a:lnTo>
                  <a:lnTo>
                    <a:pt x="222" y="997"/>
                  </a:lnTo>
                  <a:lnTo>
                    <a:pt x="227" y="1013"/>
                  </a:lnTo>
                  <a:lnTo>
                    <a:pt x="260" y="1032"/>
                  </a:lnTo>
                  <a:lnTo>
                    <a:pt x="260" y="1020"/>
                  </a:lnTo>
                  <a:lnTo>
                    <a:pt x="227" y="1013"/>
                  </a:lnTo>
                  <a:lnTo>
                    <a:pt x="227" y="997"/>
                  </a:lnTo>
                  <a:lnTo>
                    <a:pt x="217" y="992"/>
                  </a:lnTo>
                  <a:lnTo>
                    <a:pt x="227" y="980"/>
                  </a:lnTo>
                  <a:lnTo>
                    <a:pt x="243" y="1004"/>
                  </a:lnTo>
                  <a:lnTo>
                    <a:pt x="260" y="1013"/>
                  </a:lnTo>
                  <a:lnTo>
                    <a:pt x="255" y="997"/>
                  </a:lnTo>
                  <a:lnTo>
                    <a:pt x="272" y="997"/>
                  </a:lnTo>
                  <a:lnTo>
                    <a:pt x="243" y="997"/>
                  </a:lnTo>
                  <a:lnTo>
                    <a:pt x="227" y="980"/>
                  </a:lnTo>
                  <a:lnTo>
                    <a:pt x="281" y="975"/>
                  </a:lnTo>
                  <a:lnTo>
                    <a:pt x="260" y="975"/>
                  </a:lnTo>
                  <a:lnTo>
                    <a:pt x="255" y="959"/>
                  </a:lnTo>
                  <a:lnTo>
                    <a:pt x="276" y="959"/>
                  </a:lnTo>
                  <a:lnTo>
                    <a:pt x="272" y="947"/>
                  </a:lnTo>
                  <a:lnTo>
                    <a:pt x="293" y="942"/>
                  </a:lnTo>
                  <a:lnTo>
                    <a:pt x="309" y="947"/>
                  </a:lnTo>
                  <a:lnTo>
                    <a:pt x="324" y="947"/>
                  </a:lnTo>
                  <a:lnTo>
                    <a:pt x="309" y="947"/>
                  </a:lnTo>
                  <a:lnTo>
                    <a:pt x="298" y="942"/>
                  </a:lnTo>
                  <a:lnTo>
                    <a:pt x="331" y="926"/>
                  </a:lnTo>
                  <a:lnTo>
                    <a:pt x="335" y="921"/>
                  </a:lnTo>
                  <a:lnTo>
                    <a:pt x="361" y="947"/>
                  </a:lnTo>
                  <a:lnTo>
                    <a:pt x="378" y="964"/>
                  </a:lnTo>
                  <a:lnTo>
                    <a:pt x="378" y="959"/>
                  </a:lnTo>
                  <a:lnTo>
                    <a:pt x="361" y="947"/>
                  </a:lnTo>
                  <a:lnTo>
                    <a:pt x="423" y="942"/>
                  </a:lnTo>
                  <a:lnTo>
                    <a:pt x="416" y="938"/>
                  </a:lnTo>
                  <a:lnTo>
                    <a:pt x="423" y="926"/>
                  </a:lnTo>
                  <a:lnTo>
                    <a:pt x="406" y="938"/>
                  </a:lnTo>
                  <a:lnTo>
                    <a:pt x="432" y="909"/>
                  </a:lnTo>
                  <a:lnTo>
                    <a:pt x="461" y="905"/>
                  </a:lnTo>
                  <a:lnTo>
                    <a:pt x="437" y="893"/>
                  </a:lnTo>
                  <a:lnTo>
                    <a:pt x="461" y="881"/>
                  </a:lnTo>
                  <a:lnTo>
                    <a:pt x="454" y="881"/>
                  </a:lnTo>
                  <a:lnTo>
                    <a:pt x="454" y="864"/>
                  </a:lnTo>
                  <a:lnTo>
                    <a:pt x="399" y="905"/>
                  </a:lnTo>
                  <a:lnTo>
                    <a:pt x="423" y="893"/>
                  </a:lnTo>
                  <a:lnTo>
                    <a:pt x="437" y="893"/>
                  </a:lnTo>
                  <a:lnTo>
                    <a:pt x="423" y="909"/>
                  </a:lnTo>
                  <a:lnTo>
                    <a:pt x="361" y="938"/>
                  </a:lnTo>
                  <a:lnTo>
                    <a:pt x="352" y="938"/>
                  </a:lnTo>
                  <a:lnTo>
                    <a:pt x="347" y="921"/>
                  </a:lnTo>
                  <a:lnTo>
                    <a:pt x="368" y="909"/>
                  </a:lnTo>
                  <a:lnTo>
                    <a:pt x="331" y="921"/>
                  </a:lnTo>
                  <a:lnTo>
                    <a:pt x="331" y="909"/>
                  </a:lnTo>
                  <a:lnTo>
                    <a:pt x="378" y="886"/>
                  </a:lnTo>
                  <a:lnTo>
                    <a:pt x="361" y="881"/>
                  </a:lnTo>
                  <a:lnTo>
                    <a:pt x="368" y="853"/>
                  </a:lnTo>
                  <a:lnTo>
                    <a:pt x="390" y="836"/>
                  </a:lnTo>
                  <a:lnTo>
                    <a:pt x="406" y="836"/>
                  </a:lnTo>
                  <a:lnTo>
                    <a:pt x="390" y="831"/>
                  </a:lnTo>
                  <a:lnTo>
                    <a:pt x="423" y="836"/>
                  </a:lnTo>
                  <a:lnTo>
                    <a:pt x="406" y="831"/>
                  </a:lnTo>
                  <a:lnTo>
                    <a:pt x="423" y="827"/>
                  </a:lnTo>
                  <a:lnTo>
                    <a:pt x="432" y="810"/>
                  </a:lnTo>
                  <a:lnTo>
                    <a:pt x="444" y="827"/>
                  </a:lnTo>
                  <a:lnTo>
                    <a:pt x="444" y="836"/>
                  </a:lnTo>
                  <a:lnTo>
                    <a:pt x="470" y="815"/>
                  </a:lnTo>
                  <a:lnTo>
                    <a:pt x="487" y="815"/>
                  </a:lnTo>
                  <a:lnTo>
                    <a:pt x="470" y="815"/>
                  </a:lnTo>
                  <a:lnTo>
                    <a:pt x="461" y="798"/>
                  </a:lnTo>
                  <a:lnTo>
                    <a:pt x="491" y="782"/>
                  </a:lnTo>
                  <a:lnTo>
                    <a:pt x="475" y="782"/>
                  </a:lnTo>
                  <a:lnTo>
                    <a:pt x="487" y="777"/>
                  </a:lnTo>
                  <a:lnTo>
                    <a:pt x="513" y="770"/>
                  </a:lnTo>
                  <a:lnTo>
                    <a:pt x="498" y="770"/>
                  </a:lnTo>
                  <a:lnTo>
                    <a:pt x="444" y="794"/>
                  </a:lnTo>
                  <a:lnTo>
                    <a:pt x="454" y="782"/>
                  </a:lnTo>
                  <a:lnTo>
                    <a:pt x="444" y="782"/>
                  </a:lnTo>
                  <a:lnTo>
                    <a:pt x="475" y="777"/>
                  </a:lnTo>
                  <a:lnTo>
                    <a:pt x="444" y="782"/>
                  </a:lnTo>
                  <a:lnTo>
                    <a:pt x="454" y="777"/>
                  </a:lnTo>
                  <a:lnTo>
                    <a:pt x="546" y="742"/>
                  </a:lnTo>
                  <a:lnTo>
                    <a:pt x="567" y="725"/>
                  </a:lnTo>
                  <a:lnTo>
                    <a:pt x="529" y="742"/>
                  </a:lnTo>
                  <a:lnTo>
                    <a:pt x="524" y="742"/>
                  </a:lnTo>
                  <a:lnTo>
                    <a:pt x="546" y="737"/>
                  </a:lnTo>
                  <a:lnTo>
                    <a:pt x="513" y="737"/>
                  </a:lnTo>
                  <a:lnTo>
                    <a:pt x="541" y="720"/>
                  </a:lnTo>
                  <a:lnTo>
                    <a:pt x="529" y="716"/>
                  </a:lnTo>
                  <a:lnTo>
                    <a:pt x="546" y="716"/>
                  </a:lnTo>
                  <a:lnTo>
                    <a:pt x="529" y="699"/>
                  </a:lnTo>
                  <a:lnTo>
                    <a:pt x="524" y="687"/>
                  </a:lnTo>
                  <a:lnTo>
                    <a:pt x="541" y="683"/>
                  </a:lnTo>
                  <a:lnTo>
                    <a:pt x="550" y="687"/>
                  </a:lnTo>
                  <a:lnTo>
                    <a:pt x="541" y="671"/>
                  </a:lnTo>
                  <a:lnTo>
                    <a:pt x="546" y="659"/>
                  </a:lnTo>
                  <a:lnTo>
                    <a:pt x="562" y="649"/>
                  </a:lnTo>
                  <a:lnTo>
                    <a:pt x="583" y="666"/>
                  </a:lnTo>
                  <a:lnTo>
                    <a:pt x="579" y="649"/>
                  </a:lnTo>
                  <a:lnTo>
                    <a:pt x="567" y="649"/>
                  </a:lnTo>
                  <a:lnTo>
                    <a:pt x="567" y="642"/>
                  </a:lnTo>
                  <a:lnTo>
                    <a:pt x="546" y="642"/>
                  </a:lnTo>
                  <a:lnTo>
                    <a:pt x="605" y="614"/>
                  </a:lnTo>
                  <a:lnTo>
                    <a:pt x="605" y="631"/>
                  </a:lnTo>
                  <a:lnTo>
                    <a:pt x="617" y="614"/>
                  </a:lnTo>
                  <a:lnTo>
                    <a:pt x="654" y="609"/>
                  </a:lnTo>
                  <a:lnTo>
                    <a:pt x="567" y="626"/>
                  </a:lnTo>
                  <a:lnTo>
                    <a:pt x="605" y="609"/>
                  </a:lnTo>
                  <a:lnTo>
                    <a:pt x="567" y="609"/>
                  </a:lnTo>
                  <a:lnTo>
                    <a:pt x="583" y="593"/>
                  </a:lnTo>
                  <a:lnTo>
                    <a:pt x="567" y="588"/>
                  </a:lnTo>
                  <a:lnTo>
                    <a:pt x="621" y="572"/>
                  </a:lnTo>
                  <a:lnTo>
                    <a:pt x="583" y="576"/>
                  </a:lnTo>
                  <a:lnTo>
                    <a:pt x="583" y="572"/>
                  </a:lnTo>
                  <a:lnTo>
                    <a:pt x="605" y="572"/>
                  </a:lnTo>
                  <a:lnTo>
                    <a:pt x="583" y="560"/>
                  </a:lnTo>
                  <a:lnTo>
                    <a:pt x="621" y="560"/>
                  </a:lnTo>
                  <a:lnTo>
                    <a:pt x="633" y="560"/>
                  </a:lnTo>
                  <a:lnTo>
                    <a:pt x="605" y="560"/>
                  </a:lnTo>
                  <a:lnTo>
                    <a:pt x="621" y="555"/>
                  </a:lnTo>
                  <a:lnTo>
                    <a:pt x="605" y="555"/>
                  </a:lnTo>
                  <a:lnTo>
                    <a:pt x="638" y="555"/>
                  </a:lnTo>
                  <a:lnTo>
                    <a:pt x="605" y="531"/>
                  </a:lnTo>
                  <a:lnTo>
                    <a:pt x="687" y="522"/>
                  </a:lnTo>
                  <a:lnTo>
                    <a:pt x="659" y="515"/>
                  </a:lnTo>
                  <a:lnTo>
                    <a:pt x="659" y="503"/>
                  </a:lnTo>
                  <a:lnTo>
                    <a:pt x="692" y="503"/>
                  </a:lnTo>
                  <a:lnTo>
                    <a:pt x="676" y="503"/>
                  </a:lnTo>
                  <a:lnTo>
                    <a:pt x="676" y="498"/>
                  </a:lnTo>
                  <a:lnTo>
                    <a:pt x="709" y="498"/>
                  </a:lnTo>
                  <a:lnTo>
                    <a:pt x="702" y="503"/>
                  </a:lnTo>
                  <a:lnTo>
                    <a:pt x="709" y="515"/>
                  </a:lnTo>
                  <a:lnTo>
                    <a:pt x="709" y="503"/>
                  </a:lnTo>
                  <a:lnTo>
                    <a:pt x="709" y="498"/>
                  </a:lnTo>
                  <a:lnTo>
                    <a:pt x="730" y="503"/>
                  </a:lnTo>
                  <a:lnTo>
                    <a:pt x="746" y="515"/>
                  </a:lnTo>
                  <a:lnTo>
                    <a:pt x="739" y="498"/>
                  </a:lnTo>
                  <a:lnTo>
                    <a:pt x="763" y="503"/>
                  </a:lnTo>
                  <a:lnTo>
                    <a:pt x="713" y="498"/>
                  </a:lnTo>
                  <a:lnTo>
                    <a:pt x="725" y="494"/>
                  </a:lnTo>
                  <a:lnTo>
                    <a:pt x="687" y="498"/>
                  </a:lnTo>
                  <a:lnTo>
                    <a:pt x="671" y="498"/>
                  </a:lnTo>
                  <a:lnTo>
                    <a:pt x="687" y="477"/>
                  </a:lnTo>
                  <a:lnTo>
                    <a:pt x="709" y="477"/>
                  </a:lnTo>
                  <a:lnTo>
                    <a:pt x="692" y="465"/>
                  </a:lnTo>
                  <a:lnTo>
                    <a:pt x="713" y="460"/>
                  </a:lnTo>
                  <a:lnTo>
                    <a:pt x="725" y="460"/>
                  </a:lnTo>
                  <a:lnTo>
                    <a:pt x="709" y="465"/>
                  </a:lnTo>
                  <a:lnTo>
                    <a:pt x="739" y="465"/>
                  </a:lnTo>
                  <a:lnTo>
                    <a:pt x="756" y="494"/>
                  </a:lnTo>
                  <a:lnTo>
                    <a:pt x="763" y="494"/>
                  </a:lnTo>
                  <a:lnTo>
                    <a:pt x="746" y="465"/>
                  </a:lnTo>
                  <a:lnTo>
                    <a:pt x="777" y="460"/>
                  </a:lnTo>
                  <a:lnTo>
                    <a:pt x="730" y="460"/>
                  </a:lnTo>
                  <a:lnTo>
                    <a:pt x="725" y="449"/>
                  </a:lnTo>
                  <a:lnTo>
                    <a:pt x="730" y="437"/>
                  </a:lnTo>
                  <a:lnTo>
                    <a:pt x="768" y="444"/>
                  </a:lnTo>
                  <a:lnTo>
                    <a:pt x="739" y="427"/>
                  </a:lnTo>
                  <a:lnTo>
                    <a:pt x="692" y="444"/>
                  </a:lnTo>
                  <a:lnTo>
                    <a:pt x="692" y="437"/>
                  </a:lnTo>
                  <a:lnTo>
                    <a:pt x="713" y="437"/>
                  </a:lnTo>
                  <a:lnTo>
                    <a:pt x="692" y="427"/>
                  </a:lnTo>
                  <a:lnTo>
                    <a:pt x="713" y="420"/>
                  </a:lnTo>
                  <a:lnTo>
                    <a:pt x="702" y="420"/>
                  </a:lnTo>
                  <a:lnTo>
                    <a:pt x="709" y="420"/>
                  </a:lnTo>
                  <a:lnTo>
                    <a:pt x="768" y="411"/>
                  </a:lnTo>
                  <a:lnTo>
                    <a:pt x="777" y="404"/>
                  </a:lnTo>
                  <a:lnTo>
                    <a:pt x="730" y="394"/>
                  </a:lnTo>
                  <a:lnTo>
                    <a:pt x="746" y="387"/>
                  </a:lnTo>
                  <a:lnTo>
                    <a:pt x="763" y="387"/>
                  </a:lnTo>
                  <a:lnTo>
                    <a:pt x="756" y="394"/>
                  </a:lnTo>
                  <a:lnTo>
                    <a:pt x="768" y="387"/>
                  </a:lnTo>
                  <a:lnTo>
                    <a:pt x="777" y="371"/>
                  </a:lnTo>
                  <a:lnTo>
                    <a:pt x="784" y="383"/>
                  </a:lnTo>
                  <a:lnTo>
                    <a:pt x="794" y="420"/>
                  </a:lnTo>
                  <a:lnTo>
                    <a:pt x="815" y="427"/>
                  </a:lnTo>
                  <a:lnTo>
                    <a:pt x="801" y="420"/>
                  </a:lnTo>
                  <a:lnTo>
                    <a:pt x="794" y="404"/>
                  </a:lnTo>
                  <a:lnTo>
                    <a:pt x="815" y="411"/>
                  </a:lnTo>
                  <a:lnTo>
                    <a:pt x="810" y="394"/>
                  </a:lnTo>
                  <a:lnTo>
                    <a:pt x="831" y="394"/>
                  </a:lnTo>
                  <a:lnTo>
                    <a:pt x="810" y="394"/>
                  </a:lnTo>
                  <a:lnTo>
                    <a:pt x="801" y="387"/>
                  </a:lnTo>
                  <a:lnTo>
                    <a:pt x="815" y="383"/>
                  </a:lnTo>
                  <a:lnTo>
                    <a:pt x="794" y="383"/>
                  </a:lnTo>
                  <a:lnTo>
                    <a:pt x="801" y="371"/>
                  </a:lnTo>
                  <a:lnTo>
                    <a:pt x="784" y="371"/>
                  </a:lnTo>
                  <a:lnTo>
                    <a:pt x="815" y="371"/>
                  </a:lnTo>
                  <a:lnTo>
                    <a:pt x="839" y="387"/>
                  </a:lnTo>
                  <a:lnTo>
                    <a:pt x="794" y="366"/>
                  </a:lnTo>
                  <a:lnTo>
                    <a:pt x="801" y="354"/>
                  </a:lnTo>
                  <a:lnTo>
                    <a:pt x="865" y="354"/>
                  </a:lnTo>
                  <a:lnTo>
                    <a:pt x="876" y="383"/>
                  </a:lnTo>
                  <a:lnTo>
                    <a:pt x="876" y="371"/>
                  </a:lnTo>
                  <a:lnTo>
                    <a:pt x="865" y="354"/>
                  </a:lnTo>
                  <a:lnTo>
                    <a:pt x="891" y="354"/>
                  </a:lnTo>
                  <a:lnTo>
                    <a:pt x="876" y="349"/>
                  </a:lnTo>
                  <a:lnTo>
                    <a:pt x="891" y="349"/>
                  </a:lnTo>
                  <a:lnTo>
                    <a:pt x="891" y="338"/>
                  </a:lnTo>
                  <a:lnTo>
                    <a:pt x="853" y="349"/>
                  </a:lnTo>
                  <a:lnTo>
                    <a:pt x="853" y="338"/>
                  </a:lnTo>
                  <a:lnTo>
                    <a:pt x="848" y="338"/>
                  </a:lnTo>
                  <a:lnTo>
                    <a:pt x="815" y="349"/>
                  </a:lnTo>
                  <a:lnTo>
                    <a:pt x="815" y="338"/>
                  </a:lnTo>
                  <a:lnTo>
                    <a:pt x="822" y="333"/>
                  </a:lnTo>
                  <a:lnTo>
                    <a:pt x="822" y="326"/>
                  </a:lnTo>
                  <a:lnTo>
                    <a:pt x="848" y="316"/>
                  </a:lnTo>
                  <a:lnTo>
                    <a:pt x="902" y="326"/>
                  </a:lnTo>
                  <a:lnTo>
                    <a:pt x="869" y="309"/>
                  </a:lnTo>
                  <a:lnTo>
                    <a:pt x="886" y="300"/>
                  </a:lnTo>
                  <a:lnTo>
                    <a:pt x="907" y="309"/>
                  </a:lnTo>
                  <a:lnTo>
                    <a:pt x="886" y="300"/>
                  </a:lnTo>
                  <a:lnTo>
                    <a:pt x="907" y="293"/>
                  </a:lnTo>
                  <a:lnTo>
                    <a:pt x="876" y="293"/>
                  </a:lnTo>
                  <a:lnTo>
                    <a:pt x="891" y="260"/>
                  </a:lnTo>
                  <a:lnTo>
                    <a:pt x="928" y="260"/>
                  </a:lnTo>
                  <a:lnTo>
                    <a:pt x="924" y="243"/>
                  </a:lnTo>
                  <a:lnTo>
                    <a:pt x="940" y="215"/>
                  </a:lnTo>
                  <a:lnTo>
                    <a:pt x="973" y="243"/>
                  </a:lnTo>
                  <a:lnTo>
                    <a:pt x="978" y="238"/>
                  </a:lnTo>
                  <a:lnTo>
                    <a:pt x="994" y="243"/>
                  </a:lnTo>
                  <a:lnTo>
                    <a:pt x="957" y="222"/>
                  </a:lnTo>
                  <a:lnTo>
                    <a:pt x="957" y="215"/>
                  </a:lnTo>
                  <a:lnTo>
                    <a:pt x="978" y="205"/>
                  </a:lnTo>
                  <a:lnTo>
                    <a:pt x="994" y="227"/>
                  </a:lnTo>
                  <a:lnTo>
                    <a:pt x="1016" y="238"/>
                  </a:lnTo>
                  <a:lnTo>
                    <a:pt x="999" y="243"/>
                  </a:lnTo>
                  <a:lnTo>
                    <a:pt x="1028" y="243"/>
                  </a:lnTo>
                  <a:lnTo>
                    <a:pt x="1028" y="238"/>
                  </a:lnTo>
                  <a:lnTo>
                    <a:pt x="994" y="222"/>
                  </a:lnTo>
                  <a:lnTo>
                    <a:pt x="1011" y="215"/>
                  </a:lnTo>
                  <a:lnTo>
                    <a:pt x="1011" y="205"/>
                  </a:lnTo>
                  <a:lnTo>
                    <a:pt x="994" y="215"/>
                  </a:lnTo>
                  <a:lnTo>
                    <a:pt x="983" y="198"/>
                  </a:lnTo>
                  <a:lnTo>
                    <a:pt x="1011" y="182"/>
                  </a:lnTo>
                  <a:lnTo>
                    <a:pt x="1049" y="172"/>
                  </a:lnTo>
                  <a:lnTo>
                    <a:pt x="1042" y="198"/>
                  </a:lnTo>
                  <a:lnTo>
                    <a:pt x="1032" y="227"/>
                  </a:lnTo>
                  <a:lnTo>
                    <a:pt x="1042" y="222"/>
                  </a:lnTo>
                  <a:lnTo>
                    <a:pt x="1049" y="189"/>
                  </a:lnTo>
                  <a:lnTo>
                    <a:pt x="1087" y="160"/>
                  </a:lnTo>
                  <a:lnTo>
                    <a:pt x="1096" y="165"/>
                  </a:lnTo>
                  <a:lnTo>
                    <a:pt x="1080" y="222"/>
                  </a:lnTo>
                  <a:lnTo>
                    <a:pt x="1054" y="243"/>
                  </a:lnTo>
                  <a:lnTo>
                    <a:pt x="1096" y="205"/>
                  </a:lnTo>
                  <a:lnTo>
                    <a:pt x="1124" y="215"/>
                  </a:lnTo>
                  <a:lnTo>
                    <a:pt x="1096" y="198"/>
                  </a:lnTo>
                  <a:lnTo>
                    <a:pt x="1103" y="182"/>
                  </a:lnTo>
                  <a:lnTo>
                    <a:pt x="1141" y="160"/>
                  </a:lnTo>
                  <a:lnTo>
                    <a:pt x="1124" y="165"/>
                  </a:lnTo>
                  <a:lnTo>
                    <a:pt x="1134" y="172"/>
                  </a:lnTo>
                  <a:lnTo>
                    <a:pt x="1155" y="149"/>
                  </a:lnTo>
                  <a:lnTo>
                    <a:pt x="1209" y="182"/>
                  </a:lnTo>
                  <a:lnTo>
                    <a:pt x="1188" y="144"/>
                  </a:lnTo>
                  <a:lnTo>
                    <a:pt x="1209" y="132"/>
                  </a:lnTo>
                  <a:lnTo>
                    <a:pt x="1162" y="132"/>
                  </a:lnTo>
                  <a:lnTo>
                    <a:pt x="1150" y="127"/>
                  </a:lnTo>
                  <a:lnTo>
                    <a:pt x="1155" y="116"/>
                  </a:lnTo>
                  <a:lnTo>
                    <a:pt x="1172" y="111"/>
                  </a:lnTo>
                  <a:lnTo>
                    <a:pt x="1188" y="116"/>
                  </a:lnTo>
                  <a:lnTo>
                    <a:pt x="1205" y="111"/>
                  </a:lnTo>
                  <a:lnTo>
                    <a:pt x="1226" y="111"/>
                  </a:lnTo>
                  <a:lnTo>
                    <a:pt x="1226" y="127"/>
                  </a:lnTo>
                  <a:lnTo>
                    <a:pt x="1243" y="132"/>
                  </a:lnTo>
                  <a:lnTo>
                    <a:pt x="1226" y="127"/>
                  </a:lnTo>
                  <a:lnTo>
                    <a:pt x="1231" y="116"/>
                  </a:lnTo>
                  <a:lnTo>
                    <a:pt x="1268" y="127"/>
                  </a:lnTo>
                  <a:lnTo>
                    <a:pt x="1259" y="132"/>
                  </a:lnTo>
                  <a:lnTo>
                    <a:pt x="1226" y="144"/>
                  </a:lnTo>
                  <a:lnTo>
                    <a:pt x="1264" y="132"/>
                  </a:lnTo>
                  <a:lnTo>
                    <a:pt x="1297" y="160"/>
                  </a:lnTo>
                  <a:lnTo>
                    <a:pt x="1313" y="149"/>
                  </a:lnTo>
                  <a:lnTo>
                    <a:pt x="1285" y="144"/>
                  </a:lnTo>
                  <a:lnTo>
                    <a:pt x="1297" y="132"/>
                  </a:lnTo>
                  <a:lnTo>
                    <a:pt x="1297" y="116"/>
                  </a:lnTo>
                  <a:lnTo>
                    <a:pt x="1313" y="116"/>
                  </a:lnTo>
                  <a:lnTo>
                    <a:pt x="1302" y="116"/>
                  </a:lnTo>
                  <a:lnTo>
                    <a:pt x="1318" y="94"/>
                  </a:lnTo>
                  <a:lnTo>
                    <a:pt x="1339" y="87"/>
                  </a:lnTo>
                  <a:lnTo>
                    <a:pt x="1368" y="94"/>
                  </a:lnTo>
                  <a:lnTo>
                    <a:pt x="1356" y="78"/>
                  </a:lnTo>
                  <a:lnTo>
                    <a:pt x="1368" y="61"/>
                  </a:lnTo>
                  <a:lnTo>
                    <a:pt x="1394" y="71"/>
                  </a:lnTo>
                  <a:lnTo>
                    <a:pt x="1377" y="54"/>
                  </a:lnTo>
                  <a:lnTo>
                    <a:pt x="1356" y="49"/>
                  </a:lnTo>
                  <a:lnTo>
                    <a:pt x="1372" y="38"/>
                  </a:lnTo>
                  <a:lnTo>
                    <a:pt x="1389" y="49"/>
                  </a:lnTo>
                  <a:lnTo>
                    <a:pt x="1389" y="21"/>
                  </a:lnTo>
                  <a:lnTo>
                    <a:pt x="1405" y="33"/>
                  </a:lnTo>
                  <a:lnTo>
                    <a:pt x="1410" y="21"/>
                  </a:lnTo>
                  <a:lnTo>
                    <a:pt x="1431" y="49"/>
                  </a:lnTo>
                  <a:lnTo>
                    <a:pt x="1443" y="38"/>
                  </a:lnTo>
                  <a:lnTo>
                    <a:pt x="1443" y="21"/>
                  </a:lnTo>
                  <a:lnTo>
                    <a:pt x="1481" y="33"/>
                  </a:lnTo>
                  <a:lnTo>
                    <a:pt x="1420" y="87"/>
                  </a:lnTo>
                  <a:lnTo>
                    <a:pt x="1431" y="87"/>
                  </a:lnTo>
                  <a:lnTo>
                    <a:pt x="1431" y="104"/>
                  </a:lnTo>
                  <a:lnTo>
                    <a:pt x="1420" y="104"/>
                  </a:lnTo>
                  <a:lnTo>
                    <a:pt x="1420" y="116"/>
                  </a:lnTo>
                  <a:lnTo>
                    <a:pt x="1410" y="116"/>
                  </a:lnTo>
                  <a:lnTo>
                    <a:pt x="1410" y="144"/>
                  </a:lnTo>
                  <a:lnTo>
                    <a:pt x="1420" y="144"/>
                  </a:lnTo>
                  <a:lnTo>
                    <a:pt x="1420" y="132"/>
                  </a:lnTo>
                  <a:lnTo>
                    <a:pt x="1420" y="144"/>
                  </a:lnTo>
                  <a:lnTo>
                    <a:pt x="1427" y="144"/>
                  </a:lnTo>
                  <a:lnTo>
                    <a:pt x="1448" y="116"/>
                  </a:lnTo>
                  <a:lnTo>
                    <a:pt x="1443" y="104"/>
                  </a:lnTo>
                  <a:lnTo>
                    <a:pt x="1528" y="33"/>
                  </a:lnTo>
                  <a:lnTo>
                    <a:pt x="1533" y="33"/>
                  </a:lnTo>
                  <a:lnTo>
                    <a:pt x="1533" y="54"/>
                  </a:lnTo>
                  <a:lnTo>
                    <a:pt x="1502" y="71"/>
                  </a:lnTo>
                  <a:lnTo>
                    <a:pt x="1528" y="71"/>
                  </a:lnTo>
                  <a:lnTo>
                    <a:pt x="1519" y="104"/>
                  </a:lnTo>
                  <a:lnTo>
                    <a:pt x="1557" y="87"/>
                  </a:lnTo>
                  <a:lnTo>
                    <a:pt x="1550" y="78"/>
                  </a:lnTo>
                  <a:lnTo>
                    <a:pt x="1557" y="71"/>
                  </a:lnTo>
                  <a:lnTo>
                    <a:pt x="1571" y="78"/>
                  </a:lnTo>
                  <a:lnTo>
                    <a:pt x="1566" y="71"/>
                  </a:lnTo>
                  <a:lnTo>
                    <a:pt x="1566" y="54"/>
                  </a:lnTo>
                  <a:lnTo>
                    <a:pt x="1571" y="38"/>
                  </a:lnTo>
                  <a:lnTo>
                    <a:pt x="1594" y="49"/>
                  </a:lnTo>
                  <a:lnTo>
                    <a:pt x="1566" y="21"/>
                  </a:lnTo>
                  <a:lnTo>
                    <a:pt x="1594" y="5"/>
                  </a:lnTo>
                  <a:lnTo>
                    <a:pt x="1609" y="16"/>
                  </a:lnTo>
                  <a:lnTo>
                    <a:pt x="1637" y="5"/>
                  </a:lnTo>
                  <a:lnTo>
                    <a:pt x="1663" y="21"/>
                  </a:lnTo>
                  <a:lnTo>
                    <a:pt x="1642" y="49"/>
                  </a:lnTo>
                  <a:lnTo>
                    <a:pt x="1604" y="49"/>
                  </a:lnTo>
                  <a:lnTo>
                    <a:pt x="1637" y="54"/>
                  </a:lnTo>
                  <a:lnTo>
                    <a:pt x="1594" y="71"/>
                  </a:lnTo>
                  <a:lnTo>
                    <a:pt x="1642" y="54"/>
                  </a:lnTo>
                  <a:lnTo>
                    <a:pt x="1642" y="71"/>
                  </a:lnTo>
                  <a:lnTo>
                    <a:pt x="1609" y="87"/>
                  </a:lnTo>
                  <a:lnTo>
                    <a:pt x="1637" y="87"/>
                  </a:lnTo>
                  <a:lnTo>
                    <a:pt x="1625" y="94"/>
                  </a:lnTo>
                  <a:lnTo>
                    <a:pt x="1637" y="94"/>
                  </a:lnTo>
                  <a:lnTo>
                    <a:pt x="1646" y="87"/>
                  </a:lnTo>
                  <a:lnTo>
                    <a:pt x="1637" y="104"/>
                  </a:lnTo>
                  <a:lnTo>
                    <a:pt x="1637" y="127"/>
                  </a:lnTo>
                  <a:lnTo>
                    <a:pt x="1625" y="144"/>
                  </a:lnTo>
                  <a:lnTo>
                    <a:pt x="1642" y="127"/>
                  </a:lnTo>
                  <a:lnTo>
                    <a:pt x="1642" y="104"/>
                  </a:lnTo>
                  <a:lnTo>
                    <a:pt x="1658" y="54"/>
                  </a:lnTo>
                  <a:lnTo>
                    <a:pt x="1675" y="38"/>
                  </a:lnTo>
                  <a:lnTo>
                    <a:pt x="1696" y="38"/>
                  </a:lnTo>
                  <a:lnTo>
                    <a:pt x="1713" y="38"/>
                  </a:lnTo>
                  <a:lnTo>
                    <a:pt x="1717" y="61"/>
                  </a:lnTo>
                  <a:lnTo>
                    <a:pt x="1750" y="54"/>
                  </a:lnTo>
                  <a:lnTo>
                    <a:pt x="1746" y="71"/>
                  </a:lnTo>
                  <a:lnTo>
                    <a:pt x="1772" y="54"/>
                  </a:lnTo>
                  <a:lnTo>
                    <a:pt x="1788" y="71"/>
                  </a:lnTo>
                  <a:lnTo>
                    <a:pt x="1767" y="78"/>
                  </a:lnTo>
                  <a:lnTo>
                    <a:pt x="1805" y="78"/>
                  </a:lnTo>
                  <a:lnTo>
                    <a:pt x="1826" y="94"/>
                  </a:lnTo>
                  <a:lnTo>
                    <a:pt x="1842" y="111"/>
                  </a:lnTo>
                  <a:lnTo>
                    <a:pt x="1798" y="116"/>
                  </a:lnTo>
                  <a:lnTo>
                    <a:pt x="1772" y="144"/>
                  </a:lnTo>
                  <a:lnTo>
                    <a:pt x="1675" y="127"/>
                  </a:lnTo>
                  <a:lnTo>
                    <a:pt x="1663" y="127"/>
                  </a:lnTo>
                  <a:lnTo>
                    <a:pt x="1675" y="127"/>
                  </a:lnTo>
                  <a:lnTo>
                    <a:pt x="1663" y="132"/>
                  </a:lnTo>
                  <a:lnTo>
                    <a:pt x="1746" y="160"/>
                  </a:lnTo>
                  <a:lnTo>
                    <a:pt x="1717" y="165"/>
                  </a:lnTo>
                  <a:lnTo>
                    <a:pt x="1746" y="165"/>
                  </a:lnTo>
                  <a:lnTo>
                    <a:pt x="1750" y="172"/>
                  </a:lnTo>
                  <a:lnTo>
                    <a:pt x="1729" y="198"/>
                  </a:lnTo>
                  <a:lnTo>
                    <a:pt x="1755" y="182"/>
                  </a:lnTo>
                  <a:lnTo>
                    <a:pt x="1772" y="189"/>
                  </a:lnTo>
                  <a:lnTo>
                    <a:pt x="1772" y="182"/>
                  </a:lnTo>
                  <a:lnTo>
                    <a:pt x="1772" y="165"/>
                  </a:lnTo>
                  <a:lnTo>
                    <a:pt x="1788" y="172"/>
                  </a:lnTo>
                  <a:lnTo>
                    <a:pt x="1788" y="189"/>
                  </a:lnTo>
                  <a:lnTo>
                    <a:pt x="1798" y="189"/>
                  </a:lnTo>
                  <a:lnTo>
                    <a:pt x="1798" y="172"/>
                  </a:lnTo>
                  <a:lnTo>
                    <a:pt x="1826" y="172"/>
                  </a:lnTo>
                  <a:lnTo>
                    <a:pt x="1826" y="172"/>
                  </a:lnTo>
                  <a:lnTo>
                    <a:pt x="1826" y="172"/>
                  </a:lnTo>
                  <a:close/>
                  <a:moveTo>
                    <a:pt x="1394" y="16"/>
                  </a:moveTo>
                  <a:lnTo>
                    <a:pt x="1389" y="5"/>
                  </a:lnTo>
                  <a:lnTo>
                    <a:pt x="1405" y="5"/>
                  </a:lnTo>
                  <a:lnTo>
                    <a:pt x="1394" y="16"/>
                  </a:lnTo>
                  <a:lnTo>
                    <a:pt x="1394" y="16"/>
                  </a:lnTo>
                  <a:lnTo>
                    <a:pt x="1394" y="16"/>
                  </a:lnTo>
                  <a:close/>
                  <a:moveTo>
                    <a:pt x="1351" y="33"/>
                  </a:moveTo>
                  <a:lnTo>
                    <a:pt x="1335" y="21"/>
                  </a:lnTo>
                  <a:lnTo>
                    <a:pt x="1356" y="21"/>
                  </a:lnTo>
                  <a:lnTo>
                    <a:pt x="1351" y="33"/>
                  </a:lnTo>
                  <a:lnTo>
                    <a:pt x="1351" y="33"/>
                  </a:lnTo>
                  <a:lnTo>
                    <a:pt x="1351" y="33"/>
                  </a:lnTo>
                  <a:close/>
                  <a:moveTo>
                    <a:pt x="1217" y="87"/>
                  </a:moveTo>
                  <a:lnTo>
                    <a:pt x="1217" y="71"/>
                  </a:lnTo>
                  <a:lnTo>
                    <a:pt x="1205" y="61"/>
                  </a:lnTo>
                  <a:lnTo>
                    <a:pt x="1243" y="54"/>
                  </a:lnTo>
                  <a:lnTo>
                    <a:pt x="1247" y="61"/>
                  </a:lnTo>
                  <a:lnTo>
                    <a:pt x="1247" y="71"/>
                  </a:lnTo>
                  <a:lnTo>
                    <a:pt x="1259" y="71"/>
                  </a:lnTo>
                  <a:lnTo>
                    <a:pt x="1259" y="54"/>
                  </a:lnTo>
                  <a:lnTo>
                    <a:pt x="1268" y="61"/>
                  </a:lnTo>
                  <a:lnTo>
                    <a:pt x="1285" y="49"/>
                  </a:lnTo>
                  <a:lnTo>
                    <a:pt x="1297" y="49"/>
                  </a:lnTo>
                  <a:lnTo>
                    <a:pt x="1297" y="38"/>
                  </a:lnTo>
                  <a:lnTo>
                    <a:pt x="1302" y="49"/>
                  </a:lnTo>
                  <a:lnTo>
                    <a:pt x="1280" y="78"/>
                  </a:lnTo>
                  <a:lnTo>
                    <a:pt x="1217" y="87"/>
                  </a:lnTo>
                  <a:lnTo>
                    <a:pt x="1217" y="87"/>
                  </a:lnTo>
                  <a:lnTo>
                    <a:pt x="1217" y="87"/>
                  </a:lnTo>
                  <a:close/>
                  <a:moveTo>
                    <a:pt x="1335" y="87"/>
                  </a:moveTo>
                  <a:lnTo>
                    <a:pt x="1323" y="78"/>
                  </a:lnTo>
                  <a:lnTo>
                    <a:pt x="1318" y="61"/>
                  </a:lnTo>
                  <a:lnTo>
                    <a:pt x="1335" y="54"/>
                  </a:lnTo>
                  <a:lnTo>
                    <a:pt x="1351" y="71"/>
                  </a:lnTo>
                  <a:lnTo>
                    <a:pt x="1335" y="87"/>
                  </a:lnTo>
                  <a:lnTo>
                    <a:pt x="1335" y="87"/>
                  </a:lnTo>
                  <a:lnTo>
                    <a:pt x="1335" y="87"/>
                  </a:lnTo>
                  <a:close/>
                  <a:moveTo>
                    <a:pt x="1280" y="116"/>
                  </a:moveTo>
                  <a:lnTo>
                    <a:pt x="1264" y="94"/>
                  </a:lnTo>
                  <a:lnTo>
                    <a:pt x="1302" y="78"/>
                  </a:lnTo>
                  <a:lnTo>
                    <a:pt x="1302" y="71"/>
                  </a:lnTo>
                  <a:lnTo>
                    <a:pt x="1318" y="87"/>
                  </a:lnTo>
                  <a:lnTo>
                    <a:pt x="1313" y="104"/>
                  </a:lnTo>
                  <a:lnTo>
                    <a:pt x="1280" y="116"/>
                  </a:lnTo>
                  <a:lnTo>
                    <a:pt x="1280" y="116"/>
                  </a:lnTo>
                  <a:lnTo>
                    <a:pt x="1280" y="116"/>
                  </a:lnTo>
                  <a:close/>
                  <a:moveTo>
                    <a:pt x="1268" y="116"/>
                  </a:moveTo>
                  <a:lnTo>
                    <a:pt x="1226" y="111"/>
                  </a:lnTo>
                  <a:lnTo>
                    <a:pt x="1247" y="104"/>
                  </a:lnTo>
                  <a:lnTo>
                    <a:pt x="1268" y="116"/>
                  </a:lnTo>
                  <a:lnTo>
                    <a:pt x="1268" y="116"/>
                  </a:lnTo>
                  <a:lnTo>
                    <a:pt x="1268" y="116"/>
                  </a:lnTo>
                  <a:close/>
                  <a:moveTo>
                    <a:pt x="1188" y="116"/>
                  </a:moveTo>
                  <a:lnTo>
                    <a:pt x="1179" y="104"/>
                  </a:lnTo>
                  <a:lnTo>
                    <a:pt x="1193" y="104"/>
                  </a:lnTo>
                  <a:lnTo>
                    <a:pt x="1188" y="116"/>
                  </a:lnTo>
                  <a:lnTo>
                    <a:pt x="1188" y="116"/>
                  </a:lnTo>
                  <a:lnTo>
                    <a:pt x="1188" y="116"/>
                  </a:lnTo>
                  <a:close/>
                  <a:moveTo>
                    <a:pt x="1054" y="144"/>
                  </a:moveTo>
                  <a:lnTo>
                    <a:pt x="1049" y="144"/>
                  </a:lnTo>
                  <a:lnTo>
                    <a:pt x="1032" y="116"/>
                  </a:lnTo>
                  <a:lnTo>
                    <a:pt x="1042" y="111"/>
                  </a:lnTo>
                  <a:lnTo>
                    <a:pt x="1070" y="132"/>
                  </a:lnTo>
                  <a:lnTo>
                    <a:pt x="1054" y="144"/>
                  </a:lnTo>
                  <a:lnTo>
                    <a:pt x="1054" y="144"/>
                  </a:lnTo>
                  <a:lnTo>
                    <a:pt x="1054" y="144"/>
                  </a:lnTo>
                  <a:close/>
                  <a:moveTo>
                    <a:pt x="999" y="132"/>
                  </a:moveTo>
                  <a:lnTo>
                    <a:pt x="994" y="127"/>
                  </a:lnTo>
                  <a:lnTo>
                    <a:pt x="1011" y="116"/>
                  </a:lnTo>
                  <a:lnTo>
                    <a:pt x="1011" y="132"/>
                  </a:lnTo>
                  <a:lnTo>
                    <a:pt x="999" y="132"/>
                  </a:lnTo>
                  <a:lnTo>
                    <a:pt x="999" y="132"/>
                  </a:lnTo>
                  <a:lnTo>
                    <a:pt x="999" y="132"/>
                  </a:lnTo>
                  <a:close/>
                  <a:moveTo>
                    <a:pt x="1103" y="144"/>
                  </a:moveTo>
                  <a:lnTo>
                    <a:pt x="1087" y="144"/>
                  </a:lnTo>
                  <a:lnTo>
                    <a:pt x="1096" y="127"/>
                  </a:lnTo>
                  <a:lnTo>
                    <a:pt x="1103" y="116"/>
                  </a:lnTo>
                  <a:lnTo>
                    <a:pt x="1117" y="127"/>
                  </a:lnTo>
                  <a:lnTo>
                    <a:pt x="1117" y="144"/>
                  </a:lnTo>
                  <a:lnTo>
                    <a:pt x="1103" y="144"/>
                  </a:lnTo>
                  <a:lnTo>
                    <a:pt x="1103" y="144"/>
                  </a:lnTo>
                  <a:lnTo>
                    <a:pt x="1103" y="144"/>
                  </a:lnTo>
                  <a:close/>
                  <a:moveTo>
                    <a:pt x="1032" y="132"/>
                  </a:moveTo>
                  <a:lnTo>
                    <a:pt x="1016" y="132"/>
                  </a:lnTo>
                  <a:lnTo>
                    <a:pt x="1028" y="127"/>
                  </a:lnTo>
                  <a:lnTo>
                    <a:pt x="1032" y="132"/>
                  </a:lnTo>
                  <a:lnTo>
                    <a:pt x="1032" y="132"/>
                  </a:lnTo>
                  <a:lnTo>
                    <a:pt x="1032" y="132"/>
                  </a:lnTo>
                  <a:close/>
                  <a:moveTo>
                    <a:pt x="1124" y="144"/>
                  </a:moveTo>
                  <a:lnTo>
                    <a:pt x="1117" y="132"/>
                  </a:lnTo>
                  <a:lnTo>
                    <a:pt x="1124" y="132"/>
                  </a:lnTo>
                  <a:lnTo>
                    <a:pt x="1124" y="144"/>
                  </a:lnTo>
                  <a:lnTo>
                    <a:pt x="1124" y="144"/>
                  </a:lnTo>
                  <a:lnTo>
                    <a:pt x="1124" y="144"/>
                  </a:lnTo>
                  <a:close/>
                  <a:moveTo>
                    <a:pt x="973" y="149"/>
                  </a:moveTo>
                  <a:lnTo>
                    <a:pt x="973" y="132"/>
                  </a:lnTo>
                  <a:lnTo>
                    <a:pt x="994" y="144"/>
                  </a:lnTo>
                  <a:lnTo>
                    <a:pt x="973" y="149"/>
                  </a:lnTo>
                  <a:lnTo>
                    <a:pt x="973" y="149"/>
                  </a:lnTo>
                  <a:lnTo>
                    <a:pt x="973" y="149"/>
                  </a:lnTo>
                  <a:close/>
                  <a:moveTo>
                    <a:pt x="999" y="172"/>
                  </a:moveTo>
                  <a:lnTo>
                    <a:pt x="973" y="160"/>
                  </a:lnTo>
                  <a:lnTo>
                    <a:pt x="1011" y="132"/>
                  </a:lnTo>
                  <a:lnTo>
                    <a:pt x="1016" y="149"/>
                  </a:lnTo>
                  <a:lnTo>
                    <a:pt x="1032" y="144"/>
                  </a:lnTo>
                  <a:lnTo>
                    <a:pt x="1042" y="149"/>
                  </a:lnTo>
                  <a:lnTo>
                    <a:pt x="999" y="172"/>
                  </a:lnTo>
                  <a:lnTo>
                    <a:pt x="999" y="172"/>
                  </a:lnTo>
                  <a:lnTo>
                    <a:pt x="999" y="172"/>
                  </a:lnTo>
                  <a:close/>
                  <a:moveTo>
                    <a:pt x="1124" y="160"/>
                  </a:moveTo>
                  <a:lnTo>
                    <a:pt x="1117" y="149"/>
                  </a:lnTo>
                  <a:lnTo>
                    <a:pt x="1141" y="149"/>
                  </a:lnTo>
                  <a:lnTo>
                    <a:pt x="1124" y="160"/>
                  </a:lnTo>
                  <a:lnTo>
                    <a:pt x="1124" y="160"/>
                  </a:lnTo>
                  <a:lnTo>
                    <a:pt x="1124" y="160"/>
                  </a:lnTo>
                  <a:close/>
                  <a:moveTo>
                    <a:pt x="1028" y="172"/>
                  </a:moveTo>
                  <a:lnTo>
                    <a:pt x="1049" y="149"/>
                  </a:lnTo>
                  <a:lnTo>
                    <a:pt x="1054" y="160"/>
                  </a:lnTo>
                  <a:lnTo>
                    <a:pt x="1049" y="165"/>
                  </a:lnTo>
                  <a:lnTo>
                    <a:pt x="1028" y="172"/>
                  </a:lnTo>
                  <a:lnTo>
                    <a:pt x="1028" y="172"/>
                  </a:lnTo>
                  <a:lnTo>
                    <a:pt x="1028" y="172"/>
                  </a:lnTo>
                  <a:close/>
                  <a:moveTo>
                    <a:pt x="1750" y="182"/>
                  </a:moveTo>
                  <a:lnTo>
                    <a:pt x="1746" y="182"/>
                  </a:lnTo>
                  <a:lnTo>
                    <a:pt x="1750" y="165"/>
                  </a:lnTo>
                  <a:lnTo>
                    <a:pt x="1767" y="172"/>
                  </a:lnTo>
                  <a:lnTo>
                    <a:pt x="1750" y="182"/>
                  </a:lnTo>
                  <a:lnTo>
                    <a:pt x="1750" y="182"/>
                  </a:lnTo>
                  <a:lnTo>
                    <a:pt x="1750" y="182"/>
                  </a:lnTo>
                  <a:close/>
                  <a:moveTo>
                    <a:pt x="1103" y="172"/>
                  </a:moveTo>
                  <a:lnTo>
                    <a:pt x="1103" y="165"/>
                  </a:lnTo>
                  <a:lnTo>
                    <a:pt x="1117" y="165"/>
                  </a:lnTo>
                  <a:lnTo>
                    <a:pt x="1117" y="172"/>
                  </a:lnTo>
                  <a:lnTo>
                    <a:pt x="1103" y="172"/>
                  </a:lnTo>
                  <a:lnTo>
                    <a:pt x="1103" y="172"/>
                  </a:lnTo>
                  <a:lnTo>
                    <a:pt x="1103" y="172"/>
                  </a:lnTo>
                  <a:close/>
                  <a:moveTo>
                    <a:pt x="945" y="189"/>
                  </a:moveTo>
                  <a:lnTo>
                    <a:pt x="961" y="189"/>
                  </a:lnTo>
                  <a:lnTo>
                    <a:pt x="945" y="189"/>
                  </a:lnTo>
                  <a:lnTo>
                    <a:pt x="945" y="172"/>
                  </a:lnTo>
                  <a:lnTo>
                    <a:pt x="978" y="189"/>
                  </a:lnTo>
                  <a:lnTo>
                    <a:pt x="973" y="165"/>
                  </a:lnTo>
                  <a:lnTo>
                    <a:pt x="994" y="182"/>
                  </a:lnTo>
                  <a:lnTo>
                    <a:pt x="978" y="189"/>
                  </a:lnTo>
                  <a:lnTo>
                    <a:pt x="978" y="205"/>
                  </a:lnTo>
                  <a:lnTo>
                    <a:pt x="973" y="205"/>
                  </a:lnTo>
                  <a:lnTo>
                    <a:pt x="924" y="205"/>
                  </a:lnTo>
                  <a:lnTo>
                    <a:pt x="940" y="198"/>
                  </a:lnTo>
                  <a:lnTo>
                    <a:pt x="928" y="189"/>
                  </a:lnTo>
                  <a:lnTo>
                    <a:pt x="945" y="189"/>
                  </a:lnTo>
                  <a:lnTo>
                    <a:pt x="945" y="189"/>
                  </a:lnTo>
                  <a:lnTo>
                    <a:pt x="945" y="189"/>
                  </a:lnTo>
                  <a:close/>
                  <a:moveTo>
                    <a:pt x="839" y="255"/>
                  </a:moveTo>
                  <a:lnTo>
                    <a:pt x="865" y="243"/>
                  </a:lnTo>
                  <a:lnTo>
                    <a:pt x="848" y="238"/>
                  </a:lnTo>
                  <a:lnTo>
                    <a:pt x="853" y="238"/>
                  </a:lnTo>
                  <a:lnTo>
                    <a:pt x="839" y="227"/>
                  </a:lnTo>
                  <a:lnTo>
                    <a:pt x="848" y="227"/>
                  </a:lnTo>
                  <a:lnTo>
                    <a:pt x="886" y="222"/>
                  </a:lnTo>
                  <a:lnTo>
                    <a:pt x="865" y="215"/>
                  </a:lnTo>
                  <a:lnTo>
                    <a:pt x="891" y="222"/>
                  </a:lnTo>
                  <a:lnTo>
                    <a:pt x="886" y="205"/>
                  </a:lnTo>
                  <a:lnTo>
                    <a:pt x="902" y="215"/>
                  </a:lnTo>
                  <a:lnTo>
                    <a:pt x="891" y="205"/>
                  </a:lnTo>
                  <a:lnTo>
                    <a:pt x="907" y="205"/>
                  </a:lnTo>
                  <a:lnTo>
                    <a:pt x="928" y="227"/>
                  </a:lnTo>
                  <a:lnTo>
                    <a:pt x="919" y="238"/>
                  </a:lnTo>
                  <a:lnTo>
                    <a:pt x="919" y="243"/>
                  </a:lnTo>
                  <a:lnTo>
                    <a:pt x="924" y="255"/>
                  </a:lnTo>
                  <a:lnTo>
                    <a:pt x="886" y="255"/>
                  </a:lnTo>
                  <a:lnTo>
                    <a:pt x="853" y="276"/>
                  </a:lnTo>
                  <a:lnTo>
                    <a:pt x="865" y="272"/>
                  </a:lnTo>
                  <a:lnTo>
                    <a:pt x="831" y="272"/>
                  </a:lnTo>
                  <a:lnTo>
                    <a:pt x="865" y="255"/>
                  </a:lnTo>
                  <a:lnTo>
                    <a:pt x="839" y="255"/>
                  </a:lnTo>
                  <a:lnTo>
                    <a:pt x="839" y="255"/>
                  </a:lnTo>
                  <a:lnTo>
                    <a:pt x="839" y="255"/>
                  </a:lnTo>
                  <a:close/>
                  <a:moveTo>
                    <a:pt x="746" y="293"/>
                  </a:moveTo>
                  <a:lnTo>
                    <a:pt x="739" y="276"/>
                  </a:lnTo>
                  <a:lnTo>
                    <a:pt x="746" y="272"/>
                  </a:lnTo>
                  <a:lnTo>
                    <a:pt x="794" y="243"/>
                  </a:lnTo>
                  <a:lnTo>
                    <a:pt x="784" y="260"/>
                  </a:lnTo>
                  <a:lnTo>
                    <a:pt x="746" y="293"/>
                  </a:lnTo>
                  <a:lnTo>
                    <a:pt x="746" y="293"/>
                  </a:lnTo>
                  <a:lnTo>
                    <a:pt x="746" y="293"/>
                  </a:lnTo>
                  <a:close/>
                  <a:moveTo>
                    <a:pt x="876" y="276"/>
                  </a:moveTo>
                  <a:lnTo>
                    <a:pt x="876" y="272"/>
                  </a:lnTo>
                  <a:lnTo>
                    <a:pt x="891" y="272"/>
                  </a:lnTo>
                  <a:lnTo>
                    <a:pt x="876" y="276"/>
                  </a:lnTo>
                  <a:lnTo>
                    <a:pt x="876" y="276"/>
                  </a:lnTo>
                  <a:lnTo>
                    <a:pt x="876" y="276"/>
                  </a:lnTo>
                  <a:close/>
                  <a:moveTo>
                    <a:pt x="676" y="326"/>
                  </a:moveTo>
                  <a:lnTo>
                    <a:pt x="671" y="316"/>
                  </a:lnTo>
                  <a:lnTo>
                    <a:pt x="676" y="300"/>
                  </a:lnTo>
                  <a:lnTo>
                    <a:pt x="702" y="309"/>
                  </a:lnTo>
                  <a:lnTo>
                    <a:pt x="709" y="293"/>
                  </a:lnTo>
                  <a:lnTo>
                    <a:pt x="725" y="300"/>
                  </a:lnTo>
                  <a:lnTo>
                    <a:pt x="709" y="283"/>
                  </a:lnTo>
                  <a:lnTo>
                    <a:pt x="713" y="276"/>
                  </a:lnTo>
                  <a:lnTo>
                    <a:pt x="739" y="300"/>
                  </a:lnTo>
                  <a:lnTo>
                    <a:pt x="739" y="316"/>
                  </a:lnTo>
                  <a:lnTo>
                    <a:pt x="713" y="333"/>
                  </a:lnTo>
                  <a:lnTo>
                    <a:pt x="702" y="326"/>
                  </a:lnTo>
                  <a:lnTo>
                    <a:pt x="725" y="309"/>
                  </a:lnTo>
                  <a:lnTo>
                    <a:pt x="676" y="326"/>
                  </a:lnTo>
                  <a:lnTo>
                    <a:pt x="676" y="326"/>
                  </a:lnTo>
                  <a:lnTo>
                    <a:pt x="676" y="326"/>
                  </a:lnTo>
                  <a:close/>
                  <a:moveTo>
                    <a:pt x="815" y="293"/>
                  </a:moveTo>
                  <a:lnTo>
                    <a:pt x="801" y="283"/>
                  </a:lnTo>
                  <a:lnTo>
                    <a:pt x="822" y="283"/>
                  </a:lnTo>
                  <a:lnTo>
                    <a:pt x="815" y="293"/>
                  </a:lnTo>
                  <a:lnTo>
                    <a:pt x="815" y="293"/>
                  </a:lnTo>
                  <a:lnTo>
                    <a:pt x="815" y="293"/>
                  </a:lnTo>
                  <a:close/>
                  <a:moveTo>
                    <a:pt x="777" y="283"/>
                  </a:moveTo>
                  <a:lnTo>
                    <a:pt x="768" y="300"/>
                  </a:lnTo>
                  <a:lnTo>
                    <a:pt x="777" y="309"/>
                  </a:lnTo>
                  <a:lnTo>
                    <a:pt x="763" y="338"/>
                  </a:lnTo>
                  <a:lnTo>
                    <a:pt x="794" y="293"/>
                  </a:lnTo>
                  <a:lnTo>
                    <a:pt x="815" y="300"/>
                  </a:lnTo>
                  <a:lnTo>
                    <a:pt x="822" y="326"/>
                  </a:lnTo>
                  <a:lnTo>
                    <a:pt x="815" y="333"/>
                  </a:lnTo>
                  <a:lnTo>
                    <a:pt x="794" y="333"/>
                  </a:lnTo>
                  <a:lnTo>
                    <a:pt x="777" y="354"/>
                  </a:lnTo>
                  <a:lnTo>
                    <a:pt x="768" y="349"/>
                  </a:lnTo>
                  <a:lnTo>
                    <a:pt x="756" y="366"/>
                  </a:lnTo>
                  <a:lnTo>
                    <a:pt x="730" y="366"/>
                  </a:lnTo>
                  <a:lnTo>
                    <a:pt x="756" y="338"/>
                  </a:lnTo>
                  <a:lnTo>
                    <a:pt x="746" y="338"/>
                  </a:lnTo>
                  <a:lnTo>
                    <a:pt x="709" y="371"/>
                  </a:lnTo>
                  <a:lnTo>
                    <a:pt x="730" y="338"/>
                  </a:lnTo>
                  <a:lnTo>
                    <a:pt x="725" y="338"/>
                  </a:lnTo>
                  <a:lnTo>
                    <a:pt x="746" y="326"/>
                  </a:lnTo>
                  <a:lnTo>
                    <a:pt x="739" y="309"/>
                  </a:lnTo>
                  <a:lnTo>
                    <a:pt x="763" y="316"/>
                  </a:lnTo>
                  <a:lnTo>
                    <a:pt x="739" y="309"/>
                  </a:lnTo>
                  <a:lnTo>
                    <a:pt x="756" y="283"/>
                  </a:lnTo>
                  <a:lnTo>
                    <a:pt x="777" y="283"/>
                  </a:lnTo>
                  <a:lnTo>
                    <a:pt x="777" y="283"/>
                  </a:lnTo>
                  <a:lnTo>
                    <a:pt x="777" y="283"/>
                  </a:lnTo>
                  <a:close/>
                  <a:moveTo>
                    <a:pt x="709" y="293"/>
                  </a:moveTo>
                  <a:lnTo>
                    <a:pt x="702" y="283"/>
                  </a:lnTo>
                  <a:lnTo>
                    <a:pt x="709" y="283"/>
                  </a:lnTo>
                  <a:lnTo>
                    <a:pt x="709" y="293"/>
                  </a:lnTo>
                  <a:lnTo>
                    <a:pt x="709" y="293"/>
                  </a:lnTo>
                  <a:lnTo>
                    <a:pt x="709" y="293"/>
                  </a:lnTo>
                  <a:close/>
                  <a:moveTo>
                    <a:pt x="869" y="300"/>
                  </a:moveTo>
                  <a:lnTo>
                    <a:pt x="853" y="293"/>
                  </a:lnTo>
                  <a:lnTo>
                    <a:pt x="886" y="293"/>
                  </a:lnTo>
                  <a:lnTo>
                    <a:pt x="869" y="300"/>
                  </a:lnTo>
                  <a:lnTo>
                    <a:pt x="869" y="300"/>
                  </a:lnTo>
                  <a:lnTo>
                    <a:pt x="869" y="300"/>
                  </a:lnTo>
                  <a:close/>
                  <a:moveTo>
                    <a:pt x="839" y="316"/>
                  </a:moveTo>
                  <a:lnTo>
                    <a:pt x="848" y="293"/>
                  </a:lnTo>
                  <a:lnTo>
                    <a:pt x="865" y="309"/>
                  </a:lnTo>
                  <a:lnTo>
                    <a:pt x="839" y="316"/>
                  </a:lnTo>
                  <a:lnTo>
                    <a:pt x="839" y="316"/>
                  </a:lnTo>
                  <a:lnTo>
                    <a:pt x="839" y="316"/>
                  </a:lnTo>
                  <a:close/>
                  <a:moveTo>
                    <a:pt x="794" y="354"/>
                  </a:moveTo>
                  <a:lnTo>
                    <a:pt x="801" y="338"/>
                  </a:lnTo>
                  <a:lnTo>
                    <a:pt x="815" y="349"/>
                  </a:lnTo>
                  <a:lnTo>
                    <a:pt x="794" y="354"/>
                  </a:lnTo>
                  <a:lnTo>
                    <a:pt x="794" y="354"/>
                  </a:lnTo>
                  <a:lnTo>
                    <a:pt x="794" y="354"/>
                  </a:lnTo>
                  <a:close/>
                  <a:moveTo>
                    <a:pt x="654" y="387"/>
                  </a:moveTo>
                  <a:lnTo>
                    <a:pt x="659" y="366"/>
                  </a:lnTo>
                  <a:lnTo>
                    <a:pt x="676" y="366"/>
                  </a:lnTo>
                  <a:lnTo>
                    <a:pt x="671" y="354"/>
                  </a:lnTo>
                  <a:lnTo>
                    <a:pt x="676" y="354"/>
                  </a:lnTo>
                  <a:lnTo>
                    <a:pt x="702" y="349"/>
                  </a:lnTo>
                  <a:lnTo>
                    <a:pt x="692" y="366"/>
                  </a:lnTo>
                  <a:lnTo>
                    <a:pt x="725" y="349"/>
                  </a:lnTo>
                  <a:lnTo>
                    <a:pt x="702" y="371"/>
                  </a:lnTo>
                  <a:lnTo>
                    <a:pt x="654" y="387"/>
                  </a:lnTo>
                  <a:lnTo>
                    <a:pt x="654" y="387"/>
                  </a:lnTo>
                  <a:lnTo>
                    <a:pt x="654" y="387"/>
                  </a:lnTo>
                  <a:close/>
                  <a:moveTo>
                    <a:pt x="654" y="371"/>
                  </a:moveTo>
                  <a:lnTo>
                    <a:pt x="650" y="366"/>
                  </a:lnTo>
                  <a:lnTo>
                    <a:pt x="654" y="366"/>
                  </a:lnTo>
                  <a:lnTo>
                    <a:pt x="654" y="371"/>
                  </a:lnTo>
                  <a:lnTo>
                    <a:pt x="654" y="371"/>
                  </a:lnTo>
                  <a:lnTo>
                    <a:pt x="654" y="371"/>
                  </a:lnTo>
                  <a:close/>
                  <a:moveTo>
                    <a:pt x="638" y="371"/>
                  </a:moveTo>
                  <a:lnTo>
                    <a:pt x="633" y="366"/>
                  </a:lnTo>
                  <a:lnTo>
                    <a:pt x="638" y="366"/>
                  </a:lnTo>
                  <a:lnTo>
                    <a:pt x="638" y="371"/>
                  </a:lnTo>
                  <a:lnTo>
                    <a:pt x="638" y="371"/>
                  </a:lnTo>
                  <a:lnTo>
                    <a:pt x="638" y="371"/>
                  </a:lnTo>
                  <a:close/>
                  <a:moveTo>
                    <a:pt x="605" y="394"/>
                  </a:moveTo>
                  <a:lnTo>
                    <a:pt x="600" y="394"/>
                  </a:lnTo>
                  <a:lnTo>
                    <a:pt x="605" y="371"/>
                  </a:lnTo>
                  <a:lnTo>
                    <a:pt x="650" y="371"/>
                  </a:lnTo>
                  <a:lnTo>
                    <a:pt x="605" y="394"/>
                  </a:lnTo>
                  <a:lnTo>
                    <a:pt x="605" y="394"/>
                  </a:lnTo>
                  <a:lnTo>
                    <a:pt x="605" y="394"/>
                  </a:lnTo>
                  <a:close/>
                  <a:moveTo>
                    <a:pt x="583" y="404"/>
                  </a:moveTo>
                  <a:lnTo>
                    <a:pt x="583" y="394"/>
                  </a:lnTo>
                  <a:lnTo>
                    <a:pt x="595" y="387"/>
                  </a:lnTo>
                  <a:lnTo>
                    <a:pt x="600" y="387"/>
                  </a:lnTo>
                  <a:lnTo>
                    <a:pt x="583" y="404"/>
                  </a:lnTo>
                  <a:lnTo>
                    <a:pt x="583" y="404"/>
                  </a:lnTo>
                  <a:lnTo>
                    <a:pt x="583" y="404"/>
                  </a:lnTo>
                  <a:close/>
                  <a:moveTo>
                    <a:pt x="550" y="427"/>
                  </a:moveTo>
                  <a:lnTo>
                    <a:pt x="579" y="387"/>
                  </a:lnTo>
                  <a:lnTo>
                    <a:pt x="583" y="394"/>
                  </a:lnTo>
                  <a:lnTo>
                    <a:pt x="579" y="411"/>
                  </a:lnTo>
                  <a:lnTo>
                    <a:pt x="550" y="427"/>
                  </a:lnTo>
                  <a:lnTo>
                    <a:pt x="550" y="427"/>
                  </a:lnTo>
                  <a:lnTo>
                    <a:pt x="550" y="427"/>
                  </a:lnTo>
                  <a:close/>
                  <a:moveTo>
                    <a:pt x="756" y="404"/>
                  </a:moveTo>
                  <a:lnTo>
                    <a:pt x="746" y="404"/>
                  </a:lnTo>
                  <a:lnTo>
                    <a:pt x="777" y="404"/>
                  </a:lnTo>
                  <a:lnTo>
                    <a:pt x="756" y="404"/>
                  </a:lnTo>
                  <a:lnTo>
                    <a:pt x="756" y="404"/>
                  </a:lnTo>
                  <a:lnTo>
                    <a:pt x="756" y="404"/>
                  </a:lnTo>
                  <a:close/>
                  <a:moveTo>
                    <a:pt x="725" y="411"/>
                  </a:moveTo>
                  <a:lnTo>
                    <a:pt x="709" y="411"/>
                  </a:lnTo>
                  <a:lnTo>
                    <a:pt x="730" y="411"/>
                  </a:lnTo>
                  <a:lnTo>
                    <a:pt x="725" y="411"/>
                  </a:lnTo>
                  <a:lnTo>
                    <a:pt x="725" y="411"/>
                  </a:lnTo>
                  <a:lnTo>
                    <a:pt x="725" y="411"/>
                  </a:lnTo>
                  <a:close/>
                  <a:moveTo>
                    <a:pt x="654" y="522"/>
                  </a:moveTo>
                  <a:lnTo>
                    <a:pt x="638" y="515"/>
                  </a:lnTo>
                  <a:lnTo>
                    <a:pt x="659" y="503"/>
                  </a:lnTo>
                  <a:lnTo>
                    <a:pt x="654" y="522"/>
                  </a:lnTo>
                  <a:lnTo>
                    <a:pt x="654" y="522"/>
                  </a:lnTo>
                  <a:lnTo>
                    <a:pt x="654" y="522"/>
                  </a:lnTo>
                  <a:close/>
                  <a:moveTo>
                    <a:pt x="550" y="614"/>
                  </a:moveTo>
                  <a:lnTo>
                    <a:pt x="562" y="609"/>
                  </a:lnTo>
                  <a:lnTo>
                    <a:pt x="550" y="614"/>
                  </a:lnTo>
                  <a:lnTo>
                    <a:pt x="550" y="614"/>
                  </a:lnTo>
                  <a:lnTo>
                    <a:pt x="550" y="614"/>
                  </a:lnTo>
                  <a:close/>
                  <a:moveTo>
                    <a:pt x="524" y="642"/>
                  </a:moveTo>
                  <a:lnTo>
                    <a:pt x="541" y="614"/>
                  </a:lnTo>
                  <a:lnTo>
                    <a:pt x="546" y="631"/>
                  </a:lnTo>
                  <a:lnTo>
                    <a:pt x="524" y="642"/>
                  </a:lnTo>
                  <a:lnTo>
                    <a:pt x="524" y="642"/>
                  </a:lnTo>
                  <a:lnTo>
                    <a:pt x="524" y="642"/>
                  </a:lnTo>
                  <a:close/>
                  <a:moveTo>
                    <a:pt x="529" y="666"/>
                  </a:moveTo>
                  <a:lnTo>
                    <a:pt x="541" y="649"/>
                  </a:lnTo>
                  <a:lnTo>
                    <a:pt x="562" y="642"/>
                  </a:lnTo>
                  <a:lnTo>
                    <a:pt x="529" y="666"/>
                  </a:lnTo>
                  <a:lnTo>
                    <a:pt x="529" y="666"/>
                  </a:lnTo>
                  <a:lnTo>
                    <a:pt x="529" y="666"/>
                  </a:lnTo>
                  <a:close/>
                  <a:moveTo>
                    <a:pt x="491" y="699"/>
                  </a:moveTo>
                  <a:lnTo>
                    <a:pt x="487" y="687"/>
                  </a:lnTo>
                  <a:lnTo>
                    <a:pt x="498" y="683"/>
                  </a:lnTo>
                  <a:lnTo>
                    <a:pt x="491" y="699"/>
                  </a:lnTo>
                  <a:lnTo>
                    <a:pt x="491" y="699"/>
                  </a:lnTo>
                  <a:lnTo>
                    <a:pt x="491" y="699"/>
                  </a:lnTo>
                  <a:close/>
                  <a:moveTo>
                    <a:pt x="508" y="737"/>
                  </a:moveTo>
                  <a:lnTo>
                    <a:pt x="513" y="699"/>
                  </a:lnTo>
                  <a:lnTo>
                    <a:pt x="541" y="720"/>
                  </a:lnTo>
                  <a:lnTo>
                    <a:pt x="508" y="737"/>
                  </a:lnTo>
                  <a:lnTo>
                    <a:pt x="508" y="737"/>
                  </a:lnTo>
                  <a:lnTo>
                    <a:pt x="508" y="737"/>
                  </a:lnTo>
                  <a:close/>
                  <a:moveTo>
                    <a:pt x="508" y="758"/>
                  </a:moveTo>
                  <a:lnTo>
                    <a:pt x="498" y="753"/>
                  </a:lnTo>
                  <a:lnTo>
                    <a:pt x="513" y="737"/>
                  </a:lnTo>
                  <a:lnTo>
                    <a:pt x="524" y="753"/>
                  </a:lnTo>
                  <a:lnTo>
                    <a:pt x="508" y="758"/>
                  </a:lnTo>
                  <a:lnTo>
                    <a:pt x="508" y="758"/>
                  </a:lnTo>
                  <a:lnTo>
                    <a:pt x="508" y="758"/>
                  </a:lnTo>
                  <a:close/>
                  <a:moveTo>
                    <a:pt x="470" y="758"/>
                  </a:moveTo>
                  <a:lnTo>
                    <a:pt x="470" y="753"/>
                  </a:lnTo>
                  <a:lnTo>
                    <a:pt x="487" y="753"/>
                  </a:lnTo>
                  <a:lnTo>
                    <a:pt x="470" y="758"/>
                  </a:lnTo>
                  <a:lnTo>
                    <a:pt x="470" y="758"/>
                  </a:lnTo>
                  <a:lnTo>
                    <a:pt x="470" y="758"/>
                  </a:lnTo>
                  <a:close/>
                  <a:moveTo>
                    <a:pt x="437" y="782"/>
                  </a:moveTo>
                  <a:lnTo>
                    <a:pt x="416" y="782"/>
                  </a:lnTo>
                  <a:lnTo>
                    <a:pt x="437" y="770"/>
                  </a:lnTo>
                  <a:lnTo>
                    <a:pt x="444" y="777"/>
                  </a:lnTo>
                  <a:lnTo>
                    <a:pt x="437" y="782"/>
                  </a:lnTo>
                  <a:lnTo>
                    <a:pt x="437" y="782"/>
                  </a:lnTo>
                  <a:lnTo>
                    <a:pt x="437" y="782"/>
                  </a:lnTo>
                  <a:close/>
                  <a:moveTo>
                    <a:pt x="454" y="810"/>
                  </a:moveTo>
                  <a:lnTo>
                    <a:pt x="444" y="810"/>
                  </a:lnTo>
                  <a:lnTo>
                    <a:pt x="454" y="798"/>
                  </a:lnTo>
                  <a:lnTo>
                    <a:pt x="454" y="810"/>
                  </a:lnTo>
                  <a:lnTo>
                    <a:pt x="454" y="810"/>
                  </a:lnTo>
                  <a:lnTo>
                    <a:pt x="454" y="810"/>
                  </a:lnTo>
                  <a:close/>
                  <a:moveTo>
                    <a:pt x="461" y="827"/>
                  </a:moveTo>
                  <a:lnTo>
                    <a:pt x="444" y="827"/>
                  </a:lnTo>
                  <a:lnTo>
                    <a:pt x="432" y="810"/>
                  </a:lnTo>
                  <a:lnTo>
                    <a:pt x="461" y="815"/>
                  </a:lnTo>
                  <a:lnTo>
                    <a:pt x="461" y="827"/>
                  </a:lnTo>
                  <a:lnTo>
                    <a:pt x="461" y="827"/>
                  </a:lnTo>
                  <a:lnTo>
                    <a:pt x="461" y="827"/>
                  </a:lnTo>
                  <a:close/>
                  <a:moveTo>
                    <a:pt x="243" y="921"/>
                  </a:moveTo>
                  <a:lnTo>
                    <a:pt x="276" y="905"/>
                  </a:lnTo>
                  <a:lnTo>
                    <a:pt x="276" y="909"/>
                  </a:lnTo>
                  <a:lnTo>
                    <a:pt x="243" y="921"/>
                  </a:lnTo>
                  <a:lnTo>
                    <a:pt x="243" y="921"/>
                  </a:lnTo>
                  <a:lnTo>
                    <a:pt x="243" y="921"/>
                  </a:lnTo>
                  <a:close/>
                  <a:moveTo>
                    <a:pt x="255" y="942"/>
                  </a:moveTo>
                  <a:lnTo>
                    <a:pt x="239" y="942"/>
                  </a:lnTo>
                  <a:lnTo>
                    <a:pt x="281" y="921"/>
                  </a:lnTo>
                  <a:lnTo>
                    <a:pt x="298" y="926"/>
                  </a:lnTo>
                  <a:lnTo>
                    <a:pt x="255" y="942"/>
                  </a:lnTo>
                  <a:lnTo>
                    <a:pt x="255" y="942"/>
                  </a:lnTo>
                  <a:lnTo>
                    <a:pt x="255" y="942"/>
                  </a:lnTo>
                  <a:close/>
                  <a:moveTo>
                    <a:pt x="222" y="959"/>
                  </a:moveTo>
                  <a:lnTo>
                    <a:pt x="206" y="947"/>
                  </a:lnTo>
                  <a:lnTo>
                    <a:pt x="222" y="942"/>
                  </a:lnTo>
                  <a:lnTo>
                    <a:pt x="227" y="947"/>
                  </a:lnTo>
                  <a:lnTo>
                    <a:pt x="222" y="959"/>
                  </a:lnTo>
                  <a:lnTo>
                    <a:pt x="222" y="959"/>
                  </a:lnTo>
                  <a:lnTo>
                    <a:pt x="222" y="959"/>
                  </a:lnTo>
                  <a:close/>
                  <a:moveTo>
                    <a:pt x="260" y="959"/>
                  </a:moveTo>
                  <a:lnTo>
                    <a:pt x="255" y="959"/>
                  </a:lnTo>
                  <a:lnTo>
                    <a:pt x="272" y="959"/>
                  </a:lnTo>
                  <a:lnTo>
                    <a:pt x="260" y="959"/>
                  </a:lnTo>
                  <a:lnTo>
                    <a:pt x="260" y="959"/>
                  </a:lnTo>
                  <a:lnTo>
                    <a:pt x="260" y="959"/>
                  </a:lnTo>
                  <a:close/>
                  <a:moveTo>
                    <a:pt x="243" y="975"/>
                  </a:moveTo>
                  <a:lnTo>
                    <a:pt x="239" y="964"/>
                  </a:lnTo>
                  <a:lnTo>
                    <a:pt x="255" y="959"/>
                  </a:lnTo>
                  <a:lnTo>
                    <a:pt x="260" y="975"/>
                  </a:lnTo>
                  <a:lnTo>
                    <a:pt x="243" y="975"/>
                  </a:lnTo>
                  <a:lnTo>
                    <a:pt x="243" y="975"/>
                  </a:lnTo>
                  <a:lnTo>
                    <a:pt x="243" y="975"/>
                  </a:lnTo>
                  <a:close/>
                  <a:moveTo>
                    <a:pt x="222" y="975"/>
                  </a:moveTo>
                  <a:lnTo>
                    <a:pt x="217" y="975"/>
                  </a:lnTo>
                  <a:lnTo>
                    <a:pt x="222" y="964"/>
                  </a:lnTo>
                  <a:lnTo>
                    <a:pt x="227" y="975"/>
                  </a:lnTo>
                  <a:lnTo>
                    <a:pt x="222" y="975"/>
                  </a:lnTo>
                  <a:lnTo>
                    <a:pt x="222" y="975"/>
                  </a:lnTo>
                  <a:lnTo>
                    <a:pt x="222" y="975"/>
                  </a:lnTo>
                  <a:close/>
                  <a:moveTo>
                    <a:pt x="239" y="975"/>
                  </a:moveTo>
                  <a:lnTo>
                    <a:pt x="227" y="964"/>
                  </a:lnTo>
                  <a:lnTo>
                    <a:pt x="243" y="975"/>
                  </a:lnTo>
                  <a:lnTo>
                    <a:pt x="239" y="975"/>
                  </a:lnTo>
                  <a:lnTo>
                    <a:pt x="239" y="975"/>
                  </a:lnTo>
                  <a:lnTo>
                    <a:pt x="239" y="975"/>
                  </a:lnTo>
                  <a:close/>
                  <a:moveTo>
                    <a:pt x="206" y="992"/>
                  </a:moveTo>
                  <a:lnTo>
                    <a:pt x="201" y="992"/>
                  </a:lnTo>
                  <a:lnTo>
                    <a:pt x="217" y="980"/>
                  </a:lnTo>
                  <a:lnTo>
                    <a:pt x="206" y="992"/>
                  </a:lnTo>
                  <a:lnTo>
                    <a:pt x="206" y="992"/>
                  </a:lnTo>
                  <a:lnTo>
                    <a:pt x="206" y="992"/>
                  </a:lnTo>
                  <a:close/>
                  <a:moveTo>
                    <a:pt x="184" y="997"/>
                  </a:moveTo>
                  <a:lnTo>
                    <a:pt x="172" y="997"/>
                  </a:lnTo>
                  <a:lnTo>
                    <a:pt x="172" y="992"/>
                  </a:lnTo>
                  <a:lnTo>
                    <a:pt x="189" y="980"/>
                  </a:lnTo>
                  <a:lnTo>
                    <a:pt x="201" y="992"/>
                  </a:lnTo>
                  <a:lnTo>
                    <a:pt x="184" y="997"/>
                  </a:lnTo>
                  <a:lnTo>
                    <a:pt x="184" y="997"/>
                  </a:lnTo>
                  <a:lnTo>
                    <a:pt x="184" y="997"/>
                  </a:lnTo>
                  <a:close/>
                  <a:moveTo>
                    <a:pt x="135" y="1020"/>
                  </a:moveTo>
                  <a:lnTo>
                    <a:pt x="135" y="1013"/>
                  </a:lnTo>
                  <a:lnTo>
                    <a:pt x="146" y="1013"/>
                  </a:lnTo>
                  <a:lnTo>
                    <a:pt x="135" y="1020"/>
                  </a:lnTo>
                  <a:lnTo>
                    <a:pt x="135" y="1020"/>
                  </a:lnTo>
                  <a:lnTo>
                    <a:pt x="135" y="1020"/>
                  </a:lnTo>
                  <a:close/>
                  <a:moveTo>
                    <a:pt x="130" y="1032"/>
                  </a:moveTo>
                  <a:lnTo>
                    <a:pt x="130" y="1020"/>
                  </a:lnTo>
                  <a:lnTo>
                    <a:pt x="146" y="1032"/>
                  </a:lnTo>
                  <a:lnTo>
                    <a:pt x="130" y="1032"/>
                  </a:lnTo>
                  <a:lnTo>
                    <a:pt x="130" y="1032"/>
                  </a:lnTo>
                  <a:lnTo>
                    <a:pt x="130" y="1032"/>
                  </a:lnTo>
                  <a:close/>
                  <a:moveTo>
                    <a:pt x="97" y="1058"/>
                  </a:moveTo>
                  <a:lnTo>
                    <a:pt x="83" y="1053"/>
                  </a:lnTo>
                  <a:lnTo>
                    <a:pt x="109" y="1058"/>
                  </a:lnTo>
                  <a:lnTo>
                    <a:pt x="97" y="1058"/>
                  </a:lnTo>
                  <a:lnTo>
                    <a:pt x="97" y="1058"/>
                  </a:lnTo>
                  <a:lnTo>
                    <a:pt x="97" y="1058"/>
                  </a:lnTo>
                  <a:close/>
                  <a:moveTo>
                    <a:pt x="66" y="1075"/>
                  </a:moveTo>
                  <a:lnTo>
                    <a:pt x="66" y="1058"/>
                  </a:lnTo>
                  <a:lnTo>
                    <a:pt x="83" y="1070"/>
                  </a:lnTo>
                  <a:lnTo>
                    <a:pt x="66" y="1075"/>
                  </a:lnTo>
                  <a:lnTo>
                    <a:pt x="66" y="1075"/>
                  </a:lnTo>
                  <a:lnTo>
                    <a:pt x="66" y="1075"/>
                  </a:lnTo>
                  <a:close/>
                  <a:moveTo>
                    <a:pt x="54" y="1086"/>
                  </a:moveTo>
                  <a:lnTo>
                    <a:pt x="45" y="1086"/>
                  </a:lnTo>
                  <a:lnTo>
                    <a:pt x="45" y="1075"/>
                  </a:lnTo>
                  <a:lnTo>
                    <a:pt x="66" y="1075"/>
                  </a:lnTo>
                  <a:lnTo>
                    <a:pt x="54" y="1086"/>
                  </a:lnTo>
                  <a:lnTo>
                    <a:pt x="54" y="1086"/>
                  </a:lnTo>
                  <a:lnTo>
                    <a:pt x="54" y="1086"/>
                  </a:lnTo>
                  <a:close/>
                  <a:moveTo>
                    <a:pt x="12" y="1115"/>
                  </a:moveTo>
                  <a:lnTo>
                    <a:pt x="12" y="1103"/>
                  </a:lnTo>
                  <a:lnTo>
                    <a:pt x="12" y="1115"/>
                  </a:lnTo>
                  <a:lnTo>
                    <a:pt x="12" y="1115"/>
                  </a:lnTo>
                  <a:lnTo>
                    <a:pt x="12" y="1115"/>
                  </a:lnTo>
                  <a:close/>
                  <a:moveTo>
                    <a:pt x="7" y="1131"/>
                  </a:moveTo>
                  <a:lnTo>
                    <a:pt x="0" y="1124"/>
                  </a:lnTo>
                  <a:lnTo>
                    <a:pt x="7" y="1115"/>
                  </a:lnTo>
                  <a:lnTo>
                    <a:pt x="21" y="1124"/>
                  </a:lnTo>
                  <a:lnTo>
                    <a:pt x="7" y="1131"/>
                  </a:lnTo>
                  <a:lnTo>
                    <a:pt x="7" y="1131"/>
                  </a:lnTo>
                  <a:lnTo>
                    <a:pt x="7" y="1131"/>
                  </a:lnTo>
                  <a:close/>
                  <a:moveTo>
                    <a:pt x="0" y="1214"/>
                  </a:moveTo>
                  <a:lnTo>
                    <a:pt x="0" y="1197"/>
                  </a:lnTo>
                  <a:lnTo>
                    <a:pt x="7" y="1197"/>
                  </a:lnTo>
                  <a:lnTo>
                    <a:pt x="7" y="1202"/>
                  </a:lnTo>
                  <a:lnTo>
                    <a:pt x="0" y="1214"/>
                  </a:lnTo>
                  <a:lnTo>
                    <a:pt x="0" y="1214"/>
                  </a:lnTo>
                  <a:lnTo>
                    <a:pt x="0" y="1214"/>
                  </a:lnTo>
                  <a:close/>
                  <a:moveTo>
                    <a:pt x="45" y="1275"/>
                  </a:moveTo>
                  <a:lnTo>
                    <a:pt x="38" y="1268"/>
                  </a:lnTo>
                  <a:lnTo>
                    <a:pt x="59" y="1252"/>
                  </a:lnTo>
                  <a:lnTo>
                    <a:pt x="59" y="1275"/>
                  </a:lnTo>
                  <a:lnTo>
                    <a:pt x="45" y="1275"/>
                  </a:lnTo>
                  <a:lnTo>
                    <a:pt x="45" y="1275"/>
                  </a:lnTo>
                  <a:lnTo>
                    <a:pt x="45" y="1275"/>
                  </a:lnTo>
                  <a:close/>
                  <a:moveTo>
                    <a:pt x="21" y="1280"/>
                  </a:moveTo>
                  <a:lnTo>
                    <a:pt x="7" y="1268"/>
                  </a:lnTo>
                  <a:lnTo>
                    <a:pt x="21" y="1275"/>
                  </a:lnTo>
                  <a:lnTo>
                    <a:pt x="21" y="1280"/>
                  </a:lnTo>
                  <a:lnTo>
                    <a:pt x="21" y="1280"/>
                  </a:lnTo>
                  <a:lnTo>
                    <a:pt x="21" y="1280"/>
                  </a:lnTo>
                  <a:close/>
                  <a:moveTo>
                    <a:pt x="12" y="1308"/>
                  </a:moveTo>
                  <a:lnTo>
                    <a:pt x="7" y="1297"/>
                  </a:lnTo>
                  <a:lnTo>
                    <a:pt x="7" y="1275"/>
                  </a:lnTo>
                  <a:lnTo>
                    <a:pt x="12" y="1292"/>
                  </a:lnTo>
                  <a:lnTo>
                    <a:pt x="12" y="1308"/>
                  </a:lnTo>
                  <a:lnTo>
                    <a:pt x="12" y="1308"/>
                  </a:lnTo>
                  <a:lnTo>
                    <a:pt x="12" y="1308"/>
                  </a:lnTo>
                  <a:close/>
                  <a:moveTo>
                    <a:pt x="76" y="1313"/>
                  </a:moveTo>
                  <a:lnTo>
                    <a:pt x="76" y="1308"/>
                  </a:lnTo>
                  <a:lnTo>
                    <a:pt x="83" y="1308"/>
                  </a:lnTo>
                  <a:lnTo>
                    <a:pt x="76" y="1313"/>
                  </a:lnTo>
                  <a:lnTo>
                    <a:pt x="76" y="1313"/>
                  </a:lnTo>
                  <a:lnTo>
                    <a:pt x="76" y="1313"/>
                  </a:lnTo>
                  <a:close/>
                  <a:moveTo>
                    <a:pt x="28" y="1325"/>
                  </a:moveTo>
                  <a:lnTo>
                    <a:pt x="21" y="1325"/>
                  </a:lnTo>
                  <a:lnTo>
                    <a:pt x="21" y="1313"/>
                  </a:lnTo>
                  <a:lnTo>
                    <a:pt x="28" y="1325"/>
                  </a:lnTo>
                  <a:lnTo>
                    <a:pt x="28" y="1325"/>
                  </a:lnTo>
                  <a:lnTo>
                    <a:pt x="28" y="1325"/>
                  </a:lnTo>
                  <a:close/>
                  <a:moveTo>
                    <a:pt x="45" y="1337"/>
                  </a:moveTo>
                  <a:lnTo>
                    <a:pt x="38" y="1325"/>
                  </a:lnTo>
                  <a:lnTo>
                    <a:pt x="54" y="1313"/>
                  </a:lnTo>
                  <a:lnTo>
                    <a:pt x="45" y="1337"/>
                  </a:lnTo>
                  <a:lnTo>
                    <a:pt x="45" y="1337"/>
                  </a:lnTo>
                  <a:lnTo>
                    <a:pt x="45" y="1337"/>
                  </a:lnTo>
                  <a:close/>
                  <a:moveTo>
                    <a:pt x="38" y="1353"/>
                  </a:moveTo>
                  <a:lnTo>
                    <a:pt x="28" y="1346"/>
                  </a:lnTo>
                  <a:lnTo>
                    <a:pt x="28" y="1330"/>
                  </a:lnTo>
                  <a:lnTo>
                    <a:pt x="45" y="1337"/>
                  </a:lnTo>
                  <a:lnTo>
                    <a:pt x="38" y="1353"/>
                  </a:lnTo>
                  <a:lnTo>
                    <a:pt x="38" y="1353"/>
                  </a:lnTo>
                  <a:lnTo>
                    <a:pt x="38" y="1353"/>
                  </a:lnTo>
                  <a:close/>
                  <a:moveTo>
                    <a:pt x="21" y="1370"/>
                  </a:moveTo>
                  <a:lnTo>
                    <a:pt x="12" y="1346"/>
                  </a:lnTo>
                  <a:lnTo>
                    <a:pt x="21" y="1337"/>
                  </a:lnTo>
                  <a:lnTo>
                    <a:pt x="38" y="1353"/>
                  </a:lnTo>
                  <a:lnTo>
                    <a:pt x="21" y="1353"/>
                  </a:lnTo>
                  <a:lnTo>
                    <a:pt x="21" y="1370"/>
                  </a:lnTo>
                  <a:lnTo>
                    <a:pt x="21" y="1370"/>
                  </a:lnTo>
                  <a:lnTo>
                    <a:pt x="21" y="1370"/>
                  </a:lnTo>
                  <a:close/>
                  <a:moveTo>
                    <a:pt x="21" y="1420"/>
                  </a:moveTo>
                  <a:lnTo>
                    <a:pt x="21" y="1386"/>
                  </a:lnTo>
                  <a:lnTo>
                    <a:pt x="28" y="1408"/>
                  </a:lnTo>
                  <a:lnTo>
                    <a:pt x="21" y="1420"/>
                  </a:lnTo>
                  <a:lnTo>
                    <a:pt x="21" y="1420"/>
                  </a:lnTo>
                  <a:lnTo>
                    <a:pt x="21" y="1420"/>
                  </a:lnTo>
                  <a:close/>
                </a:path>
              </a:pathLst>
            </a:custGeom>
            <a:solidFill>
              <a:schemeClr val="bg2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80" name="Freeform 524">
              <a:extLst>
                <a:ext uri="{FF2B5EF4-FFF2-40B4-BE49-F238E27FC236}">
                  <a16:creationId xmlns:a16="http://schemas.microsoft.com/office/drawing/2014/main" id="{F4A12B79-1E04-4E17-8417-E34C621DADD6}"/>
                </a:ext>
              </a:extLst>
            </p:cNvPr>
            <p:cNvSpPr>
              <a:spLocks/>
            </p:cNvSpPr>
            <p:nvPr/>
          </p:nvSpPr>
          <p:spPr bwMode="gray">
            <a:xfrm>
              <a:off x="7023229" y="2396129"/>
              <a:ext cx="88094" cy="47275"/>
            </a:xfrm>
            <a:custGeom>
              <a:avLst/>
              <a:gdLst>
                <a:gd name="T0" fmla="*/ 163 w 574"/>
                <a:gd name="T1" fmla="*/ 215 h 308"/>
                <a:gd name="T2" fmla="*/ 125 w 574"/>
                <a:gd name="T3" fmla="*/ 199 h 308"/>
                <a:gd name="T4" fmla="*/ 75 w 574"/>
                <a:gd name="T5" fmla="*/ 159 h 308"/>
                <a:gd name="T6" fmla="*/ 33 w 574"/>
                <a:gd name="T7" fmla="*/ 142 h 308"/>
                <a:gd name="T8" fmla="*/ 16 w 574"/>
                <a:gd name="T9" fmla="*/ 88 h 308"/>
                <a:gd name="T10" fmla="*/ 21 w 574"/>
                <a:gd name="T11" fmla="*/ 67 h 308"/>
                <a:gd name="T12" fmla="*/ 71 w 574"/>
                <a:gd name="T13" fmla="*/ 17 h 308"/>
                <a:gd name="T14" fmla="*/ 75 w 574"/>
                <a:gd name="T15" fmla="*/ 22 h 308"/>
                <a:gd name="T16" fmla="*/ 92 w 574"/>
                <a:gd name="T17" fmla="*/ 0 h 308"/>
                <a:gd name="T18" fmla="*/ 146 w 574"/>
                <a:gd name="T19" fmla="*/ 22 h 308"/>
                <a:gd name="T20" fmla="*/ 196 w 574"/>
                <a:gd name="T21" fmla="*/ 55 h 308"/>
                <a:gd name="T22" fmla="*/ 250 w 574"/>
                <a:gd name="T23" fmla="*/ 93 h 308"/>
                <a:gd name="T24" fmla="*/ 271 w 574"/>
                <a:gd name="T25" fmla="*/ 88 h 308"/>
                <a:gd name="T26" fmla="*/ 293 w 574"/>
                <a:gd name="T27" fmla="*/ 109 h 308"/>
                <a:gd name="T28" fmla="*/ 330 w 574"/>
                <a:gd name="T29" fmla="*/ 142 h 308"/>
                <a:gd name="T30" fmla="*/ 359 w 574"/>
                <a:gd name="T31" fmla="*/ 133 h 308"/>
                <a:gd name="T32" fmla="*/ 397 w 574"/>
                <a:gd name="T33" fmla="*/ 166 h 308"/>
                <a:gd name="T34" fmla="*/ 418 w 574"/>
                <a:gd name="T35" fmla="*/ 187 h 308"/>
                <a:gd name="T36" fmla="*/ 427 w 574"/>
                <a:gd name="T37" fmla="*/ 175 h 308"/>
                <a:gd name="T38" fmla="*/ 434 w 574"/>
                <a:gd name="T39" fmla="*/ 182 h 308"/>
                <a:gd name="T40" fmla="*/ 456 w 574"/>
                <a:gd name="T41" fmla="*/ 175 h 308"/>
                <a:gd name="T42" fmla="*/ 505 w 574"/>
                <a:gd name="T43" fmla="*/ 199 h 308"/>
                <a:gd name="T44" fmla="*/ 548 w 574"/>
                <a:gd name="T45" fmla="*/ 187 h 308"/>
                <a:gd name="T46" fmla="*/ 574 w 574"/>
                <a:gd name="T47" fmla="*/ 199 h 308"/>
                <a:gd name="T48" fmla="*/ 560 w 574"/>
                <a:gd name="T49" fmla="*/ 253 h 308"/>
                <a:gd name="T50" fmla="*/ 560 w 574"/>
                <a:gd name="T51" fmla="*/ 308 h 308"/>
                <a:gd name="T52" fmla="*/ 505 w 574"/>
                <a:gd name="T53" fmla="*/ 308 h 308"/>
                <a:gd name="T54" fmla="*/ 472 w 574"/>
                <a:gd name="T55" fmla="*/ 308 h 308"/>
                <a:gd name="T56" fmla="*/ 413 w 574"/>
                <a:gd name="T57" fmla="*/ 291 h 308"/>
                <a:gd name="T58" fmla="*/ 373 w 574"/>
                <a:gd name="T59" fmla="*/ 286 h 308"/>
                <a:gd name="T60" fmla="*/ 321 w 574"/>
                <a:gd name="T61" fmla="*/ 237 h 308"/>
                <a:gd name="T62" fmla="*/ 288 w 574"/>
                <a:gd name="T63" fmla="*/ 220 h 308"/>
                <a:gd name="T64" fmla="*/ 267 w 574"/>
                <a:gd name="T65" fmla="*/ 237 h 308"/>
                <a:gd name="T66" fmla="*/ 222 w 574"/>
                <a:gd name="T67" fmla="*/ 237 h 308"/>
                <a:gd name="T68" fmla="*/ 184 w 574"/>
                <a:gd name="T69" fmla="*/ 220 h 308"/>
                <a:gd name="T70" fmla="*/ 184 w 574"/>
                <a:gd name="T71" fmla="*/ 204 h 3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574" h="308">
                  <a:moveTo>
                    <a:pt x="184" y="204"/>
                  </a:moveTo>
                  <a:lnTo>
                    <a:pt x="163" y="215"/>
                  </a:lnTo>
                  <a:lnTo>
                    <a:pt x="141" y="187"/>
                  </a:lnTo>
                  <a:lnTo>
                    <a:pt x="125" y="199"/>
                  </a:lnTo>
                  <a:lnTo>
                    <a:pt x="87" y="175"/>
                  </a:lnTo>
                  <a:lnTo>
                    <a:pt x="75" y="159"/>
                  </a:lnTo>
                  <a:lnTo>
                    <a:pt x="33" y="133"/>
                  </a:lnTo>
                  <a:lnTo>
                    <a:pt x="33" y="142"/>
                  </a:lnTo>
                  <a:lnTo>
                    <a:pt x="0" y="121"/>
                  </a:lnTo>
                  <a:lnTo>
                    <a:pt x="16" y="88"/>
                  </a:lnTo>
                  <a:lnTo>
                    <a:pt x="4" y="71"/>
                  </a:lnTo>
                  <a:lnTo>
                    <a:pt x="21" y="67"/>
                  </a:lnTo>
                  <a:lnTo>
                    <a:pt x="21" y="50"/>
                  </a:lnTo>
                  <a:lnTo>
                    <a:pt x="71" y="17"/>
                  </a:lnTo>
                  <a:lnTo>
                    <a:pt x="71" y="22"/>
                  </a:lnTo>
                  <a:lnTo>
                    <a:pt x="75" y="22"/>
                  </a:lnTo>
                  <a:lnTo>
                    <a:pt x="92" y="17"/>
                  </a:lnTo>
                  <a:lnTo>
                    <a:pt x="92" y="0"/>
                  </a:lnTo>
                  <a:lnTo>
                    <a:pt x="141" y="0"/>
                  </a:lnTo>
                  <a:lnTo>
                    <a:pt x="146" y="22"/>
                  </a:lnTo>
                  <a:lnTo>
                    <a:pt x="163" y="22"/>
                  </a:lnTo>
                  <a:lnTo>
                    <a:pt x="196" y="55"/>
                  </a:lnTo>
                  <a:lnTo>
                    <a:pt x="217" y="55"/>
                  </a:lnTo>
                  <a:lnTo>
                    <a:pt x="250" y="93"/>
                  </a:lnTo>
                  <a:lnTo>
                    <a:pt x="255" y="93"/>
                  </a:lnTo>
                  <a:lnTo>
                    <a:pt x="271" y="88"/>
                  </a:lnTo>
                  <a:lnTo>
                    <a:pt x="288" y="88"/>
                  </a:lnTo>
                  <a:lnTo>
                    <a:pt x="293" y="109"/>
                  </a:lnTo>
                  <a:lnTo>
                    <a:pt x="309" y="126"/>
                  </a:lnTo>
                  <a:lnTo>
                    <a:pt x="330" y="142"/>
                  </a:lnTo>
                  <a:lnTo>
                    <a:pt x="347" y="133"/>
                  </a:lnTo>
                  <a:lnTo>
                    <a:pt x="359" y="133"/>
                  </a:lnTo>
                  <a:lnTo>
                    <a:pt x="359" y="159"/>
                  </a:lnTo>
                  <a:lnTo>
                    <a:pt x="397" y="166"/>
                  </a:lnTo>
                  <a:lnTo>
                    <a:pt x="413" y="175"/>
                  </a:lnTo>
                  <a:lnTo>
                    <a:pt x="418" y="187"/>
                  </a:lnTo>
                  <a:lnTo>
                    <a:pt x="427" y="187"/>
                  </a:lnTo>
                  <a:lnTo>
                    <a:pt x="427" y="175"/>
                  </a:lnTo>
                  <a:lnTo>
                    <a:pt x="434" y="175"/>
                  </a:lnTo>
                  <a:lnTo>
                    <a:pt x="434" y="182"/>
                  </a:lnTo>
                  <a:lnTo>
                    <a:pt x="451" y="187"/>
                  </a:lnTo>
                  <a:lnTo>
                    <a:pt x="456" y="175"/>
                  </a:lnTo>
                  <a:lnTo>
                    <a:pt x="467" y="175"/>
                  </a:lnTo>
                  <a:lnTo>
                    <a:pt x="505" y="199"/>
                  </a:lnTo>
                  <a:lnTo>
                    <a:pt x="536" y="199"/>
                  </a:lnTo>
                  <a:lnTo>
                    <a:pt x="548" y="187"/>
                  </a:lnTo>
                  <a:lnTo>
                    <a:pt x="564" y="199"/>
                  </a:lnTo>
                  <a:lnTo>
                    <a:pt x="574" y="199"/>
                  </a:lnTo>
                  <a:lnTo>
                    <a:pt x="564" y="220"/>
                  </a:lnTo>
                  <a:lnTo>
                    <a:pt x="560" y="253"/>
                  </a:lnTo>
                  <a:lnTo>
                    <a:pt x="574" y="286"/>
                  </a:lnTo>
                  <a:lnTo>
                    <a:pt x="560" y="308"/>
                  </a:lnTo>
                  <a:lnTo>
                    <a:pt x="548" y="298"/>
                  </a:lnTo>
                  <a:lnTo>
                    <a:pt x="505" y="308"/>
                  </a:lnTo>
                  <a:lnTo>
                    <a:pt x="489" y="298"/>
                  </a:lnTo>
                  <a:lnTo>
                    <a:pt x="472" y="308"/>
                  </a:lnTo>
                  <a:lnTo>
                    <a:pt x="418" y="286"/>
                  </a:lnTo>
                  <a:lnTo>
                    <a:pt x="413" y="291"/>
                  </a:lnTo>
                  <a:lnTo>
                    <a:pt x="385" y="270"/>
                  </a:lnTo>
                  <a:lnTo>
                    <a:pt x="373" y="286"/>
                  </a:lnTo>
                  <a:lnTo>
                    <a:pt x="326" y="258"/>
                  </a:lnTo>
                  <a:lnTo>
                    <a:pt x="321" y="237"/>
                  </a:lnTo>
                  <a:lnTo>
                    <a:pt x="293" y="232"/>
                  </a:lnTo>
                  <a:lnTo>
                    <a:pt x="288" y="220"/>
                  </a:lnTo>
                  <a:lnTo>
                    <a:pt x="267" y="232"/>
                  </a:lnTo>
                  <a:lnTo>
                    <a:pt x="267" y="237"/>
                  </a:lnTo>
                  <a:lnTo>
                    <a:pt x="234" y="232"/>
                  </a:lnTo>
                  <a:lnTo>
                    <a:pt x="222" y="237"/>
                  </a:lnTo>
                  <a:lnTo>
                    <a:pt x="217" y="232"/>
                  </a:lnTo>
                  <a:lnTo>
                    <a:pt x="184" y="220"/>
                  </a:lnTo>
                  <a:lnTo>
                    <a:pt x="184" y="204"/>
                  </a:lnTo>
                  <a:lnTo>
                    <a:pt x="184" y="204"/>
                  </a:lnTo>
                  <a:lnTo>
                    <a:pt x="184" y="204"/>
                  </a:lnTo>
                  <a:close/>
                </a:path>
              </a:pathLst>
            </a:custGeom>
            <a:solidFill>
              <a:schemeClr val="bg2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81" name="Freeform 525">
              <a:extLst>
                <a:ext uri="{FF2B5EF4-FFF2-40B4-BE49-F238E27FC236}">
                  <a16:creationId xmlns:a16="http://schemas.microsoft.com/office/drawing/2014/main" id="{D3ADB5B4-5A5B-49C5-B4F2-8DC88CED454D}"/>
                </a:ext>
              </a:extLst>
            </p:cNvPr>
            <p:cNvSpPr>
              <a:spLocks/>
            </p:cNvSpPr>
            <p:nvPr/>
          </p:nvSpPr>
          <p:spPr bwMode="gray">
            <a:xfrm>
              <a:off x="5536057" y="2676098"/>
              <a:ext cx="43587" cy="46048"/>
            </a:xfrm>
            <a:custGeom>
              <a:avLst/>
              <a:gdLst>
                <a:gd name="T0" fmla="*/ 279 w 284"/>
                <a:gd name="T1" fmla="*/ 198 h 300"/>
                <a:gd name="T2" fmla="*/ 267 w 284"/>
                <a:gd name="T3" fmla="*/ 206 h 300"/>
                <a:gd name="T4" fmla="*/ 267 w 284"/>
                <a:gd name="T5" fmla="*/ 227 h 300"/>
                <a:gd name="T6" fmla="*/ 262 w 284"/>
                <a:gd name="T7" fmla="*/ 255 h 300"/>
                <a:gd name="T8" fmla="*/ 246 w 284"/>
                <a:gd name="T9" fmla="*/ 260 h 300"/>
                <a:gd name="T10" fmla="*/ 241 w 284"/>
                <a:gd name="T11" fmla="*/ 260 h 300"/>
                <a:gd name="T12" fmla="*/ 241 w 284"/>
                <a:gd name="T13" fmla="*/ 255 h 300"/>
                <a:gd name="T14" fmla="*/ 225 w 284"/>
                <a:gd name="T15" fmla="*/ 255 h 300"/>
                <a:gd name="T16" fmla="*/ 213 w 284"/>
                <a:gd name="T17" fmla="*/ 243 h 300"/>
                <a:gd name="T18" fmla="*/ 170 w 284"/>
                <a:gd name="T19" fmla="*/ 260 h 300"/>
                <a:gd name="T20" fmla="*/ 144 w 284"/>
                <a:gd name="T21" fmla="*/ 255 h 300"/>
                <a:gd name="T22" fmla="*/ 139 w 284"/>
                <a:gd name="T23" fmla="*/ 267 h 300"/>
                <a:gd name="T24" fmla="*/ 156 w 284"/>
                <a:gd name="T25" fmla="*/ 283 h 300"/>
                <a:gd name="T26" fmla="*/ 156 w 284"/>
                <a:gd name="T27" fmla="*/ 293 h 300"/>
                <a:gd name="T28" fmla="*/ 144 w 284"/>
                <a:gd name="T29" fmla="*/ 300 h 300"/>
                <a:gd name="T30" fmla="*/ 118 w 284"/>
                <a:gd name="T31" fmla="*/ 293 h 300"/>
                <a:gd name="T32" fmla="*/ 102 w 284"/>
                <a:gd name="T33" fmla="*/ 283 h 300"/>
                <a:gd name="T34" fmla="*/ 64 w 284"/>
                <a:gd name="T35" fmla="*/ 227 h 300"/>
                <a:gd name="T36" fmla="*/ 54 w 284"/>
                <a:gd name="T37" fmla="*/ 189 h 300"/>
                <a:gd name="T38" fmla="*/ 33 w 284"/>
                <a:gd name="T39" fmla="*/ 189 h 300"/>
                <a:gd name="T40" fmla="*/ 33 w 284"/>
                <a:gd name="T41" fmla="*/ 182 h 300"/>
                <a:gd name="T42" fmla="*/ 0 w 284"/>
                <a:gd name="T43" fmla="*/ 144 h 300"/>
                <a:gd name="T44" fmla="*/ 0 w 284"/>
                <a:gd name="T45" fmla="*/ 132 h 300"/>
                <a:gd name="T46" fmla="*/ 17 w 284"/>
                <a:gd name="T47" fmla="*/ 94 h 300"/>
                <a:gd name="T48" fmla="*/ 12 w 284"/>
                <a:gd name="T49" fmla="*/ 87 h 300"/>
                <a:gd name="T50" fmla="*/ 33 w 284"/>
                <a:gd name="T51" fmla="*/ 71 h 300"/>
                <a:gd name="T52" fmla="*/ 54 w 284"/>
                <a:gd name="T53" fmla="*/ 71 h 300"/>
                <a:gd name="T54" fmla="*/ 54 w 284"/>
                <a:gd name="T55" fmla="*/ 61 h 300"/>
                <a:gd name="T56" fmla="*/ 64 w 284"/>
                <a:gd name="T57" fmla="*/ 61 h 300"/>
                <a:gd name="T58" fmla="*/ 54 w 284"/>
                <a:gd name="T59" fmla="*/ 43 h 300"/>
                <a:gd name="T60" fmla="*/ 64 w 284"/>
                <a:gd name="T61" fmla="*/ 38 h 300"/>
                <a:gd name="T62" fmla="*/ 64 w 284"/>
                <a:gd name="T63" fmla="*/ 33 h 300"/>
                <a:gd name="T64" fmla="*/ 69 w 284"/>
                <a:gd name="T65" fmla="*/ 5 h 300"/>
                <a:gd name="T66" fmla="*/ 80 w 284"/>
                <a:gd name="T67" fmla="*/ 0 h 300"/>
                <a:gd name="T68" fmla="*/ 144 w 284"/>
                <a:gd name="T69" fmla="*/ 17 h 300"/>
                <a:gd name="T70" fmla="*/ 156 w 284"/>
                <a:gd name="T71" fmla="*/ 17 h 300"/>
                <a:gd name="T72" fmla="*/ 156 w 284"/>
                <a:gd name="T73" fmla="*/ 21 h 300"/>
                <a:gd name="T74" fmla="*/ 156 w 284"/>
                <a:gd name="T75" fmla="*/ 5 h 300"/>
                <a:gd name="T76" fmla="*/ 156 w 284"/>
                <a:gd name="T77" fmla="*/ 0 h 300"/>
                <a:gd name="T78" fmla="*/ 191 w 284"/>
                <a:gd name="T79" fmla="*/ 0 h 300"/>
                <a:gd name="T80" fmla="*/ 208 w 284"/>
                <a:gd name="T81" fmla="*/ 5 h 300"/>
                <a:gd name="T82" fmla="*/ 208 w 284"/>
                <a:gd name="T83" fmla="*/ 17 h 300"/>
                <a:gd name="T84" fmla="*/ 225 w 284"/>
                <a:gd name="T85" fmla="*/ 5 h 300"/>
                <a:gd name="T86" fmla="*/ 208 w 284"/>
                <a:gd name="T87" fmla="*/ 0 h 300"/>
                <a:gd name="T88" fmla="*/ 213 w 284"/>
                <a:gd name="T89" fmla="*/ 0 h 300"/>
                <a:gd name="T90" fmla="*/ 284 w 284"/>
                <a:gd name="T91" fmla="*/ 17 h 300"/>
                <a:gd name="T92" fmla="*/ 284 w 284"/>
                <a:gd name="T93" fmla="*/ 33 h 300"/>
                <a:gd name="T94" fmla="*/ 279 w 284"/>
                <a:gd name="T95" fmla="*/ 43 h 300"/>
                <a:gd name="T96" fmla="*/ 250 w 284"/>
                <a:gd name="T97" fmla="*/ 71 h 300"/>
                <a:gd name="T98" fmla="*/ 250 w 284"/>
                <a:gd name="T99" fmla="*/ 87 h 300"/>
                <a:gd name="T100" fmla="*/ 262 w 284"/>
                <a:gd name="T101" fmla="*/ 144 h 300"/>
                <a:gd name="T102" fmla="*/ 284 w 284"/>
                <a:gd name="T103" fmla="*/ 172 h 300"/>
                <a:gd name="T104" fmla="*/ 279 w 284"/>
                <a:gd name="T105" fmla="*/ 198 h 300"/>
                <a:gd name="T106" fmla="*/ 279 w 284"/>
                <a:gd name="T107" fmla="*/ 198 h 300"/>
                <a:gd name="T108" fmla="*/ 279 w 284"/>
                <a:gd name="T109" fmla="*/ 198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84" h="300">
                  <a:moveTo>
                    <a:pt x="279" y="198"/>
                  </a:moveTo>
                  <a:lnTo>
                    <a:pt x="267" y="206"/>
                  </a:lnTo>
                  <a:lnTo>
                    <a:pt x="267" y="227"/>
                  </a:lnTo>
                  <a:lnTo>
                    <a:pt x="262" y="255"/>
                  </a:lnTo>
                  <a:lnTo>
                    <a:pt x="246" y="260"/>
                  </a:lnTo>
                  <a:lnTo>
                    <a:pt x="241" y="260"/>
                  </a:lnTo>
                  <a:lnTo>
                    <a:pt x="241" y="255"/>
                  </a:lnTo>
                  <a:lnTo>
                    <a:pt x="225" y="255"/>
                  </a:lnTo>
                  <a:lnTo>
                    <a:pt x="213" y="243"/>
                  </a:lnTo>
                  <a:lnTo>
                    <a:pt x="170" y="260"/>
                  </a:lnTo>
                  <a:lnTo>
                    <a:pt x="144" y="255"/>
                  </a:lnTo>
                  <a:lnTo>
                    <a:pt x="139" y="267"/>
                  </a:lnTo>
                  <a:lnTo>
                    <a:pt x="156" y="283"/>
                  </a:lnTo>
                  <a:lnTo>
                    <a:pt x="156" y="293"/>
                  </a:lnTo>
                  <a:lnTo>
                    <a:pt x="144" y="300"/>
                  </a:lnTo>
                  <a:lnTo>
                    <a:pt x="118" y="293"/>
                  </a:lnTo>
                  <a:lnTo>
                    <a:pt x="102" y="283"/>
                  </a:lnTo>
                  <a:lnTo>
                    <a:pt x="64" y="227"/>
                  </a:lnTo>
                  <a:lnTo>
                    <a:pt x="54" y="189"/>
                  </a:lnTo>
                  <a:lnTo>
                    <a:pt x="33" y="189"/>
                  </a:lnTo>
                  <a:lnTo>
                    <a:pt x="33" y="182"/>
                  </a:lnTo>
                  <a:lnTo>
                    <a:pt x="0" y="144"/>
                  </a:lnTo>
                  <a:lnTo>
                    <a:pt x="0" y="132"/>
                  </a:lnTo>
                  <a:lnTo>
                    <a:pt x="17" y="94"/>
                  </a:lnTo>
                  <a:lnTo>
                    <a:pt x="12" y="87"/>
                  </a:lnTo>
                  <a:lnTo>
                    <a:pt x="33" y="71"/>
                  </a:lnTo>
                  <a:lnTo>
                    <a:pt x="54" y="71"/>
                  </a:lnTo>
                  <a:lnTo>
                    <a:pt x="54" y="61"/>
                  </a:lnTo>
                  <a:lnTo>
                    <a:pt x="64" y="61"/>
                  </a:lnTo>
                  <a:lnTo>
                    <a:pt x="54" y="43"/>
                  </a:lnTo>
                  <a:lnTo>
                    <a:pt x="64" y="38"/>
                  </a:lnTo>
                  <a:lnTo>
                    <a:pt x="64" y="33"/>
                  </a:lnTo>
                  <a:lnTo>
                    <a:pt x="69" y="5"/>
                  </a:lnTo>
                  <a:lnTo>
                    <a:pt x="80" y="0"/>
                  </a:lnTo>
                  <a:lnTo>
                    <a:pt x="144" y="17"/>
                  </a:lnTo>
                  <a:lnTo>
                    <a:pt x="156" y="17"/>
                  </a:lnTo>
                  <a:lnTo>
                    <a:pt x="156" y="21"/>
                  </a:lnTo>
                  <a:lnTo>
                    <a:pt x="156" y="5"/>
                  </a:lnTo>
                  <a:lnTo>
                    <a:pt x="156" y="0"/>
                  </a:lnTo>
                  <a:lnTo>
                    <a:pt x="191" y="0"/>
                  </a:lnTo>
                  <a:lnTo>
                    <a:pt x="208" y="5"/>
                  </a:lnTo>
                  <a:lnTo>
                    <a:pt x="208" y="17"/>
                  </a:lnTo>
                  <a:lnTo>
                    <a:pt x="225" y="5"/>
                  </a:lnTo>
                  <a:lnTo>
                    <a:pt x="208" y="0"/>
                  </a:lnTo>
                  <a:lnTo>
                    <a:pt x="213" y="0"/>
                  </a:lnTo>
                  <a:lnTo>
                    <a:pt x="284" y="17"/>
                  </a:lnTo>
                  <a:lnTo>
                    <a:pt x="284" y="33"/>
                  </a:lnTo>
                  <a:lnTo>
                    <a:pt x="279" y="43"/>
                  </a:lnTo>
                  <a:lnTo>
                    <a:pt x="250" y="71"/>
                  </a:lnTo>
                  <a:lnTo>
                    <a:pt x="250" y="87"/>
                  </a:lnTo>
                  <a:lnTo>
                    <a:pt x="262" y="144"/>
                  </a:lnTo>
                  <a:lnTo>
                    <a:pt x="284" y="172"/>
                  </a:lnTo>
                  <a:lnTo>
                    <a:pt x="279" y="198"/>
                  </a:lnTo>
                  <a:lnTo>
                    <a:pt x="279" y="198"/>
                  </a:lnTo>
                  <a:lnTo>
                    <a:pt x="279" y="198"/>
                  </a:lnTo>
                  <a:close/>
                </a:path>
              </a:pathLst>
            </a:custGeom>
            <a:solidFill>
              <a:schemeClr val="bg2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82" name="Freeform 526">
              <a:extLst>
                <a:ext uri="{FF2B5EF4-FFF2-40B4-BE49-F238E27FC236}">
                  <a16:creationId xmlns:a16="http://schemas.microsoft.com/office/drawing/2014/main" id="{C4BDFCCB-D420-4EE8-B2CC-49D3C792902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416807" y="2605338"/>
              <a:ext cx="10436" cy="3377"/>
            </a:xfrm>
            <a:custGeom>
              <a:avLst/>
              <a:gdLst>
                <a:gd name="T0" fmla="*/ 33 w 68"/>
                <a:gd name="T1" fmla="*/ 22 h 22"/>
                <a:gd name="T2" fmla="*/ 5 w 68"/>
                <a:gd name="T3" fmla="*/ 7 h 22"/>
                <a:gd name="T4" fmla="*/ 0 w 68"/>
                <a:gd name="T5" fmla="*/ 0 h 22"/>
                <a:gd name="T6" fmla="*/ 33 w 68"/>
                <a:gd name="T7" fmla="*/ 22 h 22"/>
                <a:gd name="T8" fmla="*/ 33 w 68"/>
                <a:gd name="T9" fmla="*/ 22 h 22"/>
                <a:gd name="T10" fmla="*/ 33 w 68"/>
                <a:gd name="T11" fmla="*/ 22 h 22"/>
                <a:gd name="T12" fmla="*/ 68 w 68"/>
                <a:gd name="T13" fmla="*/ 22 h 22"/>
                <a:gd name="T14" fmla="*/ 54 w 68"/>
                <a:gd name="T15" fmla="*/ 0 h 22"/>
                <a:gd name="T16" fmla="*/ 68 w 68"/>
                <a:gd name="T17" fmla="*/ 7 h 22"/>
                <a:gd name="T18" fmla="*/ 68 w 68"/>
                <a:gd name="T19" fmla="*/ 22 h 22"/>
                <a:gd name="T20" fmla="*/ 68 w 68"/>
                <a:gd name="T21" fmla="*/ 22 h 22"/>
                <a:gd name="T22" fmla="*/ 68 w 68"/>
                <a:gd name="T23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8" h="22">
                  <a:moveTo>
                    <a:pt x="33" y="22"/>
                  </a:moveTo>
                  <a:lnTo>
                    <a:pt x="5" y="7"/>
                  </a:lnTo>
                  <a:lnTo>
                    <a:pt x="0" y="0"/>
                  </a:lnTo>
                  <a:lnTo>
                    <a:pt x="33" y="22"/>
                  </a:lnTo>
                  <a:lnTo>
                    <a:pt x="33" y="22"/>
                  </a:lnTo>
                  <a:lnTo>
                    <a:pt x="33" y="22"/>
                  </a:lnTo>
                  <a:close/>
                  <a:moveTo>
                    <a:pt x="68" y="22"/>
                  </a:moveTo>
                  <a:lnTo>
                    <a:pt x="54" y="0"/>
                  </a:lnTo>
                  <a:lnTo>
                    <a:pt x="68" y="7"/>
                  </a:lnTo>
                  <a:lnTo>
                    <a:pt x="68" y="22"/>
                  </a:lnTo>
                  <a:lnTo>
                    <a:pt x="68" y="22"/>
                  </a:lnTo>
                  <a:lnTo>
                    <a:pt x="68" y="22"/>
                  </a:lnTo>
                  <a:close/>
                </a:path>
              </a:pathLst>
            </a:custGeom>
            <a:solidFill>
              <a:schemeClr val="bg2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83" name="Freeform 527">
              <a:extLst>
                <a:ext uri="{FF2B5EF4-FFF2-40B4-BE49-F238E27FC236}">
                  <a16:creationId xmlns:a16="http://schemas.microsoft.com/office/drawing/2014/main" id="{89CD8B7C-0C78-45E8-A6E1-B618E906EB22}"/>
                </a:ext>
              </a:extLst>
            </p:cNvPr>
            <p:cNvSpPr>
              <a:spLocks/>
            </p:cNvSpPr>
            <p:nvPr/>
          </p:nvSpPr>
          <p:spPr bwMode="gray">
            <a:xfrm>
              <a:off x="5218057" y="2574640"/>
              <a:ext cx="47884" cy="48504"/>
            </a:xfrm>
            <a:custGeom>
              <a:avLst/>
              <a:gdLst>
                <a:gd name="T0" fmla="*/ 22 w 312"/>
                <a:gd name="T1" fmla="*/ 151 h 316"/>
                <a:gd name="T2" fmla="*/ 43 w 312"/>
                <a:gd name="T3" fmla="*/ 151 h 316"/>
                <a:gd name="T4" fmla="*/ 52 w 312"/>
                <a:gd name="T5" fmla="*/ 139 h 316"/>
                <a:gd name="T6" fmla="*/ 69 w 312"/>
                <a:gd name="T7" fmla="*/ 127 h 316"/>
                <a:gd name="T8" fmla="*/ 60 w 312"/>
                <a:gd name="T9" fmla="*/ 94 h 316"/>
                <a:gd name="T10" fmla="*/ 90 w 312"/>
                <a:gd name="T11" fmla="*/ 94 h 316"/>
                <a:gd name="T12" fmla="*/ 114 w 312"/>
                <a:gd name="T13" fmla="*/ 73 h 316"/>
                <a:gd name="T14" fmla="*/ 140 w 312"/>
                <a:gd name="T15" fmla="*/ 89 h 316"/>
                <a:gd name="T16" fmla="*/ 140 w 312"/>
                <a:gd name="T17" fmla="*/ 82 h 316"/>
                <a:gd name="T18" fmla="*/ 178 w 312"/>
                <a:gd name="T19" fmla="*/ 49 h 316"/>
                <a:gd name="T20" fmla="*/ 178 w 312"/>
                <a:gd name="T21" fmla="*/ 49 h 316"/>
                <a:gd name="T22" fmla="*/ 194 w 312"/>
                <a:gd name="T23" fmla="*/ 16 h 316"/>
                <a:gd name="T24" fmla="*/ 220 w 312"/>
                <a:gd name="T25" fmla="*/ 33 h 316"/>
                <a:gd name="T26" fmla="*/ 270 w 312"/>
                <a:gd name="T27" fmla="*/ 16 h 316"/>
                <a:gd name="T28" fmla="*/ 291 w 312"/>
                <a:gd name="T29" fmla="*/ 0 h 316"/>
                <a:gd name="T30" fmla="*/ 312 w 312"/>
                <a:gd name="T31" fmla="*/ 0 h 316"/>
                <a:gd name="T32" fmla="*/ 303 w 312"/>
                <a:gd name="T33" fmla="*/ 16 h 316"/>
                <a:gd name="T34" fmla="*/ 308 w 312"/>
                <a:gd name="T35" fmla="*/ 28 h 316"/>
                <a:gd name="T36" fmla="*/ 312 w 312"/>
                <a:gd name="T37" fmla="*/ 54 h 316"/>
                <a:gd name="T38" fmla="*/ 303 w 312"/>
                <a:gd name="T39" fmla="*/ 82 h 316"/>
                <a:gd name="T40" fmla="*/ 286 w 312"/>
                <a:gd name="T41" fmla="*/ 122 h 316"/>
                <a:gd name="T42" fmla="*/ 291 w 312"/>
                <a:gd name="T43" fmla="*/ 193 h 316"/>
                <a:gd name="T44" fmla="*/ 286 w 312"/>
                <a:gd name="T45" fmla="*/ 193 h 316"/>
                <a:gd name="T46" fmla="*/ 291 w 312"/>
                <a:gd name="T47" fmla="*/ 167 h 316"/>
                <a:gd name="T48" fmla="*/ 286 w 312"/>
                <a:gd name="T49" fmla="*/ 160 h 316"/>
                <a:gd name="T50" fmla="*/ 286 w 312"/>
                <a:gd name="T51" fmla="*/ 177 h 316"/>
                <a:gd name="T52" fmla="*/ 274 w 312"/>
                <a:gd name="T53" fmla="*/ 193 h 316"/>
                <a:gd name="T54" fmla="*/ 274 w 312"/>
                <a:gd name="T55" fmla="*/ 222 h 316"/>
                <a:gd name="T56" fmla="*/ 270 w 312"/>
                <a:gd name="T57" fmla="*/ 233 h 316"/>
                <a:gd name="T58" fmla="*/ 270 w 312"/>
                <a:gd name="T59" fmla="*/ 238 h 316"/>
                <a:gd name="T60" fmla="*/ 274 w 312"/>
                <a:gd name="T61" fmla="*/ 233 h 316"/>
                <a:gd name="T62" fmla="*/ 286 w 312"/>
                <a:gd name="T63" fmla="*/ 255 h 316"/>
                <a:gd name="T64" fmla="*/ 270 w 312"/>
                <a:gd name="T65" fmla="*/ 271 h 316"/>
                <a:gd name="T66" fmla="*/ 270 w 312"/>
                <a:gd name="T67" fmla="*/ 290 h 316"/>
                <a:gd name="T68" fmla="*/ 286 w 312"/>
                <a:gd name="T69" fmla="*/ 307 h 316"/>
                <a:gd name="T70" fmla="*/ 274 w 312"/>
                <a:gd name="T71" fmla="*/ 311 h 316"/>
                <a:gd name="T72" fmla="*/ 258 w 312"/>
                <a:gd name="T73" fmla="*/ 316 h 316"/>
                <a:gd name="T74" fmla="*/ 204 w 312"/>
                <a:gd name="T75" fmla="*/ 295 h 316"/>
                <a:gd name="T76" fmla="*/ 194 w 312"/>
                <a:gd name="T77" fmla="*/ 307 h 316"/>
                <a:gd name="T78" fmla="*/ 145 w 312"/>
                <a:gd name="T79" fmla="*/ 278 h 316"/>
                <a:gd name="T80" fmla="*/ 140 w 312"/>
                <a:gd name="T81" fmla="*/ 295 h 316"/>
                <a:gd name="T82" fmla="*/ 86 w 312"/>
                <a:gd name="T83" fmla="*/ 238 h 316"/>
                <a:gd name="T84" fmla="*/ 60 w 312"/>
                <a:gd name="T85" fmla="*/ 205 h 316"/>
                <a:gd name="T86" fmla="*/ 0 w 312"/>
                <a:gd name="T87" fmla="*/ 160 h 316"/>
                <a:gd name="T88" fmla="*/ 5 w 312"/>
                <a:gd name="T89" fmla="*/ 144 h 316"/>
                <a:gd name="T90" fmla="*/ 22 w 312"/>
                <a:gd name="T91" fmla="*/ 160 h 316"/>
                <a:gd name="T92" fmla="*/ 22 w 312"/>
                <a:gd name="T93" fmla="*/ 160 h 316"/>
                <a:gd name="T94" fmla="*/ 22 w 312"/>
                <a:gd name="T95" fmla="*/ 151 h 316"/>
                <a:gd name="T96" fmla="*/ 22 w 312"/>
                <a:gd name="T97" fmla="*/ 151 h 316"/>
                <a:gd name="T98" fmla="*/ 22 w 312"/>
                <a:gd name="T99" fmla="*/ 151 h 3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312" h="316">
                  <a:moveTo>
                    <a:pt x="22" y="151"/>
                  </a:moveTo>
                  <a:lnTo>
                    <a:pt x="43" y="151"/>
                  </a:lnTo>
                  <a:lnTo>
                    <a:pt x="52" y="139"/>
                  </a:lnTo>
                  <a:lnTo>
                    <a:pt x="69" y="127"/>
                  </a:lnTo>
                  <a:lnTo>
                    <a:pt x="60" y="94"/>
                  </a:lnTo>
                  <a:lnTo>
                    <a:pt x="90" y="94"/>
                  </a:lnTo>
                  <a:lnTo>
                    <a:pt x="114" y="73"/>
                  </a:lnTo>
                  <a:lnTo>
                    <a:pt x="140" y="89"/>
                  </a:lnTo>
                  <a:lnTo>
                    <a:pt x="140" y="82"/>
                  </a:lnTo>
                  <a:lnTo>
                    <a:pt x="178" y="49"/>
                  </a:lnTo>
                  <a:lnTo>
                    <a:pt x="178" y="49"/>
                  </a:lnTo>
                  <a:lnTo>
                    <a:pt x="194" y="16"/>
                  </a:lnTo>
                  <a:lnTo>
                    <a:pt x="220" y="33"/>
                  </a:lnTo>
                  <a:lnTo>
                    <a:pt x="270" y="16"/>
                  </a:lnTo>
                  <a:lnTo>
                    <a:pt x="291" y="0"/>
                  </a:lnTo>
                  <a:lnTo>
                    <a:pt x="312" y="0"/>
                  </a:lnTo>
                  <a:lnTo>
                    <a:pt x="303" y="16"/>
                  </a:lnTo>
                  <a:lnTo>
                    <a:pt x="308" y="28"/>
                  </a:lnTo>
                  <a:lnTo>
                    <a:pt x="312" y="54"/>
                  </a:lnTo>
                  <a:lnTo>
                    <a:pt x="303" y="82"/>
                  </a:lnTo>
                  <a:lnTo>
                    <a:pt x="286" y="122"/>
                  </a:lnTo>
                  <a:lnTo>
                    <a:pt x="291" y="193"/>
                  </a:lnTo>
                  <a:lnTo>
                    <a:pt x="286" y="193"/>
                  </a:lnTo>
                  <a:lnTo>
                    <a:pt x="291" y="167"/>
                  </a:lnTo>
                  <a:lnTo>
                    <a:pt x="286" y="160"/>
                  </a:lnTo>
                  <a:lnTo>
                    <a:pt x="286" y="177"/>
                  </a:lnTo>
                  <a:lnTo>
                    <a:pt x="274" y="193"/>
                  </a:lnTo>
                  <a:lnTo>
                    <a:pt x="274" y="222"/>
                  </a:lnTo>
                  <a:lnTo>
                    <a:pt x="270" y="233"/>
                  </a:lnTo>
                  <a:lnTo>
                    <a:pt x="270" y="238"/>
                  </a:lnTo>
                  <a:lnTo>
                    <a:pt x="274" y="233"/>
                  </a:lnTo>
                  <a:lnTo>
                    <a:pt x="286" y="255"/>
                  </a:lnTo>
                  <a:lnTo>
                    <a:pt x="270" y="271"/>
                  </a:lnTo>
                  <a:lnTo>
                    <a:pt x="270" y="290"/>
                  </a:lnTo>
                  <a:lnTo>
                    <a:pt x="286" y="307"/>
                  </a:lnTo>
                  <a:lnTo>
                    <a:pt x="274" y="311"/>
                  </a:lnTo>
                  <a:lnTo>
                    <a:pt x="258" y="316"/>
                  </a:lnTo>
                  <a:lnTo>
                    <a:pt x="204" y="295"/>
                  </a:lnTo>
                  <a:lnTo>
                    <a:pt x="194" y="307"/>
                  </a:lnTo>
                  <a:lnTo>
                    <a:pt x="145" y="278"/>
                  </a:lnTo>
                  <a:lnTo>
                    <a:pt x="140" y="295"/>
                  </a:lnTo>
                  <a:lnTo>
                    <a:pt x="86" y="238"/>
                  </a:lnTo>
                  <a:lnTo>
                    <a:pt x="60" y="205"/>
                  </a:lnTo>
                  <a:lnTo>
                    <a:pt x="0" y="160"/>
                  </a:lnTo>
                  <a:lnTo>
                    <a:pt x="5" y="144"/>
                  </a:lnTo>
                  <a:lnTo>
                    <a:pt x="22" y="160"/>
                  </a:lnTo>
                  <a:lnTo>
                    <a:pt x="22" y="160"/>
                  </a:lnTo>
                  <a:lnTo>
                    <a:pt x="22" y="151"/>
                  </a:lnTo>
                  <a:lnTo>
                    <a:pt x="22" y="151"/>
                  </a:lnTo>
                  <a:lnTo>
                    <a:pt x="22" y="151"/>
                  </a:lnTo>
                  <a:close/>
                </a:path>
              </a:pathLst>
            </a:custGeom>
            <a:solidFill>
              <a:schemeClr val="bg2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84" name="Freeform 528">
              <a:extLst>
                <a:ext uri="{FF2B5EF4-FFF2-40B4-BE49-F238E27FC236}">
                  <a16:creationId xmlns:a16="http://schemas.microsoft.com/office/drawing/2014/main" id="{03359955-4A92-4A4A-8EB1-BF07FB300DE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245793" y="3075331"/>
              <a:ext cx="3841016" cy="308826"/>
            </a:xfrm>
            <a:custGeom>
              <a:avLst/>
              <a:gdLst>
                <a:gd name="T0" fmla="*/ 5 w 25027"/>
                <a:gd name="T1" fmla="*/ 4 h 2012"/>
                <a:gd name="T2" fmla="*/ 24914 w 25027"/>
                <a:gd name="T3" fmla="*/ 708 h 2012"/>
                <a:gd name="T4" fmla="*/ 24990 w 25027"/>
                <a:gd name="T5" fmla="*/ 708 h 2012"/>
                <a:gd name="T6" fmla="*/ 24956 w 25027"/>
                <a:gd name="T7" fmla="*/ 815 h 2012"/>
                <a:gd name="T8" fmla="*/ 24897 w 25027"/>
                <a:gd name="T9" fmla="*/ 848 h 2012"/>
                <a:gd name="T10" fmla="*/ 24772 w 25027"/>
                <a:gd name="T11" fmla="*/ 997 h 2012"/>
                <a:gd name="T12" fmla="*/ 24772 w 25027"/>
                <a:gd name="T13" fmla="*/ 902 h 2012"/>
                <a:gd name="T14" fmla="*/ 24671 w 25027"/>
                <a:gd name="T15" fmla="*/ 815 h 2012"/>
                <a:gd name="T16" fmla="*/ 24751 w 25027"/>
                <a:gd name="T17" fmla="*/ 704 h 2012"/>
                <a:gd name="T18" fmla="*/ 24742 w 25027"/>
                <a:gd name="T19" fmla="*/ 647 h 2012"/>
                <a:gd name="T20" fmla="*/ 24742 w 25027"/>
                <a:gd name="T21" fmla="*/ 614 h 2012"/>
                <a:gd name="T22" fmla="*/ 24704 w 25027"/>
                <a:gd name="T23" fmla="*/ 569 h 2012"/>
                <a:gd name="T24" fmla="*/ 24704 w 25027"/>
                <a:gd name="T25" fmla="*/ 552 h 2012"/>
                <a:gd name="T26" fmla="*/ 24704 w 25027"/>
                <a:gd name="T27" fmla="*/ 569 h 2012"/>
                <a:gd name="T28" fmla="*/ 24659 w 25027"/>
                <a:gd name="T29" fmla="*/ 486 h 2012"/>
                <a:gd name="T30" fmla="*/ 24595 w 25027"/>
                <a:gd name="T31" fmla="*/ 408 h 2012"/>
                <a:gd name="T32" fmla="*/ 24633 w 25027"/>
                <a:gd name="T33" fmla="*/ 458 h 2012"/>
                <a:gd name="T34" fmla="*/ 24697 w 25027"/>
                <a:gd name="T35" fmla="*/ 470 h 2012"/>
                <a:gd name="T36" fmla="*/ 24725 w 25027"/>
                <a:gd name="T37" fmla="*/ 526 h 2012"/>
                <a:gd name="T38" fmla="*/ 24734 w 25027"/>
                <a:gd name="T39" fmla="*/ 581 h 2012"/>
                <a:gd name="T40" fmla="*/ 24789 w 25027"/>
                <a:gd name="T41" fmla="*/ 614 h 2012"/>
                <a:gd name="T42" fmla="*/ 24805 w 25027"/>
                <a:gd name="T43" fmla="*/ 609 h 2012"/>
                <a:gd name="T44" fmla="*/ 24779 w 25027"/>
                <a:gd name="T45" fmla="*/ 560 h 2012"/>
                <a:gd name="T46" fmla="*/ 24768 w 25027"/>
                <a:gd name="T47" fmla="*/ 609 h 2012"/>
                <a:gd name="T48" fmla="*/ 24486 w 25027"/>
                <a:gd name="T49" fmla="*/ 1306 h 2012"/>
                <a:gd name="T50" fmla="*/ 24432 w 25027"/>
                <a:gd name="T51" fmla="*/ 1400 h 2012"/>
                <a:gd name="T52" fmla="*/ 24326 w 25027"/>
                <a:gd name="T53" fmla="*/ 1462 h 2012"/>
                <a:gd name="T54" fmla="*/ 24293 w 25027"/>
                <a:gd name="T55" fmla="*/ 1457 h 2012"/>
                <a:gd name="T56" fmla="*/ 24250 w 25027"/>
                <a:gd name="T57" fmla="*/ 1417 h 2012"/>
                <a:gd name="T58" fmla="*/ 24175 w 25027"/>
                <a:gd name="T59" fmla="*/ 1408 h 2012"/>
                <a:gd name="T60" fmla="*/ 24201 w 25027"/>
                <a:gd name="T61" fmla="*/ 1351 h 2012"/>
                <a:gd name="T62" fmla="*/ 24217 w 25027"/>
                <a:gd name="T63" fmla="*/ 1334 h 2012"/>
                <a:gd name="T64" fmla="*/ 24281 w 25027"/>
                <a:gd name="T65" fmla="*/ 1252 h 2012"/>
                <a:gd name="T66" fmla="*/ 24465 w 25027"/>
                <a:gd name="T67" fmla="*/ 1124 h 2012"/>
                <a:gd name="T68" fmla="*/ 24590 w 25027"/>
                <a:gd name="T69" fmla="*/ 926 h 2012"/>
                <a:gd name="T70" fmla="*/ 24616 w 25027"/>
                <a:gd name="T71" fmla="*/ 942 h 2012"/>
                <a:gd name="T72" fmla="*/ 24682 w 25027"/>
                <a:gd name="T73" fmla="*/ 963 h 2012"/>
                <a:gd name="T74" fmla="*/ 24704 w 25027"/>
                <a:gd name="T75" fmla="*/ 980 h 2012"/>
                <a:gd name="T76" fmla="*/ 24659 w 25027"/>
                <a:gd name="T77" fmla="*/ 1091 h 2012"/>
                <a:gd name="T78" fmla="*/ 24616 w 25027"/>
                <a:gd name="T79" fmla="*/ 1207 h 2012"/>
                <a:gd name="T80" fmla="*/ 24508 w 25027"/>
                <a:gd name="T81" fmla="*/ 1235 h 2012"/>
                <a:gd name="T82" fmla="*/ 24671 w 25027"/>
                <a:gd name="T83" fmla="*/ 942 h 2012"/>
                <a:gd name="T84" fmla="*/ 24704 w 25027"/>
                <a:gd name="T85" fmla="*/ 980 h 2012"/>
                <a:gd name="T86" fmla="*/ 92 w 25027"/>
                <a:gd name="T87" fmla="*/ 1223 h 2012"/>
                <a:gd name="T88" fmla="*/ 97 w 25027"/>
                <a:gd name="T89" fmla="*/ 1202 h 2012"/>
                <a:gd name="T90" fmla="*/ 125 w 25027"/>
                <a:gd name="T91" fmla="*/ 1252 h 2012"/>
                <a:gd name="T92" fmla="*/ 24196 w 25027"/>
                <a:gd name="T93" fmla="*/ 1318 h 2012"/>
                <a:gd name="T94" fmla="*/ 24179 w 25027"/>
                <a:gd name="T95" fmla="*/ 1367 h 2012"/>
                <a:gd name="T96" fmla="*/ 24179 w 25027"/>
                <a:gd name="T97" fmla="*/ 1367 h 2012"/>
                <a:gd name="T98" fmla="*/ 24255 w 25027"/>
                <a:gd name="T99" fmla="*/ 1511 h 2012"/>
                <a:gd name="T100" fmla="*/ 24250 w 25027"/>
                <a:gd name="T101" fmla="*/ 1462 h 2012"/>
                <a:gd name="T102" fmla="*/ 25027 w 25027"/>
                <a:gd name="T103" fmla="*/ 1734 h 2012"/>
                <a:gd name="T104" fmla="*/ 24142 w 25027"/>
                <a:gd name="T105" fmla="*/ 1849 h 2012"/>
                <a:gd name="T106" fmla="*/ 24146 w 25027"/>
                <a:gd name="T107" fmla="*/ 1816 h 2012"/>
                <a:gd name="T108" fmla="*/ 24142 w 25027"/>
                <a:gd name="T109" fmla="*/ 1849 h 2012"/>
                <a:gd name="T110" fmla="*/ 24347 w 25027"/>
                <a:gd name="T111" fmla="*/ 2000 h 20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25027" h="2012">
                  <a:moveTo>
                    <a:pt x="5" y="4"/>
                  </a:moveTo>
                  <a:lnTo>
                    <a:pt x="0" y="0"/>
                  </a:lnTo>
                  <a:lnTo>
                    <a:pt x="5" y="4"/>
                  </a:lnTo>
                  <a:lnTo>
                    <a:pt x="5" y="4"/>
                  </a:lnTo>
                  <a:lnTo>
                    <a:pt x="5" y="4"/>
                  </a:lnTo>
                  <a:lnTo>
                    <a:pt x="5" y="4"/>
                  </a:lnTo>
                  <a:close/>
                  <a:moveTo>
                    <a:pt x="24822" y="647"/>
                  </a:moveTo>
                  <a:lnTo>
                    <a:pt x="24827" y="663"/>
                  </a:lnTo>
                  <a:lnTo>
                    <a:pt x="24843" y="680"/>
                  </a:lnTo>
                  <a:lnTo>
                    <a:pt x="24827" y="671"/>
                  </a:lnTo>
                  <a:lnTo>
                    <a:pt x="24827" y="680"/>
                  </a:lnTo>
                  <a:lnTo>
                    <a:pt x="24914" y="708"/>
                  </a:lnTo>
                  <a:lnTo>
                    <a:pt x="24930" y="704"/>
                  </a:lnTo>
                  <a:lnTo>
                    <a:pt x="24952" y="680"/>
                  </a:lnTo>
                  <a:lnTo>
                    <a:pt x="24968" y="671"/>
                  </a:lnTo>
                  <a:lnTo>
                    <a:pt x="24990" y="671"/>
                  </a:lnTo>
                  <a:lnTo>
                    <a:pt x="25006" y="680"/>
                  </a:lnTo>
                  <a:lnTo>
                    <a:pt x="24990" y="708"/>
                  </a:lnTo>
                  <a:lnTo>
                    <a:pt x="24990" y="746"/>
                  </a:lnTo>
                  <a:lnTo>
                    <a:pt x="24973" y="763"/>
                  </a:lnTo>
                  <a:lnTo>
                    <a:pt x="24968" y="763"/>
                  </a:lnTo>
                  <a:lnTo>
                    <a:pt x="24956" y="798"/>
                  </a:lnTo>
                  <a:lnTo>
                    <a:pt x="24968" y="798"/>
                  </a:lnTo>
                  <a:lnTo>
                    <a:pt x="24956" y="815"/>
                  </a:lnTo>
                  <a:lnTo>
                    <a:pt x="24956" y="815"/>
                  </a:lnTo>
                  <a:lnTo>
                    <a:pt x="24956" y="798"/>
                  </a:lnTo>
                  <a:lnTo>
                    <a:pt x="24940" y="798"/>
                  </a:lnTo>
                  <a:lnTo>
                    <a:pt x="24902" y="803"/>
                  </a:lnTo>
                  <a:lnTo>
                    <a:pt x="24886" y="831"/>
                  </a:lnTo>
                  <a:lnTo>
                    <a:pt x="24897" y="848"/>
                  </a:lnTo>
                  <a:lnTo>
                    <a:pt x="24902" y="848"/>
                  </a:lnTo>
                  <a:lnTo>
                    <a:pt x="24881" y="890"/>
                  </a:lnTo>
                  <a:lnTo>
                    <a:pt x="24848" y="930"/>
                  </a:lnTo>
                  <a:lnTo>
                    <a:pt x="24827" y="980"/>
                  </a:lnTo>
                  <a:lnTo>
                    <a:pt x="24772" y="1013"/>
                  </a:lnTo>
                  <a:lnTo>
                    <a:pt x="24772" y="997"/>
                  </a:lnTo>
                  <a:lnTo>
                    <a:pt x="24751" y="997"/>
                  </a:lnTo>
                  <a:lnTo>
                    <a:pt x="24751" y="980"/>
                  </a:lnTo>
                  <a:lnTo>
                    <a:pt x="24742" y="985"/>
                  </a:lnTo>
                  <a:lnTo>
                    <a:pt x="24725" y="985"/>
                  </a:lnTo>
                  <a:lnTo>
                    <a:pt x="24768" y="930"/>
                  </a:lnTo>
                  <a:lnTo>
                    <a:pt x="24772" y="902"/>
                  </a:lnTo>
                  <a:lnTo>
                    <a:pt x="24768" y="886"/>
                  </a:lnTo>
                  <a:lnTo>
                    <a:pt x="24751" y="869"/>
                  </a:lnTo>
                  <a:lnTo>
                    <a:pt x="24725" y="857"/>
                  </a:lnTo>
                  <a:lnTo>
                    <a:pt x="24713" y="848"/>
                  </a:lnTo>
                  <a:lnTo>
                    <a:pt x="24687" y="836"/>
                  </a:lnTo>
                  <a:lnTo>
                    <a:pt x="24671" y="815"/>
                  </a:lnTo>
                  <a:lnTo>
                    <a:pt x="24671" y="803"/>
                  </a:lnTo>
                  <a:lnTo>
                    <a:pt x="24713" y="791"/>
                  </a:lnTo>
                  <a:lnTo>
                    <a:pt x="24725" y="775"/>
                  </a:lnTo>
                  <a:lnTo>
                    <a:pt x="24734" y="720"/>
                  </a:lnTo>
                  <a:lnTo>
                    <a:pt x="24751" y="720"/>
                  </a:lnTo>
                  <a:lnTo>
                    <a:pt x="24751" y="704"/>
                  </a:lnTo>
                  <a:lnTo>
                    <a:pt x="24742" y="704"/>
                  </a:lnTo>
                  <a:lnTo>
                    <a:pt x="24742" y="692"/>
                  </a:lnTo>
                  <a:lnTo>
                    <a:pt x="24758" y="687"/>
                  </a:lnTo>
                  <a:lnTo>
                    <a:pt x="24751" y="687"/>
                  </a:lnTo>
                  <a:lnTo>
                    <a:pt x="24734" y="654"/>
                  </a:lnTo>
                  <a:lnTo>
                    <a:pt x="24742" y="647"/>
                  </a:lnTo>
                  <a:lnTo>
                    <a:pt x="24734" y="654"/>
                  </a:lnTo>
                  <a:lnTo>
                    <a:pt x="24725" y="630"/>
                  </a:lnTo>
                  <a:lnTo>
                    <a:pt x="24734" y="630"/>
                  </a:lnTo>
                  <a:lnTo>
                    <a:pt x="24734" y="635"/>
                  </a:lnTo>
                  <a:lnTo>
                    <a:pt x="24751" y="630"/>
                  </a:lnTo>
                  <a:lnTo>
                    <a:pt x="24742" y="614"/>
                  </a:lnTo>
                  <a:lnTo>
                    <a:pt x="24720" y="626"/>
                  </a:lnTo>
                  <a:lnTo>
                    <a:pt x="24697" y="576"/>
                  </a:lnTo>
                  <a:lnTo>
                    <a:pt x="24704" y="576"/>
                  </a:lnTo>
                  <a:lnTo>
                    <a:pt x="24720" y="597"/>
                  </a:lnTo>
                  <a:lnTo>
                    <a:pt x="24720" y="569"/>
                  </a:lnTo>
                  <a:lnTo>
                    <a:pt x="24704" y="569"/>
                  </a:lnTo>
                  <a:lnTo>
                    <a:pt x="24725" y="560"/>
                  </a:lnTo>
                  <a:lnTo>
                    <a:pt x="24713" y="569"/>
                  </a:lnTo>
                  <a:lnTo>
                    <a:pt x="24720" y="552"/>
                  </a:lnTo>
                  <a:lnTo>
                    <a:pt x="24713" y="560"/>
                  </a:lnTo>
                  <a:lnTo>
                    <a:pt x="24704" y="552"/>
                  </a:lnTo>
                  <a:lnTo>
                    <a:pt x="24704" y="552"/>
                  </a:lnTo>
                  <a:lnTo>
                    <a:pt x="24713" y="560"/>
                  </a:lnTo>
                  <a:lnTo>
                    <a:pt x="24704" y="560"/>
                  </a:lnTo>
                  <a:lnTo>
                    <a:pt x="24687" y="552"/>
                  </a:lnTo>
                  <a:lnTo>
                    <a:pt x="24682" y="526"/>
                  </a:lnTo>
                  <a:lnTo>
                    <a:pt x="24687" y="552"/>
                  </a:lnTo>
                  <a:lnTo>
                    <a:pt x="24704" y="569"/>
                  </a:lnTo>
                  <a:lnTo>
                    <a:pt x="24687" y="576"/>
                  </a:lnTo>
                  <a:lnTo>
                    <a:pt x="24645" y="503"/>
                  </a:lnTo>
                  <a:lnTo>
                    <a:pt x="24649" y="498"/>
                  </a:lnTo>
                  <a:lnTo>
                    <a:pt x="24666" y="486"/>
                  </a:lnTo>
                  <a:lnTo>
                    <a:pt x="24659" y="482"/>
                  </a:lnTo>
                  <a:lnTo>
                    <a:pt x="24659" y="486"/>
                  </a:lnTo>
                  <a:lnTo>
                    <a:pt x="24649" y="486"/>
                  </a:lnTo>
                  <a:lnTo>
                    <a:pt x="24645" y="503"/>
                  </a:lnTo>
                  <a:lnTo>
                    <a:pt x="24628" y="470"/>
                  </a:lnTo>
                  <a:lnTo>
                    <a:pt x="24633" y="470"/>
                  </a:lnTo>
                  <a:lnTo>
                    <a:pt x="24628" y="458"/>
                  </a:lnTo>
                  <a:lnTo>
                    <a:pt x="24595" y="408"/>
                  </a:lnTo>
                  <a:lnTo>
                    <a:pt x="24616" y="408"/>
                  </a:lnTo>
                  <a:lnTo>
                    <a:pt x="24616" y="415"/>
                  </a:lnTo>
                  <a:lnTo>
                    <a:pt x="24612" y="415"/>
                  </a:lnTo>
                  <a:lnTo>
                    <a:pt x="24612" y="425"/>
                  </a:lnTo>
                  <a:lnTo>
                    <a:pt x="24633" y="449"/>
                  </a:lnTo>
                  <a:lnTo>
                    <a:pt x="24633" y="458"/>
                  </a:lnTo>
                  <a:lnTo>
                    <a:pt x="24649" y="441"/>
                  </a:lnTo>
                  <a:lnTo>
                    <a:pt x="24649" y="449"/>
                  </a:lnTo>
                  <a:lnTo>
                    <a:pt x="24645" y="449"/>
                  </a:lnTo>
                  <a:lnTo>
                    <a:pt x="24649" y="458"/>
                  </a:lnTo>
                  <a:lnTo>
                    <a:pt x="24659" y="458"/>
                  </a:lnTo>
                  <a:lnTo>
                    <a:pt x="24697" y="470"/>
                  </a:lnTo>
                  <a:lnTo>
                    <a:pt x="24687" y="482"/>
                  </a:lnTo>
                  <a:lnTo>
                    <a:pt x="24697" y="486"/>
                  </a:lnTo>
                  <a:lnTo>
                    <a:pt x="24713" y="482"/>
                  </a:lnTo>
                  <a:lnTo>
                    <a:pt x="24725" y="503"/>
                  </a:lnTo>
                  <a:lnTo>
                    <a:pt x="24720" y="515"/>
                  </a:lnTo>
                  <a:lnTo>
                    <a:pt x="24725" y="526"/>
                  </a:lnTo>
                  <a:lnTo>
                    <a:pt x="24713" y="519"/>
                  </a:lnTo>
                  <a:lnTo>
                    <a:pt x="24713" y="526"/>
                  </a:lnTo>
                  <a:lnTo>
                    <a:pt x="24725" y="526"/>
                  </a:lnTo>
                  <a:lnTo>
                    <a:pt x="24720" y="543"/>
                  </a:lnTo>
                  <a:lnTo>
                    <a:pt x="24742" y="560"/>
                  </a:lnTo>
                  <a:lnTo>
                    <a:pt x="24734" y="581"/>
                  </a:lnTo>
                  <a:lnTo>
                    <a:pt x="24742" y="609"/>
                  </a:lnTo>
                  <a:lnTo>
                    <a:pt x="24772" y="626"/>
                  </a:lnTo>
                  <a:lnTo>
                    <a:pt x="24779" y="635"/>
                  </a:lnTo>
                  <a:lnTo>
                    <a:pt x="24796" y="647"/>
                  </a:lnTo>
                  <a:lnTo>
                    <a:pt x="24796" y="626"/>
                  </a:lnTo>
                  <a:lnTo>
                    <a:pt x="24789" y="614"/>
                  </a:lnTo>
                  <a:lnTo>
                    <a:pt x="24789" y="597"/>
                  </a:lnTo>
                  <a:lnTo>
                    <a:pt x="24779" y="581"/>
                  </a:lnTo>
                  <a:lnTo>
                    <a:pt x="24796" y="581"/>
                  </a:lnTo>
                  <a:lnTo>
                    <a:pt x="24805" y="597"/>
                  </a:lnTo>
                  <a:lnTo>
                    <a:pt x="24822" y="597"/>
                  </a:lnTo>
                  <a:lnTo>
                    <a:pt x="24805" y="609"/>
                  </a:lnTo>
                  <a:lnTo>
                    <a:pt x="24822" y="609"/>
                  </a:lnTo>
                  <a:lnTo>
                    <a:pt x="24822" y="647"/>
                  </a:lnTo>
                  <a:lnTo>
                    <a:pt x="24822" y="647"/>
                  </a:lnTo>
                  <a:lnTo>
                    <a:pt x="24822" y="647"/>
                  </a:lnTo>
                  <a:close/>
                  <a:moveTo>
                    <a:pt x="24796" y="569"/>
                  </a:moveTo>
                  <a:lnTo>
                    <a:pt x="24779" y="560"/>
                  </a:lnTo>
                  <a:lnTo>
                    <a:pt x="24779" y="543"/>
                  </a:lnTo>
                  <a:lnTo>
                    <a:pt x="24796" y="552"/>
                  </a:lnTo>
                  <a:lnTo>
                    <a:pt x="24796" y="569"/>
                  </a:lnTo>
                  <a:lnTo>
                    <a:pt x="24796" y="569"/>
                  </a:lnTo>
                  <a:lnTo>
                    <a:pt x="24796" y="569"/>
                  </a:lnTo>
                  <a:close/>
                  <a:moveTo>
                    <a:pt x="24768" y="609"/>
                  </a:moveTo>
                  <a:lnTo>
                    <a:pt x="24758" y="609"/>
                  </a:lnTo>
                  <a:lnTo>
                    <a:pt x="24772" y="597"/>
                  </a:lnTo>
                  <a:lnTo>
                    <a:pt x="24768" y="609"/>
                  </a:lnTo>
                  <a:lnTo>
                    <a:pt x="24768" y="609"/>
                  </a:lnTo>
                  <a:lnTo>
                    <a:pt x="24768" y="609"/>
                  </a:lnTo>
                  <a:close/>
                  <a:moveTo>
                    <a:pt x="24486" y="1306"/>
                  </a:moveTo>
                  <a:lnTo>
                    <a:pt x="24470" y="1330"/>
                  </a:lnTo>
                  <a:lnTo>
                    <a:pt x="24465" y="1351"/>
                  </a:lnTo>
                  <a:lnTo>
                    <a:pt x="24449" y="1391"/>
                  </a:lnTo>
                  <a:lnTo>
                    <a:pt x="24456" y="1374"/>
                  </a:lnTo>
                  <a:lnTo>
                    <a:pt x="24465" y="1391"/>
                  </a:lnTo>
                  <a:lnTo>
                    <a:pt x="24432" y="1400"/>
                  </a:lnTo>
                  <a:lnTo>
                    <a:pt x="24427" y="1417"/>
                  </a:lnTo>
                  <a:lnTo>
                    <a:pt x="24394" y="1429"/>
                  </a:lnTo>
                  <a:lnTo>
                    <a:pt x="24394" y="1441"/>
                  </a:lnTo>
                  <a:lnTo>
                    <a:pt x="24373" y="1457"/>
                  </a:lnTo>
                  <a:lnTo>
                    <a:pt x="24335" y="1462"/>
                  </a:lnTo>
                  <a:lnTo>
                    <a:pt x="24326" y="1462"/>
                  </a:lnTo>
                  <a:lnTo>
                    <a:pt x="24326" y="1445"/>
                  </a:lnTo>
                  <a:lnTo>
                    <a:pt x="24305" y="1457"/>
                  </a:lnTo>
                  <a:lnTo>
                    <a:pt x="24293" y="1457"/>
                  </a:lnTo>
                  <a:lnTo>
                    <a:pt x="24305" y="1457"/>
                  </a:lnTo>
                  <a:lnTo>
                    <a:pt x="24293" y="1445"/>
                  </a:lnTo>
                  <a:lnTo>
                    <a:pt x="24293" y="1457"/>
                  </a:lnTo>
                  <a:lnTo>
                    <a:pt x="24288" y="1445"/>
                  </a:lnTo>
                  <a:lnTo>
                    <a:pt x="24293" y="1445"/>
                  </a:lnTo>
                  <a:lnTo>
                    <a:pt x="24293" y="1441"/>
                  </a:lnTo>
                  <a:lnTo>
                    <a:pt x="24281" y="1429"/>
                  </a:lnTo>
                  <a:lnTo>
                    <a:pt x="24255" y="1441"/>
                  </a:lnTo>
                  <a:lnTo>
                    <a:pt x="24250" y="1417"/>
                  </a:lnTo>
                  <a:lnTo>
                    <a:pt x="24234" y="1417"/>
                  </a:lnTo>
                  <a:lnTo>
                    <a:pt x="24217" y="1424"/>
                  </a:lnTo>
                  <a:lnTo>
                    <a:pt x="24179" y="1417"/>
                  </a:lnTo>
                  <a:lnTo>
                    <a:pt x="24175" y="1417"/>
                  </a:lnTo>
                  <a:lnTo>
                    <a:pt x="24196" y="1391"/>
                  </a:lnTo>
                  <a:lnTo>
                    <a:pt x="24175" y="1408"/>
                  </a:lnTo>
                  <a:lnTo>
                    <a:pt x="24175" y="1400"/>
                  </a:lnTo>
                  <a:lnTo>
                    <a:pt x="24158" y="1400"/>
                  </a:lnTo>
                  <a:lnTo>
                    <a:pt x="24158" y="1384"/>
                  </a:lnTo>
                  <a:lnTo>
                    <a:pt x="24196" y="1374"/>
                  </a:lnTo>
                  <a:lnTo>
                    <a:pt x="24179" y="1367"/>
                  </a:lnTo>
                  <a:lnTo>
                    <a:pt x="24201" y="1351"/>
                  </a:lnTo>
                  <a:lnTo>
                    <a:pt x="24179" y="1363"/>
                  </a:lnTo>
                  <a:lnTo>
                    <a:pt x="24184" y="1334"/>
                  </a:lnTo>
                  <a:lnTo>
                    <a:pt x="24184" y="1334"/>
                  </a:lnTo>
                  <a:lnTo>
                    <a:pt x="24212" y="1351"/>
                  </a:lnTo>
                  <a:lnTo>
                    <a:pt x="24201" y="1334"/>
                  </a:lnTo>
                  <a:lnTo>
                    <a:pt x="24217" y="1334"/>
                  </a:lnTo>
                  <a:lnTo>
                    <a:pt x="24201" y="1334"/>
                  </a:lnTo>
                  <a:lnTo>
                    <a:pt x="24196" y="1318"/>
                  </a:lnTo>
                  <a:lnTo>
                    <a:pt x="24217" y="1297"/>
                  </a:lnTo>
                  <a:lnTo>
                    <a:pt x="24234" y="1313"/>
                  </a:lnTo>
                  <a:lnTo>
                    <a:pt x="24229" y="1289"/>
                  </a:lnTo>
                  <a:lnTo>
                    <a:pt x="24281" y="1252"/>
                  </a:lnTo>
                  <a:lnTo>
                    <a:pt x="24293" y="1223"/>
                  </a:lnTo>
                  <a:lnTo>
                    <a:pt x="24326" y="1219"/>
                  </a:lnTo>
                  <a:lnTo>
                    <a:pt x="24347" y="1202"/>
                  </a:lnTo>
                  <a:lnTo>
                    <a:pt x="24390" y="1186"/>
                  </a:lnTo>
                  <a:lnTo>
                    <a:pt x="24427" y="1145"/>
                  </a:lnTo>
                  <a:lnTo>
                    <a:pt x="24465" y="1124"/>
                  </a:lnTo>
                  <a:lnTo>
                    <a:pt x="24486" y="1096"/>
                  </a:lnTo>
                  <a:lnTo>
                    <a:pt x="24508" y="1030"/>
                  </a:lnTo>
                  <a:lnTo>
                    <a:pt x="24536" y="1018"/>
                  </a:lnTo>
                  <a:lnTo>
                    <a:pt x="24553" y="997"/>
                  </a:lnTo>
                  <a:lnTo>
                    <a:pt x="24557" y="947"/>
                  </a:lnTo>
                  <a:lnTo>
                    <a:pt x="24590" y="926"/>
                  </a:lnTo>
                  <a:lnTo>
                    <a:pt x="24590" y="919"/>
                  </a:lnTo>
                  <a:lnTo>
                    <a:pt x="24616" y="919"/>
                  </a:lnTo>
                  <a:lnTo>
                    <a:pt x="24595" y="919"/>
                  </a:lnTo>
                  <a:lnTo>
                    <a:pt x="24595" y="930"/>
                  </a:lnTo>
                  <a:lnTo>
                    <a:pt x="24607" y="947"/>
                  </a:lnTo>
                  <a:lnTo>
                    <a:pt x="24616" y="942"/>
                  </a:lnTo>
                  <a:lnTo>
                    <a:pt x="24628" y="985"/>
                  </a:lnTo>
                  <a:lnTo>
                    <a:pt x="24687" y="947"/>
                  </a:lnTo>
                  <a:lnTo>
                    <a:pt x="24687" y="959"/>
                  </a:lnTo>
                  <a:lnTo>
                    <a:pt x="24671" y="963"/>
                  </a:lnTo>
                  <a:lnTo>
                    <a:pt x="24671" y="975"/>
                  </a:lnTo>
                  <a:lnTo>
                    <a:pt x="24682" y="963"/>
                  </a:lnTo>
                  <a:lnTo>
                    <a:pt x="24671" y="985"/>
                  </a:lnTo>
                  <a:lnTo>
                    <a:pt x="24697" y="980"/>
                  </a:lnTo>
                  <a:lnTo>
                    <a:pt x="24682" y="980"/>
                  </a:lnTo>
                  <a:lnTo>
                    <a:pt x="24687" y="963"/>
                  </a:lnTo>
                  <a:lnTo>
                    <a:pt x="24713" y="963"/>
                  </a:lnTo>
                  <a:lnTo>
                    <a:pt x="24704" y="980"/>
                  </a:lnTo>
                  <a:lnTo>
                    <a:pt x="24687" y="980"/>
                  </a:lnTo>
                  <a:lnTo>
                    <a:pt x="24713" y="980"/>
                  </a:lnTo>
                  <a:lnTo>
                    <a:pt x="24687" y="997"/>
                  </a:lnTo>
                  <a:lnTo>
                    <a:pt x="24713" y="1030"/>
                  </a:lnTo>
                  <a:lnTo>
                    <a:pt x="24704" y="1034"/>
                  </a:lnTo>
                  <a:lnTo>
                    <a:pt x="24659" y="1091"/>
                  </a:lnTo>
                  <a:lnTo>
                    <a:pt x="24633" y="1129"/>
                  </a:lnTo>
                  <a:lnTo>
                    <a:pt x="24607" y="1152"/>
                  </a:lnTo>
                  <a:lnTo>
                    <a:pt x="24607" y="1186"/>
                  </a:lnTo>
                  <a:lnTo>
                    <a:pt x="24616" y="1197"/>
                  </a:lnTo>
                  <a:lnTo>
                    <a:pt x="24628" y="1207"/>
                  </a:lnTo>
                  <a:lnTo>
                    <a:pt x="24616" y="1207"/>
                  </a:lnTo>
                  <a:lnTo>
                    <a:pt x="24612" y="1202"/>
                  </a:lnTo>
                  <a:lnTo>
                    <a:pt x="24612" y="1207"/>
                  </a:lnTo>
                  <a:lnTo>
                    <a:pt x="24612" y="1207"/>
                  </a:lnTo>
                  <a:lnTo>
                    <a:pt x="24579" y="1197"/>
                  </a:lnTo>
                  <a:lnTo>
                    <a:pt x="24574" y="1207"/>
                  </a:lnTo>
                  <a:lnTo>
                    <a:pt x="24508" y="1235"/>
                  </a:lnTo>
                  <a:lnTo>
                    <a:pt x="24498" y="1256"/>
                  </a:lnTo>
                  <a:lnTo>
                    <a:pt x="24486" y="1306"/>
                  </a:lnTo>
                  <a:lnTo>
                    <a:pt x="24486" y="1306"/>
                  </a:lnTo>
                  <a:lnTo>
                    <a:pt x="24486" y="1306"/>
                  </a:lnTo>
                  <a:close/>
                  <a:moveTo>
                    <a:pt x="24671" y="959"/>
                  </a:moveTo>
                  <a:lnTo>
                    <a:pt x="24671" y="942"/>
                  </a:lnTo>
                  <a:lnTo>
                    <a:pt x="24687" y="930"/>
                  </a:lnTo>
                  <a:lnTo>
                    <a:pt x="24682" y="947"/>
                  </a:lnTo>
                  <a:lnTo>
                    <a:pt x="24671" y="959"/>
                  </a:lnTo>
                  <a:lnTo>
                    <a:pt x="24671" y="959"/>
                  </a:lnTo>
                  <a:lnTo>
                    <a:pt x="24671" y="959"/>
                  </a:lnTo>
                  <a:close/>
                  <a:moveTo>
                    <a:pt x="24704" y="980"/>
                  </a:moveTo>
                  <a:lnTo>
                    <a:pt x="24713" y="975"/>
                  </a:lnTo>
                  <a:lnTo>
                    <a:pt x="24713" y="980"/>
                  </a:lnTo>
                  <a:lnTo>
                    <a:pt x="24704" y="980"/>
                  </a:lnTo>
                  <a:lnTo>
                    <a:pt x="24704" y="980"/>
                  </a:lnTo>
                  <a:lnTo>
                    <a:pt x="24704" y="980"/>
                  </a:lnTo>
                  <a:close/>
                  <a:moveTo>
                    <a:pt x="92" y="1223"/>
                  </a:moveTo>
                  <a:lnTo>
                    <a:pt x="97" y="1219"/>
                  </a:lnTo>
                  <a:lnTo>
                    <a:pt x="97" y="1207"/>
                  </a:lnTo>
                  <a:lnTo>
                    <a:pt x="76" y="1202"/>
                  </a:lnTo>
                  <a:lnTo>
                    <a:pt x="97" y="1197"/>
                  </a:lnTo>
                  <a:lnTo>
                    <a:pt x="125" y="1202"/>
                  </a:lnTo>
                  <a:lnTo>
                    <a:pt x="97" y="1202"/>
                  </a:lnTo>
                  <a:lnTo>
                    <a:pt x="114" y="1223"/>
                  </a:lnTo>
                  <a:lnTo>
                    <a:pt x="97" y="1235"/>
                  </a:lnTo>
                  <a:lnTo>
                    <a:pt x="92" y="1223"/>
                  </a:lnTo>
                  <a:lnTo>
                    <a:pt x="92" y="1223"/>
                  </a:lnTo>
                  <a:lnTo>
                    <a:pt x="92" y="1223"/>
                  </a:lnTo>
                  <a:close/>
                  <a:moveTo>
                    <a:pt x="125" y="1252"/>
                  </a:moveTo>
                  <a:lnTo>
                    <a:pt x="125" y="1240"/>
                  </a:lnTo>
                  <a:lnTo>
                    <a:pt x="130" y="1240"/>
                  </a:lnTo>
                  <a:lnTo>
                    <a:pt x="125" y="1252"/>
                  </a:lnTo>
                  <a:lnTo>
                    <a:pt x="125" y="1252"/>
                  </a:lnTo>
                  <a:lnTo>
                    <a:pt x="125" y="1252"/>
                  </a:lnTo>
                  <a:close/>
                  <a:moveTo>
                    <a:pt x="24196" y="1318"/>
                  </a:moveTo>
                  <a:lnTo>
                    <a:pt x="24196" y="1334"/>
                  </a:lnTo>
                  <a:lnTo>
                    <a:pt x="24184" y="1330"/>
                  </a:lnTo>
                  <a:lnTo>
                    <a:pt x="24196" y="1318"/>
                  </a:lnTo>
                  <a:lnTo>
                    <a:pt x="24196" y="1318"/>
                  </a:lnTo>
                  <a:lnTo>
                    <a:pt x="24196" y="1318"/>
                  </a:lnTo>
                  <a:close/>
                  <a:moveTo>
                    <a:pt x="24179" y="1367"/>
                  </a:moveTo>
                  <a:lnTo>
                    <a:pt x="24179" y="1374"/>
                  </a:lnTo>
                  <a:lnTo>
                    <a:pt x="24163" y="1374"/>
                  </a:lnTo>
                  <a:lnTo>
                    <a:pt x="24163" y="1367"/>
                  </a:lnTo>
                  <a:lnTo>
                    <a:pt x="24179" y="1367"/>
                  </a:lnTo>
                  <a:lnTo>
                    <a:pt x="24179" y="1367"/>
                  </a:lnTo>
                  <a:lnTo>
                    <a:pt x="24179" y="1367"/>
                  </a:lnTo>
                  <a:close/>
                  <a:moveTo>
                    <a:pt x="24267" y="1462"/>
                  </a:moveTo>
                  <a:lnTo>
                    <a:pt x="24281" y="1478"/>
                  </a:lnTo>
                  <a:lnTo>
                    <a:pt x="24271" y="1486"/>
                  </a:lnTo>
                  <a:lnTo>
                    <a:pt x="24281" y="1486"/>
                  </a:lnTo>
                  <a:lnTo>
                    <a:pt x="24281" y="1495"/>
                  </a:lnTo>
                  <a:lnTo>
                    <a:pt x="24255" y="1511"/>
                  </a:lnTo>
                  <a:lnTo>
                    <a:pt x="24250" y="1502"/>
                  </a:lnTo>
                  <a:lnTo>
                    <a:pt x="24238" y="1511"/>
                  </a:lnTo>
                  <a:lnTo>
                    <a:pt x="24250" y="1511"/>
                  </a:lnTo>
                  <a:lnTo>
                    <a:pt x="24234" y="1519"/>
                  </a:lnTo>
                  <a:lnTo>
                    <a:pt x="24255" y="1478"/>
                  </a:lnTo>
                  <a:lnTo>
                    <a:pt x="24250" y="1462"/>
                  </a:lnTo>
                  <a:lnTo>
                    <a:pt x="24267" y="1462"/>
                  </a:lnTo>
                  <a:lnTo>
                    <a:pt x="24267" y="1462"/>
                  </a:lnTo>
                  <a:lnTo>
                    <a:pt x="24267" y="1462"/>
                  </a:lnTo>
                  <a:close/>
                  <a:moveTo>
                    <a:pt x="25027" y="1734"/>
                  </a:moveTo>
                  <a:lnTo>
                    <a:pt x="25023" y="1741"/>
                  </a:lnTo>
                  <a:lnTo>
                    <a:pt x="25027" y="1734"/>
                  </a:lnTo>
                  <a:lnTo>
                    <a:pt x="25027" y="1734"/>
                  </a:lnTo>
                  <a:lnTo>
                    <a:pt x="25027" y="1734"/>
                  </a:lnTo>
                  <a:lnTo>
                    <a:pt x="25027" y="1734"/>
                  </a:lnTo>
                  <a:close/>
                  <a:moveTo>
                    <a:pt x="24146" y="1816"/>
                  </a:moveTo>
                  <a:lnTo>
                    <a:pt x="24130" y="1833"/>
                  </a:lnTo>
                  <a:lnTo>
                    <a:pt x="24142" y="1849"/>
                  </a:lnTo>
                  <a:lnTo>
                    <a:pt x="24120" y="1845"/>
                  </a:lnTo>
                  <a:lnTo>
                    <a:pt x="24130" y="1828"/>
                  </a:lnTo>
                  <a:lnTo>
                    <a:pt x="24130" y="1816"/>
                  </a:lnTo>
                  <a:lnTo>
                    <a:pt x="24146" y="1816"/>
                  </a:lnTo>
                  <a:lnTo>
                    <a:pt x="24146" y="1816"/>
                  </a:lnTo>
                  <a:lnTo>
                    <a:pt x="24146" y="1816"/>
                  </a:lnTo>
                  <a:close/>
                  <a:moveTo>
                    <a:pt x="24142" y="1849"/>
                  </a:moveTo>
                  <a:lnTo>
                    <a:pt x="24120" y="1849"/>
                  </a:lnTo>
                  <a:lnTo>
                    <a:pt x="24142" y="1849"/>
                  </a:lnTo>
                  <a:lnTo>
                    <a:pt x="24142" y="1849"/>
                  </a:lnTo>
                  <a:lnTo>
                    <a:pt x="24142" y="1849"/>
                  </a:lnTo>
                  <a:lnTo>
                    <a:pt x="24142" y="1849"/>
                  </a:lnTo>
                  <a:close/>
                  <a:moveTo>
                    <a:pt x="24347" y="2000"/>
                  </a:moveTo>
                  <a:lnTo>
                    <a:pt x="24347" y="2012"/>
                  </a:lnTo>
                  <a:lnTo>
                    <a:pt x="24335" y="2012"/>
                  </a:lnTo>
                  <a:lnTo>
                    <a:pt x="24347" y="2000"/>
                  </a:lnTo>
                  <a:lnTo>
                    <a:pt x="24347" y="2000"/>
                  </a:lnTo>
                  <a:lnTo>
                    <a:pt x="24347" y="2000"/>
                  </a:lnTo>
                  <a:close/>
                </a:path>
              </a:pathLst>
            </a:custGeom>
            <a:solidFill>
              <a:schemeClr val="bg2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85" name="Freeform 529">
              <a:extLst>
                <a:ext uri="{FF2B5EF4-FFF2-40B4-BE49-F238E27FC236}">
                  <a16:creationId xmlns:a16="http://schemas.microsoft.com/office/drawing/2014/main" id="{5F785CEB-5B80-4E1D-B7D6-E9879054C639}"/>
                </a:ext>
              </a:extLst>
            </p:cNvPr>
            <p:cNvSpPr>
              <a:spLocks/>
            </p:cNvSpPr>
            <p:nvPr/>
          </p:nvSpPr>
          <p:spPr bwMode="gray">
            <a:xfrm>
              <a:off x="5486024" y="2957756"/>
              <a:ext cx="91317" cy="97621"/>
            </a:xfrm>
            <a:custGeom>
              <a:avLst/>
              <a:gdLst>
                <a:gd name="T0" fmla="*/ 343 w 595"/>
                <a:gd name="T1" fmla="*/ 449 h 636"/>
                <a:gd name="T2" fmla="*/ 189 w 595"/>
                <a:gd name="T3" fmla="*/ 359 h 636"/>
                <a:gd name="T4" fmla="*/ 118 w 595"/>
                <a:gd name="T5" fmla="*/ 343 h 636"/>
                <a:gd name="T6" fmla="*/ 50 w 595"/>
                <a:gd name="T7" fmla="*/ 289 h 636"/>
                <a:gd name="T8" fmla="*/ 0 w 595"/>
                <a:gd name="T9" fmla="*/ 227 h 636"/>
                <a:gd name="T10" fmla="*/ 33 w 595"/>
                <a:gd name="T11" fmla="*/ 100 h 636"/>
                <a:gd name="T12" fmla="*/ 71 w 595"/>
                <a:gd name="T13" fmla="*/ 29 h 636"/>
                <a:gd name="T14" fmla="*/ 255 w 595"/>
                <a:gd name="T15" fmla="*/ 12 h 636"/>
                <a:gd name="T16" fmla="*/ 319 w 595"/>
                <a:gd name="T17" fmla="*/ 67 h 636"/>
                <a:gd name="T18" fmla="*/ 343 w 595"/>
                <a:gd name="T19" fmla="*/ 161 h 636"/>
                <a:gd name="T20" fmla="*/ 336 w 595"/>
                <a:gd name="T21" fmla="*/ 215 h 636"/>
                <a:gd name="T22" fmla="*/ 428 w 595"/>
                <a:gd name="T23" fmla="*/ 227 h 636"/>
                <a:gd name="T24" fmla="*/ 461 w 595"/>
                <a:gd name="T25" fmla="*/ 227 h 636"/>
                <a:gd name="T26" fmla="*/ 499 w 595"/>
                <a:gd name="T27" fmla="*/ 255 h 636"/>
                <a:gd name="T28" fmla="*/ 515 w 595"/>
                <a:gd name="T29" fmla="*/ 359 h 636"/>
                <a:gd name="T30" fmla="*/ 569 w 595"/>
                <a:gd name="T31" fmla="*/ 343 h 636"/>
                <a:gd name="T32" fmla="*/ 591 w 595"/>
                <a:gd name="T33" fmla="*/ 364 h 636"/>
                <a:gd name="T34" fmla="*/ 581 w 595"/>
                <a:gd name="T35" fmla="*/ 437 h 636"/>
                <a:gd name="T36" fmla="*/ 569 w 595"/>
                <a:gd name="T37" fmla="*/ 470 h 636"/>
                <a:gd name="T38" fmla="*/ 569 w 595"/>
                <a:gd name="T39" fmla="*/ 548 h 636"/>
                <a:gd name="T40" fmla="*/ 515 w 595"/>
                <a:gd name="T41" fmla="*/ 586 h 636"/>
                <a:gd name="T42" fmla="*/ 503 w 595"/>
                <a:gd name="T43" fmla="*/ 615 h 636"/>
                <a:gd name="T44" fmla="*/ 482 w 595"/>
                <a:gd name="T45" fmla="*/ 615 h 636"/>
                <a:gd name="T46" fmla="*/ 444 w 595"/>
                <a:gd name="T47" fmla="*/ 636 h 636"/>
                <a:gd name="T48" fmla="*/ 418 w 595"/>
                <a:gd name="T49" fmla="*/ 624 h 636"/>
                <a:gd name="T50" fmla="*/ 397 w 595"/>
                <a:gd name="T51" fmla="*/ 624 h 636"/>
                <a:gd name="T52" fmla="*/ 288 w 595"/>
                <a:gd name="T53" fmla="*/ 615 h 636"/>
                <a:gd name="T54" fmla="*/ 319 w 595"/>
                <a:gd name="T55" fmla="*/ 565 h 636"/>
                <a:gd name="T56" fmla="*/ 343 w 595"/>
                <a:gd name="T57" fmla="*/ 508 h 636"/>
                <a:gd name="T58" fmla="*/ 343 w 595"/>
                <a:gd name="T59" fmla="*/ 492 h 636"/>
                <a:gd name="T60" fmla="*/ 364 w 595"/>
                <a:gd name="T61" fmla="*/ 470 h 636"/>
                <a:gd name="T62" fmla="*/ 357 w 595"/>
                <a:gd name="T63" fmla="*/ 459 h 6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595" h="636">
                  <a:moveTo>
                    <a:pt x="357" y="459"/>
                  </a:moveTo>
                  <a:lnTo>
                    <a:pt x="343" y="449"/>
                  </a:lnTo>
                  <a:lnTo>
                    <a:pt x="272" y="421"/>
                  </a:lnTo>
                  <a:lnTo>
                    <a:pt x="189" y="359"/>
                  </a:lnTo>
                  <a:lnTo>
                    <a:pt x="173" y="359"/>
                  </a:lnTo>
                  <a:lnTo>
                    <a:pt x="118" y="343"/>
                  </a:lnTo>
                  <a:lnTo>
                    <a:pt x="109" y="326"/>
                  </a:lnTo>
                  <a:lnTo>
                    <a:pt x="50" y="289"/>
                  </a:lnTo>
                  <a:lnTo>
                    <a:pt x="33" y="248"/>
                  </a:lnTo>
                  <a:lnTo>
                    <a:pt x="0" y="227"/>
                  </a:lnTo>
                  <a:lnTo>
                    <a:pt x="33" y="140"/>
                  </a:lnTo>
                  <a:lnTo>
                    <a:pt x="33" y="100"/>
                  </a:lnTo>
                  <a:lnTo>
                    <a:pt x="54" y="67"/>
                  </a:lnTo>
                  <a:lnTo>
                    <a:pt x="71" y="29"/>
                  </a:lnTo>
                  <a:lnTo>
                    <a:pt x="189" y="0"/>
                  </a:lnTo>
                  <a:lnTo>
                    <a:pt x="255" y="12"/>
                  </a:lnTo>
                  <a:lnTo>
                    <a:pt x="319" y="45"/>
                  </a:lnTo>
                  <a:lnTo>
                    <a:pt x="319" y="67"/>
                  </a:lnTo>
                  <a:lnTo>
                    <a:pt x="343" y="128"/>
                  </a:lnTo>
                  <a:lnTo>
                    <a:pt x="343" y="161"/>
                  </a:lnTo>
                  <a:lnTo>
                    <a:pt x="336" y="173"/>
                  </a:lnTo>
                  <a:lnTo>
                    <a:pt x="336" y="215"/>
                  </a:lnTo>
                  <a:lnTo>
                    <a:pt x="411" y="227"/>
                  </a:lnTo>
                  <a:lnTo>
                    <a:pt x="428" y="227"/>
                  </a:lnTo>
                  <a:lnTo>
                    <a:pt x="444" y="211"/>
                  </a:lnTo>
                  <a:lnTo>
                    <a:pt x="461" y="227"/>
                  </a:lnTo>
                  <a:lnTo>
                    <a:pt x="482" y="232"/>
                  </a:lnTo>
                  <a:lnTo>
                    <a:pt x="499" y="255"/>
                  </a:lnTo>
                  <a:lnTo>
                    <a:pt x="499" y="272"/>
                  </a:lnTo>
                  <a:lnTo>
                    <a:pt x="515" y="359"/>
                  </a:lnTo>
                  <a:lnTo>
                    <a:pt x="541" y="359"/>
                  </a:lnTo>
                  <a:lnTo>
                    <a:pt x="569" y="343"/>
                  </a:lnTo>
                  <a:lnTo>
                    <a:pt x="595" y="364"/>
                  </a:lnTo>
                  <a:lnTo>
                    <a:pt x="591" y="364"/>
                  </a:lnTo>
                  <a:lnTo>
                    <a:pt x="595" y="381"/>
                  </a:lnTo>
                  <a:lnTo>
                    <a:pt x="581" y="437"/>
                  </a:lnTo>
                  <a:lnTo>
                    <a:pt x="581" y="449"/>
                  </a:lnTo>
                  <a:lnTo>
                    <a:pt x="569" y="470"/>
                  </a:lnTo>
                  <a:lnTo>
                    <a:pt x="574" y="475"/>
                  </a:lnTo>
                  <a:lnTo>
                    <a:pt x="569" y="548"/>
                  </a:lnTo>
                  <a:lnTo>
                    <a:pt x="541" y="570"/>
                  </a:lnTo>
                  <a:lnTo>
                    <a:pt x="515" y="586"/>
                  </a:lnTo>
                  <a:lnTo>
                    <a:pt x="503" y="598"/>
                  </a:lnTo>
                  <a:lnTo>
                    <a:pt x="503" y="615"/>
                  </a:lnTo>
                  <a:lnTo>
                    <a:pt x="489" y="619"/>
                  </a:lnTo>
                  <a:lnTo>
                    <a:pt x="482" y="615"/>
                  </a:lnTo>
                  <a:lnTo>
                    <a:pt x="465" y="615"/>
                  </a:lnTo>
                  <a:lnTo>
                    <a:pt x="444" y="636"/>
                  </a:lnTo>
                  <a:lnTo>
                    <a:pt x="435" y="624"/>
                  </a:lnTo>
                  <a:lnTo>
                    <a:pt x="418" y="624"/>
                  </a:lnTo>
                  <a:lnTo>
                    <a:pt x="411" y="619"/>
                  </a:lnTo>
                  <a:lnTo>
                    <a:pt x="397" y="624"/>
                  </a:lnTo>
                  <a:lnTo>
                    <a:pt x="352" y="615"/>
                  </a:lnTo>
                  <a:lnTo>
                    <a:pt x="288" y="615"/>
                  </a:lnTo>
                  <a:lnTo>
                    <a:pt x="288" y="603"/>
                  </a:lnTo>
                  <a:lnTo>
                    <a:pt x="319" y="565"/>
                  </a:lnTo>
                  <a:lnTo>
                    <a:pt x="319" y="525"/>
                  </a:lnTo>
                  <a:lnTo>
                    <a:pt x="343" y="508"/>
                  </a:lnTo>
                  <a:lnTo>
                    <a:pt x="343" y="508"/>
                  </a:lnTo>
                  <a:lnTo>
                    <a:pt x="343" y="492"/>
                  </a:lnTo>
                  <a:lnTo>
                    <a:pt x="364" y="475"/>
                  </a:lnTo>
                  <a:lnTo>
                    <a:pt x="364" y="470"/>
                  </a:lnTo>
                  <a:lnTo>
                    <a:pt x="357" y="459"/>
                  </a:lnTo>
                  <a:lnTo>
                    <a:pt x="357" y="459"/>
                  </a:lnTo>
                  <a:lnTo>
                    <a:pt x="357" y="459"/>
                  </a:lnTo>
                  <a:close/>
                </a:path>
              </a:pathLst>
            </a:custGeom>
            <a:solidFill>
              <a:schemeClr val="bg2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86" name="Freeform 530">
              <a:extLst>
                <a:ext uri="{FF2B5EF4-FFF2-40B4-BE49-F238E27FC236}">
                  <a16:creationId xmlns:a16="http://schemas.microsoft.com/office/drawing/2014/main" id="{9FA20153-E7E4-4F77-89A1-3B6F97B9B103}"/>
                </a:ext>
              </a:extLst>
            </p:cNvPr>
            <p:cNvSpPr>
              <a:spLocks/>
            </p:cNvSpPr>
            <p:nvPr/>
          </p:nvSpPr>
          <p:spPr bwMode="gray">
            <a:xfrm>
              <a:off x="5285126" y="2743174"/>
              <a:ext cx="137053" cy="204145"/>
            </a:xfrm>
            <a:custGeom>
              <a:avLst/>
              <a:gdLst>
                <a:gd name="T0" fmla="*/ 872 w 893"/>
                <a:gd name="T1" fmla="*/ 926 h 1330"/>
                <a:gd name="T2" fmla="*/ 877 w 893"/>
                <a:gd name="T3" fmla="*/ 1025 h 1330"/>
                <a:gd name="T4" fmla="*/ 839 w 893"/>
                <a:gd name="T5" fmla="*/ 1063 h 1330"/>
                <a:gd name="T6" fmla="*/ 844 w 893"/>
                <a:gd name="T7" fmla="*/ 1108 h 1330"/>
                <a:gd name="T8" fmla="*/ 872 w 893"/>
                <a:gd name="T9" fmla="*/ 1169 h 1330"/>
                <a:gd name="T10" fmla="*/ 872 w 893"/>
                <a:gd name="T11" fmla="*/ 1202 h 1330"/>
                <a:gd name="T12" fmla="*/ 834 w 893"/>
                <a:gd name="T13" fmla="*/ 1259 h 1330"/>
                <a:gd name="T14" fmla="*/ 806 w 893"/>
                <a:gd name="T15" fmla="*/ 1280 h 1330"/>
                <a:gd name="T16" fmla="*/ 768 w 893"/>
                <a:gd name="T17" fmla="*/ 1330 h 1330"/>
                <a:gd name="T18" fmla="*/ 671 w 893"/>
                <a:gd name="T19" fmla="*/ 1242 h 1330"/>
                <a:gd name="T20" fmla="*/ 515 w 893"/>
                <a:gd name="T21" fmla="*/ 1153 h 1330"/>
                <a:gd name="T22" fmla="*/ 388 w 893"/>
                <a:gd name="T23" fmla="*/ 1058 h 1330"/>
                <a:gd name="T24" fmla="*/ 350 w 893"/>
                <a:gd name="T25" fmla="*/ 1004 h 1330"/>
                <a:gd name="T26" fmla="*/ 360 w 893"/>
                <a:gd name="T27" fmla="*/ 964 h 1330"/>
                <a:gd name="T28" fmla="*/ 300 w 893"/>
                <a:gd name="T29" fmla="*/ 869 h 1330"/>
                <a:gd name="T30" fmla="*/ 263 w 893"/>
                <a:gd name="T31" fmla="*/ 782 h 1330"/>
                <a:gd name="T32" fmla="*/ 194 w 893"/>
                <a:gd name="T33" fmla="*/ 647 h 1330"/>
                <a:gd name="T34" fmla="*/ 145 w 893"/>
                <a:gd name="T35" fmla="*/ 565 h 1330"/>
                <a:gd name="T36" fmla="*/ 17 w 893"/>
                <a:gd name="T37" fmla="*/ 432 h 1330"/>
                <a:gd name="T38" fmla="*/ 38 w 893"/>
                <a:gd name="T39" fmla="*/ 399 h 1330"/>
                <a:gd name="T40" fmla="*/ 26 w 893"/>
                <a:gd name="T41" fmla="*/ 354 h 1330"/>
                <a:gd name="T42" fmla="*/ 38 w 893"/>
                <a:gd name="T43" fmla="*/ 267 h 1330"/>
                <a:gd name="T44" fmla="*/ 86 w 893"/>
                <a:gd name="T45" fmla="*/ 276 h 1330"/>
                <a:gd name="T46" fmla="*/ 64 w 893"/>
                <a:gd name="T47" fmla="*/ 300 h 1330"/>
                <a:gd name="T48" fmla="*/ 69 w 893"/>
                <a:gd name="T49" fmla="*/ 317 h 1330"/>
                <a:gd name="T50" fmla="*/ 123 w 893"/>
                <a:gd name="T51" fmla="*/ 317 h 1330"/>
                <a:gd name="T52" fmla="*/ 178 w 893"/>
                <a:gd name="T53" fmla="*/ 333 h 1330"/>
                <a:gd name="T54" fmla="*/ 211 w 893"/>
                <a:gd name="T55" fmla="*/ 267 h 1330"/>
                <a:gd name="T56" fmla="*/ 225 w 893"/>
                <a:gd name="T57" fmla="*/ 234 h 1330"/>
                <a:gd name="T58" fmla="*/ 371 w 893"/>
                <a:gd name="T59" fmla="*/ 149 h 1330"/>
                <a:gd name="T60" fmla="*/ 430 w 893"/>
                <a:gd name="T61" fmla="*/ 61 h 1330"/>
                <a:gd name="T62" fmla="*/ 404 w 893"/>
                <a:gd name="T63" fmla="*/ 5 h 1330"/>
                <a:gd name="T64" fmla="*/ 456 w 893"/>
                <a:gd name="T65" fmla="*/ 12 h 1330"/>
                <a:gd name="T66" fmla="*/ 494 w 893"/>
                <a:gd name="T67" fmla="*/ 38 h 1330"/>
                <a:gd name="T68" fmla="*/ 553 w 893"/>
                <a:gd name="T69" fmla="*/ 111 h 1330"/>
                <a:gd name="T70" fmla="*/ 574 w 893"/>
                <a:gd name="T71" fmla="*/ 123 h 1330"/>
                <a:gd name="T72" fmla="*/ 574 w 893"/>
                <a:gd name="T73" fmla="*/ 165 h 1330"/>
                <a:gd name="T74" fmla="*/ 619 w 893"/>
                <a:gd name="T75" fmla="*/ 165 h 1330"/>
                <a:gd name="T76" fmla="*/ 678 w 893"/>
                <a:gd name="T77" fmla="*/ 149 h 1330"/>
                <a:gd name="T78" fmla="*/ 737 w 893"/>
                <a:gd name="T79" fmla="*/ 156 h 1330"/>
                <a:gd name="T80" fmla="*/ 789 w 893"/>
                <a:gd name="T81" fmla="*/ 194 h 1330"/>
                <a:gd name="T82" fmla="*/ 780 w 893"/>
                <a:gd name="T83" fmla="*/ 267 h 1330"/>
                <a:gd name="T84" fmla="*/ 785 w 893"/>
                <a:gd name="T85" fmla="*/ 305 h 1330"/>
                <a:gd name="T86" fmla="*/ 730 w 893"/>
                <a:gd name="T87" fmla="*/ 305 h 1330"/>
                <a:gd name="T88" fmla="*/ 603 w 893"/>
                <a:gd name="T89" fmla="*/ 359 h 1330"/>
                <a:gd name="T90" fmla="*/ 574 w 893"/>
                <a:gd name="T91" fmla="*/ 454 h 1330"/>
                <a:gd name="T92" fmla="*/ 537 w 893"/>
                <a:gd name="T93" fmla="*/ 522 h 1330"/>
                <a:gd name="T94" fmla="*/ 537 w 893"/>
                <a:gd name="T95" fmla="*/ 555 h 1330"/>
                <a:gd name="T96" fmla="*/ 553 w 893"/>
                <a:gd name="T97" fmla="*/ 598 h 1330"/>
                <a:gd name="T98" fmla="*/ 570 w 893"/>
                <a:gd name="T99" fmla="*/ 671 h 1330"/>
                <a:gd name="T100" fmla="*/ 709 w 893"/>
                <a:gd name="T101" fmla="*/ 720 h 1330"/>
                <a:gd name="T102" fmla="*/ 754 w 893"/>
                <a:gd name="T103" fmla="*/ 787 h 1330"/>
                <a:gd name="T104" fmla="*/ 801 w 893"/>
                <a:gd name="T105" fmla="*/ 782 h 1330"/>
                <a:gd name="T106" fmla="*/ 834 w 893"/>
                <a:gd name="T107" fmla="*/ 787 h 13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893" h="1330">
                  <a:moveTo>
                    <a:pt x="834" y="787"/>
                  </a:moveTo>
                  <a:lnTo>
                    <a:pt x="893" y="898"/>
                  </a:lnTo>
                  <a:lnTo>
                    <a:pt x="872" y="926"/>
                  </a:lnTo>
                  <a:lnTo>
                    <a:pt x="872" y="971"/>
                  </a:lnTo>
                  <a:lnTo>
                    <a:pt x="860" y="987"/>
                  </a:lnTo>
                  <a:lnTo>
                    <a:pt x="877" y="1025"/>
                  </a:lnTo>
                  <a:lnTo>
                    <a:pt x="872" y="1025"/>
                  </a:lnTo>
                  <a:lnTo>
                    <a:pt x="872" y="1037"/>
                  </a:lnTo>
                  <a:lnTo>
                    <a:pt x="839" y="1063"/>
                  </a:lnTo>
                  <a:lnTo>
                    <a:pt x="839" y="1082"/>
                  </a:lnTo>
                  <a:lnTo>
                    <a:pt x="856" y="1098"/>
                  </a:lnTo>
                  <a:lnTo>
                    <a:pt x="844" y="1108"/>
                  </a:lnTo>
                  <a:lnTo>
                    <a:pt x="839" y="1131"/>
                  </a:lnTo>
                  <a:lnTo>
                    <a:pt x="856" y="1169"/>
                  </a:lnTo>
                  <a:lnTo>
                    <a:pt x="872" y="1169"/>
                  </a:lnTo>
                  <a:lnTo>
                    <a:pt x="877" y="1174"/>
                  </a:lnTo>
                  <a:lnTo>
                    <a:pt x="860" y="1191"/>
                  </a:lnTo>
                  <a:lnTo>
                    <a:pt x="872" y="1202"/>
                  </a:lnTo>
                  <a:lnTo>
                    <a:pt x="823" y="1247"/>
                  </a:lnTo>
                  <a:lnTo>
                    <a:pt x="823" y="1247"/>
                  </a:lnTo>
                  <a:lnTo>
                    <a:pt x="834" y="1259"/>
                  </a:lnTo>
                  <a:lnTo>
                    <a:pt x="834" y="1264"/>
                  </a:lnTo>
                  <a:lnTo>
                    <a:pt x="823" y="1280"/>
                  </a:lnTo>
                  <a:lnTo>
                    <a:pt x="806" y="1280"/>
                  </a:lnTo>
                  <a:lnTo>
                    <a:pt x="818" y="1302"/>
                  </a:lnTo>
                  <a:lnTo>
                    <a:pt x="801" y="1318"/>
                  </a:lnTo>
                  <a:lnTo>
                    <a:pt x="768" y="1330"/>
                  </a:lnTo>
                  <a:lnTo>
                    <a:pt x="709" y="1280"/>
                  </a:lnTo>
                  <a:lnTo>
                    <a:pt x="693" y="1247"/>
                  </a:lnTo>
                  <a:lnTo>
                    <a:pt x="671" y="1242"/>
                  </a:lnTo>
                  <a:lnTo>
                    <a:pt x="624" y="1207"/>
                  </a:lnTo>
                  <a:lnTo>
                    <a:pt x="532" y="1169"/>
                  </a:lnTo>
                  <a:lnTo>
                    <a:pt x="515" y="1153"/>
                  </a:lnTo>
                  <a:lnTo>
                    <a:pt x="447" y="1115"/>
                  </a:lnTo>
                  <a:lnTo>
                    <a:pt x="409" y="1075"/>
                  </a:lnTo>
                  <a:lnTo>
                    <a:pt x="388" y="1058"/>
                  </a:lnTo>
                  <a:lnTo>
                    <a:pt x="360" y="1020"/>
                  </a:lnTo>
                  <a:lnTo>
                    <a:pt x="355" y="1004"/>
                  </a:lnTo>
                  <a:lnTo>
                    <a:pt x="350" y="1004"/>
                  </a:lnTo>
                  <a:lnTo>
                    <a:pt x="355" y="997"/>
                  </a:lnTo>
                  <a:lnTo>
                    <a:pt x="360" y="997"/>
                  </a:lnTo>
                  <a:lnTo>
                    <a:pt x="360" y="964"/>
                  </a:lnTo>
                  <a:lnTo>
                    <a:pt x="350" y="942"/>
                  </a:lnTo>
                  <a:lnTo>
                    <a:pt x="322" y="893"/>
                  </a:lnTo>
                  <a:lnTo>
                    <a:pt x="300" y="869"/>
                  </a:lnTo>
                  <a:lnTo>
                    <a:pt x="296" y="836"/>
                  </a:lnTo>
                  <a:lnTo>
                    <a:pt x="263" y="815"/>
                  </a:lnTo>
                  <a:lnTo>
                    <a:pt x="263" y="782"/>
                  </a:lnTo>
                  <a:lnTo>
                    <a:pt x="232" y="742"/>
                  </a:lnTo>
                  <a:lnTo>
                    <a:pt x="199" y="654"/>
                  </a:lnTo>
                  <a:lnTo>
                    <a:pt x="194" y="647"/>
                  </a:lnTo>
                  <a:lnTo>
                    <a:pt x="189" y="614"/>
                  </a:lnTo>
                  <a:lnTo>
                    <a:pt x="173" y="593"/>
                  </a:lnTo>
                  <a:lnTo>
                    <a:pt x="145" y="565"/>
                  </a:lnTo>
                  <a:lnTo>
                    <a:pt x="119" y="503"/>
                  </a:lnTo>
                  <a:lnTo>
                    <a:pt x="102" y="482"/>
                  </a:lnTo>
                  <a:lnTo>
                    <a:pt x="17" y="432"/>
                  </a:lnTo>
                  <a:lnTo>
                    <a:pt x="17" y="416"/>
                  </a:lnTo>
                  <a:lnTo>
                    <a:pt x="31" y="416"/>
                  </a:lnTo>
                  <a:lnTo>
                    <a:pt x="38" y="399"/>
                  </a:lnTo>
                  <a:lnTo>
                    <a:pt x="31" y="387"/>
                  </a:lnTo>
                  <a:lnTo>
                    <a:pt x="17" y="371"/>
                  </a:lnTo>
                  <a:lnTo>
                    <a:pt x="26" y="354"/>
                  </a:lnTo>
                  <a:lnTo>
                    <a:pt x="0" y="333"/>
                  </a:lnTo>
                  <a:lnTo>
                    <a:pt x="10" y="305"/>
                  </a:lnTo>
                  <a:lnTo>
                    <a:pt x="38" y="267"/>
                  </a:lnTo>
                  <a:lnTo>
                    <a:pt x="81" y="234"/>
                  </a:lnTo>
                  <a:lnTo>
                    <a:pt x="81" y="243"/>
                  </a:lnTo>
                  <a:lnTo>
                    <a:pt x="86" y="276"/>
                  </a:lnTo>
                  <a:lnTo>
                    <a:pt x="81" y="283"/>
                  </a:lnTo>
                  <a:lnTo>
                    <a:pt x="64" y="283"/>
                  </a:lnTo>
                  <a:lnTo>
                    <a:pt x="64" y="300"/>
                  </a:lnTo>
                  <a:lnTo>
                    <a:pt x="81" y="300"/>
                  </a:lnTo>
                  <a:lnTo>
                    <a:pt x="64" y="317"/>
                  </a:lnTo>
                  <a:lnTo>
                    <a:pt x="69" y="317"/>
                  </a:lnTo>
                  <a:lnTo>
                    <a:pt x="86" y="305"/>
                  </a:lnTo>
                  <a:lnTo>
                    <a:pt x="107" y="317"/>
                  </a:lnTo>
                  <a:lnTo>
                    <a:pt x="123" y="317"/>
                  </a:lnTo>
                  <a:lnTo>
                    <a:pt x="145" y="354"/>
                  </a:lnTo>
                  <a:lnTo>
                    <a:pt x="161" y="354"/>
                  </a:lnTo>
                  <a:lnTo>
                    <a:pt x="178" y="333"/>
                  </a:lnTo>
                  <a:lnTo>
                    <a:pt x="194" y="321"/>
                  </a:lnTo>
                  <a:lnTo>
                    <a:pt x="194" y="305"/>
                  </a:lnTo>
                  <a:lnTo>
                    <a:pt x="211" y="267"/>
                  </a:lnTo>
                  <a:lnTo>
                    <a:pt x="215" y="243"/>
                  </a:lnTo>
                  <a:lnTo>
                    <a:pt x="225" y="250"/>
                  </a:lnTo>
                  <a:lnTo>
                    <a:pt x="225" y="234"/>
                  </a:lnTo>
                  <a:lnTo>
                    <a:pt x="249" y="210"/>
                  </a:lnTo>
                  <a:lnTo>
                    <a:pt x="334" y="177"/>
                  </a:lnTo>
                  <a:lnTo>
                    <a:pt x="371" y="149"/>
                  </a:lnTo>
                  <a:lnTo>
                    <a:pt x="409" y="111"/>
                  </a:lnTo>
                  <a:lnTo>
                    <a:pt x="426" y="61"/>
                  </a:lnTo>
                  <a:lnTo>
                    <a:pt x="430" y="61"/>
                  </a:lnTo>
                  <a:lnTo>
                    <a:pt x="430" y="45"/>
                  </a:lnTo>
                  <a:lnTo>
                    <a:pt x="430" y="38"/>
                  </a:lnTo>
                  <a:lnTo>
                    <a:pt x="404" y="5"/>
                  </a:lnTo>
                  <a:lnTo>
                    <a:pt x="430" y="5"/>
                  </a:lnTo>
                  <a:lnTo>
                    <a:pt x="430" y="0"/>
                  </a:lnTo>
                  <a:lnTo>
                    <a:pt x="456" y="12"/>
                  </a:lnTo>
                  <a:lnTo>
                    <a:pt x="463" y="5"/>
                  </a:lnTo>
                  <a:lnTo>
                    <a:pt x="468" y="21"/>
                  </a:lnTo>
                  <a:lnTo>
                    <a:pt x="494" y="38"/>
                  </a:lnTo>
                  <a:lnTo>
                    <a:pt x="501" y="66"/>
                  </a:lnTo>
                  <a:lnTo>
                    <a:pt x="548" y="94"/>
                  </a:lnTo>
                  <a:lnTo>
                    <a:pt x="553" y="111"/>
                  </a:lnTo>
                  <a:lnTo>
                    <a:pt x="553" y="116"/>
                  </a:lnTo>
                  <a:lnTo>
                    <a:pt x="570" y="132"/>
                  </a:lnTo>
                  <a:lnTo>
                    <a:pt x="574" y="123"/>
                  </a:lnTo>
                  <a:lnTo>
                    <a:pt x="574" y="123"/>
                  </a:lnTo>
                  <a:lnTo>
                    <a:pt x="586" y="149"/>
                  </a:lnTo>
                  <a:lnTo>
                    <a:pt x="574" y="165"/>
                  </a:lnTo>
                  <a:lnTo>
                    <a:pt x="591" y="165"/>
                  </a:lnTo>
                  <a:lnTo>
                    <a:pt x="591" y="172"/>
                  </a:lnTo>
                  <a:lnTo>
                    <a:pt x="619" y="165"/>
                  </a:lnTo>
                  <a:lnTo>
                    <a:pt x="641" y="172"/>
                  </a:lnTo>
                  <a:lnTo>
                    <a:pt x="662" y="165"/>
                  </a:lnTo>
                  <a:lnTo>
                    <a:pt x="678" y="149"/>
                  </a:lnTo>
                  <a:lnTo>
                    <a:pt x="678" y="156"/>
                  </a:lnTo>
                  <a:lnTo>
                    <a:pt x="700" y="165"/>
                  </a:lnTo>
                  <a:lnTo>
                    <a:pt x="737" y="156"/>
                  </a:lnTo>
                  <a:lnTo>
                    <a:pt x="754" y="172"/>
                  </a:lnTo>
                  <a:lnTo>
                    <a:pt x="780" y="172"/>
                  </a:lnTo>
                  <a:lnTo>
                    <a:pt x="789" y="194"/>
                  </a:lnTo>
                  <a:lnTo>
                    <a:pt x="747" y="267"/>
                  </a:lnTo>
                  <a:lnTo>
                    <a:pt x="763" y="276"/>
                  </a:lnTo>
                  <a:lnTo>
                    <a:pt x="780" y="267"/>
                  </a:lnTo>
                  <a:lnTo>
                    <a:pt x="801" y="300"/>
                  </a:lnTo>
                  <a:lnTo>
                    <a:pt x="789" y="305"/>
                  </a:lnTo>
                  <a:lnTo>
                    <a:pt x="785" y="305"/>
                  </a:lnTo>
                  <a:lnTo>
                    <a:pt x="780" y="288"/>
                  </a:lnTo>
                  <a:lnTo>
                    <a:pt x="747" y="288"/>
                  </a:lnTo>
                  <a:lnTo>
                    <a:pt x="730" y="305"/>
                  </a:lnTo>
                  <a:lnTo>
                    <a:pt x="716" y="305"/>
                  </a:lnTo>
                  <a:lnTo>
                    <a:pt x="662" y="321"/>
                  </a:lnTo>
                  <a:lnTo>
                    <a:pt x="603" y="359"/>
                  </a:lnTo>
                  <a:lnTo>
                    <a:pt x="591" y="399"/>
                  </a:lnTo>
                  <a:lnTo>
                    <a:pt x="570" y="432"/>
                  </a:lnTo>
                  <a:lnTo>
                    <a:pt x="574" y="454"/>
                  </a:lnTo>
                  <a:lnTo>
                    <a:pt x="537" y="487"/>
                  </a:lnTo>
                  <a:lnTo>
                    <a:pt x="532" y="503"/>
                  </a:lnTo>
                  <a:lnTo>
                    <a:pt x="537" y="522"/>
                  </a:lnTo>
                  <a:lnTo>
                    <a:pt x="523" y="527"/>
                  </a:lnTo>
                  <a:lnTo>
                    <a:pt x="515" y="539"/>
                  </a:lnTo>
                  <a:lnTo>
                    <a:pt x="537" y="555"/>
                  </a:lnTo>
                  <a:lnTo>
                    <a:pt x="532" y="565"/>
                  </a:lnTo>
                  <a:lnTo>
                    <a:pt x="548" y="576"/>
                  </a:lnTo>
                  <a:lnTo>
                    <a:pt x="553" y="598"/>
                  </a:lnTo>
                  <a:lnTo>
                    <a:pt x="591" y="638"/>
                  </a:lnTo>
                  <a:lnTo>
                    <a:pt x="591" y="654"/>
                  </a:lnTo>
                  <a:lnTo>
                    <a:pt x="570" y="671"/>
                  </a:lnTo>
                  <a:lnTo>
                    <a:pt x="629" y="676"/>
                  </a:lnTo>
                  <a:lnTo>
                    <a:pt x="645" y="720"/>
                  </a:lnTo>
                  <a:lnTo>
                    <a:pt x="709" y="720"/>
                  </a:lnTo>
                  <a:lnTo>
                    <a:pt x="763" y="676"/>
                  </a:lnTo>
                  <a:lnTo>
                    <a:pt x="754" y="704"/>
                  </a:lnTo>
                  <a:lnTo>
                    <a:pt x="754" y="787"/>
                  </a:lnTo>
                  <a:lnTo>
                    <a:pt x="763" y="782"/>
                  </a:lnTo>
                  <a:lnTo>
                    <a:pt x="780" y="798"/>
                  </a:lnTo>
                  <a:lnTo>
                    <a:pt x="801" y="782"/>
                  </a:lnTo>
                  <a:lnTo>
                    <a:pt x="834" y="787"/>
                  </a:lnTo>
                  <a:lnTo>
                    <a:pt x="834" y="787"/>
                  </a:lnTo>
                  <a:lnTo>
                    <a:pt x="834" y="787"/>
                  </a:lnTo>
                  <a:close/>
                </a:path>
              </a:pathLst>
            </a:custGeom>
            <a:solidFill>
              <a:schemeClr val="bg2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87" name="Freeform 531">
              <a:extLst>
                <a:ext uri="{FF2B5EF4-FFF2-40B4-BE49-F238E27FC236}">
                  <a16:creationId xmlns:a16="http://schemas.microsoft.com/office/drawing/2014/main" id="{E7A7E6AE-0C12-4314-8B27-6359E70409D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816498" y="2313550"/>
              <a:ext cx="183096" cy="161627"/>
            </a:xfrm>
            <a:custGeom>
              <a:avLst/>
              <a:gdLst>
                <a:gd name="T0" fmla="*/ 248 w 1193"/>
                <a:gd name="T1" fmla="*/ 605 h 1053"/>
                <a:gd name="T2" fmla="*/ 378 w 1193"/>
                <a:gd name="T3" fmla="*/ 560 h 1053"/>
                <a:gd name="T4" fmla="*/ 399 w 1193"/>
                <a:gd name="T5" fmla="*/ 494 h 1053"/>
                <a:gd name="T6" fmla="*/ 485 w 1193"/>
                <a:gd name="T7" fmla="*/ 460 h 1053"/>
                <a:gd name="T8" fmla="*/ 539 w 1193"/>
                <a:gd name="T9" fmla="*/ 427 h 1053"/>
                <a:gd name="T10" fmla="*/ 577 w 1193"/>
                <a:gd name="T11" fmla="*/ 439 h 1053"/>
                <a:gd name="T12" fmla="*/ 598 w 1193"/>
                <a:gd name="T13" fmla="*/ 349 h 1053"/>
                <a:gd name="T14" fmla="*/ 664 w 1193"/>
                <a:gd name="T15" fmla="*/ 300 h 1053"/>
                <a:gd name="T16" fmla="*/ 643 w 1193"/>
                <a:gd name="T17" fmla="*/ 262 h 1053"/>
                <a:gd name="T18" fmla="*/ 723 w 1193"/>
                <a:gd name="T19" fmla="*/ 222 h 1053"/>
                <a:gd name="T20" fmla="*/ 749 w 1193"/>
                <a:gd name="T21" fmla="*/ 168 h 1053"/>
                <a:gd name="T22" fmla="*/ 749 w 1193"/>
                <a:gd name="T23" fmla="*/ 94 h 1053"/>
                <a:gd name="T24" fmla="*/ 756 w 1193"/>
                <a:gd name="T25" fmla="*/ 52 h 1053"/>
                <a:gd name="T26" fmla="*/ 900 w 1193"/>
                <a:gd name="T27" fmla="*/ 7 h 1053"/>
                <a:gd name="T28" fmla="*/ 966 w 1193"/>
                <a:gd name="T29" fmla="*/ 0 h 1053"/>
                <a:gd name="T30" fmla="*/ 1042 w 1193"/>
                <a:gd name="T31" fmla="*/ 23 h 1053"/>
                <a:gd name="T32" fmla="*/ 1073 w 1193"/>
                <a:gd name="T33" fmla="*/ 90 h 1053"/>
                <a:gd name="T34" fmla="*/ 1127 w 1193"/>
                <a:gd name="T35" fmla="*/ 118 h 1053"/>
                <a:gd name="T36" fmla="*/ 1127 w 1193"/>
                <a:gd name="T37" fmla="*/ 189 h 1053"/>
                <a:gd name="T38" fmla="*/ 1042 w 1193"/>
                <a:gd name="T39" fmla="*/ 205 h 1053"/>
                <a:gd name="T40" fmla="*/ 922 w 1193"/>
                <a:gd name="T41" fmla="*/ 229 h 1053"/>
                <a:gd name="T42" fmla="*/ 933 w 1193"/>
                <a:gd name="T43" fmla="*/ 283 h 1053"/>
                <a:gd name="T44" fmla="*/ 971 w 1193"/>
                <a:gd name="T45" fmla="*/ 349 h 1053"/>
                <a:gd name="T46" fmla="*/ 1018 w 1193"/>
                <a:gd name="T47" fmla="*/ 387 h 1053"/>
                <a:gd name="T48" fmla="*/ 955 w 1193"/>
                <a:gd name="T49" fmla="*/ 427 h 1053"/>
                <a:gd name="T50" fmla="*/ 966 w 1193"/>
                <a:gd name="T51" fmla="*/ 477 h 1053"/>
                <a:gd name="T52" fmla="*/ 917 w 1193"/>
                <a:gd name="T53" fmla="*/ 555 h 1053"/>
                <a:gd name="T54" fmla="*/ 794 w 1193"/>
                <a:gd name="T55" fmla="*/ 687 h 1053"/>
                <a:gd name="T56" fmla="*/ 695 w 1193"/>
                <a:gd name="T57" fmla="*/ 742 h 1053"/>
                <a:gd name="T58" fmla="*/ 610 w 1193"/>
                <a:gd name="T59" fmla="*/ 827 h 1053"/>
                <a:gd name="T60" fmla="*/ 664 w 1193"/>
                <a:gd name="T61" fmla="*/ 902 h 1053"/>
                <a:gd name="T62" fmla="*/ 718 w 1193"/>
                <a:gd name="T63" fmla="*/ 980 h 1053"/>
                <a:gd name="T64" fmla="*/ 695 w 1193"/>
                <a:gd name="T65" fmla="*/ 1013 h 1053"/>
                <a:gd name="T66" fmla="*/ 643 w 1193"/>
                <a:gd name="T67" fmla="*/ 1020 h 1053"/>
                <a:gd name="T68" fmla="*/ 555 w 1193"/>
                <a:gd name="T69" fmla="*/ 1001 h 1053"/>
                <a:gd name="T70" fmla="*/ 518 w 1193"/>
                <a:gd name="T71" fmla="*/ 1037 h 1053"/>
                <a:gd name="T72" fmla="*/ 501 w 1193"/>
                <a:gd name="T73" fmla="*/ 1046 h 1053"/>
                <a:gd name="T74" fmla="*/ 468 w 1193"/>
                <a:gd name="T75" fmla="*/ 1037 h 1053"/>
                <a:gd name="T76" fmla="*/ 437 w 1193"/>
                <a:gd name="T77" fmla="*/ 980 h 1053"/>
                <a:gd name="T78" fmla="*/ 399 w 1193"/>
                <a:gd name="T79" fmla="*/ 926 h 1053"/>
                <a:gd name="T80" fmla="*/ 383 w 1193"/>
                <a:gd name="T81" fmla="*/ 909 h 1053"/>
                <a:gd name="T82" fmla="*/ 265 w 1193"/>
                <a:gd name="T83" fmla="*/ 935 h 1053"/>
                <a:gd name="T84" fmla="*/ 220 w 1193"/>
                <a:gd name="T85" fmla="*/ 926 h 1053"/>
                <a:gd name="T86" fmla="*/ 69 w 1193"/>
                <a:gd name="T87" fmla="*/ 947 h 1053"/>
                <a:gd name="T88" fmla="*/ 59 w 1193"/>
                <a:gd name="T89" fmla="*/ 893 h 1053"/>
                <a:gd name="T90" fmla="*/ 97 w 1193"/>
                <a:gd name="T91" fmla="*/ 848 h 1053"/>
                <a:gd name="T92" fmla="*/ 161 w 1193"/>
                <a:gd name="T93" fmla="*/ 831 h 1053"/>
                <a:gd name="T94" fmla="*/ 140 w 1193"/>
                <a:gd name="T95" fmla="*/ 782 h 1053"/>
                <a:gd name="T96" fmla="*/ 107 w 1193"/>
                <a:gd name="T97" fmla="*/ 687 h 1053"/>
                <a:gd name="T98" fmla="*/ 0 w 1193"/>
                <a:gd name="T99" fmla="*/ 576 h 1053"/>
                <a:gd name="T100" fmla="*/ 166 w 1193"/>
                <a:gd name="T101" fmla="*/ 609 h 1053"/>
                <a:gd name="T102" fmla="*/ 463 w 1193"/>
                <a:gd name="T103" fmla="*/ 1030 h 10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193" h="1053">
                  <a:moveTo>
                    <a:pt x="166" y="609"/>
                  </a:moveTo>
                  <a:lnTo>
                    <a:pt x="194" y="605"/>
                  </a:lnTo>
                  <a:lnTo>
                    <a:pt x="220" y="609"/>
                  </a:lnTo>
                  <a:lnTo>
                    <a:pt x="248" y="605"/>
                  </a:lnTo>
                  <a:lnTo>
                    <a:pt x="291" y="605"/>
                  </a:lnTo>
                  <a:lnTo>
                    <a:pt x="378" y="576"/>
                  </a:lnTo>
                  <a:lnTo>
                    <a:pt x="383" y="571"/>
                  </a:lnTo>
                  <a:lnTo>
                    <a:pt x="378" y="560"/>
                  </a:lnTo>
                  <a:lnTo>
                    <a:pt x="383" y="548"/>
                  </a:lnTo>
                  <a:lnTo>
                    <a:pt x="383" y="522"/>
                  </a:lnTo>
                  <a:lnTo>
                    <a:pt x="392" y="494"/>
                  </a:lnTo>
                  <a:lnTo>
                    <a:pt x="399" y="494"/>
                  </a:lnTo>
                  <a:lnTo>
                    <a:pt x="416" y="465"/>
                  </a:lnTo>
                  <a:lnTo>
                    <a:pt x="430" y="460"/>
                  </a:lnTo>
                  <a:lnTo>
                    <a:pt x="454" y="465"/>
                  </a:lnTo>
                  <a:lnTo>
                    <a:pt x="485" y="460"/>
                  </a:lnTo>
                  <a:lnTo>
                    <a:pt x="468" y="444"/>
                  </a:lnTo>
                  <a:lnTo>
                    <a:pt x="501" y="439"/>
                  </a:lnTo>
                  <a:lnTo>
                    <a:pt x="518" y="423"/>
                  </a:lnTo>
                  <a:lnTo>
                    <a:pt x="539" y="427"/>
                  </a:lnTo>
                  <a:lnTo>
                    <a:pt x="534" y="427"/>
                  </a:lnTo>
                  <a:lnTo>
                    <a:pt x="539" y="423"/>
                  </a:lnTo>
                  <a:lnTo>
                    <a:pt x="560" y="444"/>
                  </a:lnTo>
                  <a:lnTo>
                    <a:pt x="577" y="439"/>
                  </a:lnTo>
                  <a:lnTo>
                    <a:pt x="593" y="411"/>
                  </a:lnTo>
                  <a:lnTo>
                    <a:pt x="593" y="371"/>
                  </a:lnTo>
                  <a:lnTo>
                    <a:pt x="598" y="354"/>
                  </a:lnTo>
                  <a:lnTo>
                    <a:pt x="598" y="349"/>
                  </a:lnTo>
                  <a:lnTo>
                    <a:pt x="610" y="338"/>
                  </a:lnTo>
                  <a:lnTo>
                    <a:pt x="610" y="328"/>
                  </a:lnTo>
                  <a:lnTo>
                    <a:pt x="648" y="316"/>
                  </a:lnTo>
                  <a:lnTo>
                    <a:pt x="664" y="300"/>
                  </a:lnTo>
                  <a:lnTo>
                    <a:pt x="652" y="283"/>
                  </a:lnTo>
                  <a:lnTo>
                    <a:pt x="652" y="272"/>
                  </a:lnTo>
                  <a:lnTo>
                    <a:pt x="643" y="272"/>
                  </a:lnTo>
                  <a:lnTo>
                    <a:pt x="643" y="262"/>
                  </a:lnTo>
                  <a:lnTo>
                    <a:pt x="631" y="246"/>
                  </a:lnTo>
                  <a:lnTo>
                    <a:pt x="681" y="255"/>
                  </a:lnTo>
                  <a:lnTo>
                    <a:pt x="718" y="246"/>
                  </a:lnTo>
                  <a:lnTo>
                    <a:pt x="723" y="222"/>
                  </a:lnTo>
                  <a:lnTo>
                    <a:pt x="707" y="205"/>
                  </a:lnTo>
                  <a:lnTo>
                    <a:pt x="718" y="201"/>
                  </a:lnTo>
                  <a:lnTo>
                    <a:pt x="718" y="189"/>
                  </a:lnTo>
                  <a:lnTo>
                    <a:pt x="749" y="168"/>
                  </a:lnTo>
                  <a:lnTo>
                    <a:pt x="756" y="151"/>
                  </a:lnTo>
                  <a:lnTo>
                    <a:pt x="749" y="144"/>
                  </a:lnTo>
                  <a:lnTo>
                    <a:pt x="756" y="134"/>
                  </a:lnTo>
                  <a:lnTo>
                    <a:pt x="749" y="94"/>
                  </a:lnTo>
                  <a:lnTo>
                    <a:pt x="723" y="78"/>
                  </a:lnTo>
                  <a:lnTo>
                    <a:pt x="733" y="73"/>
                  </a:lnTo>
                  <a:lnTo>
                    <a:pt x="756" y="57"/>
                  </a:lnTo>
                  <a:lnTo>
                    <a:pt x="756" y="52"/>
                  </a:lnTo>
                  <a:lnTo>
                    <a:pt x="761" y="52"/>
                  </a:lnTo>
                  <a:lnTo>
                    <a:pt x="794" y="23"/>
                  </a:lnTo>
                  <a:lnTo>
                    <a:pt x="825" y="19"/>
                  </a:lnTo>
                  <a:lnTo>
                    <a:pt x="900" y="7"/>
                  </a:lnTo>
                  <a:lnTo>
                    <a:pt x="922" y="19"/>
                  </a:lnTo>
                  <a:lnTo>
                    <a:pt x="955" y="0"/>
                  </a:lnTo>
                  <a:lnTo>
                    <a:pt x="966" y="7"/>
                  </a:lnTo>
                  <a:lnTo>
                    <a:pt x="966" y="0"/>
                  </a:lnTo>
                  <a:lnTo>
                    <a:pt x="1004" y="0"/>
                  </a:lnTo>
                  <a:lnTo>
                    <a:pt x="1018" y="7"/>
                  </a:lnTo>
                  <a:lnTo>
                    <a:pt x="1025" y="23"/>
                  </a:lnTo>
                  <a:lnTo>
                    <a:pt x="1042" y="23"/>
                  </a:lnTo>
                  <a:lnTo>
                    <a:pt x="1056" y="35"/>
                  </a:lnTo>
                  <a:lnTo>
                    <a:pt x="1063" y="61"/>
                  </a:lnTo>
                  <a:lnTo>
                    <a:pt x="1056" y="78"/>
                  </a:lnTo>
                  <a:lnTo>
                    <a:pt x="1073" y="90"/>
                  </a:lnTo>
                  <a:lnTo>
                    <a:pt x="1080" y="106"/>
                  </a:lnTo>
                  <a:lnTo>
                    <a:pt x="1101" y="94"/>
                  </a:lnTo>
                  <a:lnTo>
                    <a:pt x="1101" y="106"/>
                  </a:lnTo>
                  <a:lnTo>
                    <a:pt x="1127" y="118"/>
                  </a:lnTo>
                  <a:lnTo>
                    <a:pt x="1165" y="127"/>
                  </a:lnTo>
                  <a:lnTo>
                    <a:pt x="1193" y="127"/>
                  </a:lnTo>
                  <a:lnTo>
                    <a:pt x="1132" y="160"/>
                  </a:lnTo>
                  <a:lnTo>
                    <a:pt x="1127" y="189"/>
                  </a:lnTo>
                  <a:lnTo>
                    <a:pt x="1094" y="184"/>
                  </a:lnTo>
                  <a:lnTo>
                    <a:pt x="1073" y="201"/>
                  </a:lnTo>
                  <a:lnTo>
                    <a:pt x="1063" y="201"/>
                  </a:lnTo>
                  <a:lnTo>
                    <a:pt x="1042" y="205"/>
                  </a:lnTo>
                  <a:lnTo>
                    <a:pt x="950" y="184"/>
                  </a:lnTo>
                  <a:lnTo>
                    <a:pt x="917" y="201"/>
                  </a:lnTo>
                  <a:lnTo>
                    <a:pt x="912" y="217"/>
                  </a:lnTo>
                  <a:lnTo>
                    <a:pt x="922" y="229"/>
                  </a:lnTo>
                  <a:lnTo>
                    <a:pt x="917" y="238"/>
                  </a:lnTo>
                  <a:lnTo>
                    <a:pt x="938" y="246"/>
                  </a:lnTo>
                  <a:lnTo>
                    <a:pt x="922" y="272"/>
                  </a:lnTo>
                  <a:lnTo>
                    <a:pt x="933" y="283"/>
                  </a:lnTo>
                  <a:lnTo>
                    <a:pt x="922" y="316"/>
                  </a:lnTo>
                  <a:lnTo>
                    <a:pt x="950" y="328"/>
                  </a:lnTo>
                  <a:lnTo>
                    <a:pt x="950" y="349"/>
                  </a:lnTo>
                  <a:lnTo>
                    <a:pt x="971" y="349"/>
                  </a:lnTo>
                  <a:lnTo>
                    <a:pt x="971" y="371"/>
                  </a:lnTo>
                  <a:lnTo>
                    <a:pt x="992" y="371"/>
                  </a:lnTo>
                  <a:lnTo>
                    <a:pt x="1018" y="383"/>
                  </a:lnTo>
                  <a:lnTo>
                    <a:pt x="1018" y="387"/>
                  </a:lnTo>
                  <a:lnTo>
                    <a:pt x="1009" y="404"/>
                  </a:lnTo>
                  <a:lnTo>
                    <a:pt x="988" y="404"/>
                  </a:lnTo>
                  <a:lnTo>
                    <a:pt x="966" y="423"/>
                  </a:lnTo>
                  <a:lnTo>
                    <a:pt x="955" y="427"/>
                  </a:lnTo>
                  <a:lnTo>
                    <a:pt x="966" y="449"/>
                  </a:lnTo>
                  <a:lnTo>
                    <a:pt x="955" y="477"/>
                  </a:lnTo>
                  <a:lnTo>
                    <a:pt x="966" y="482"/>
                  </a:lnTo>
                  <a:lnTo>
                    <a:pt x="966" y="477"/>
                  </a:lnTo>
                  <a:lnTo>
                    <a:pt x="971" y="482"/>
                  </a:lnTo>
                  <a:lnTo>
                    <a:pt x="950" y="498"/>
                  </a:lnTo>
                  <a:lnTo>
                    <a:pt x="917" y="538"/>
                  </a:lnTo>
                  <a:lnTo>
                    <a:pt x="917" y="555"/>
                  </a:lnTo>
                  <a:lnTo>
                    <a:pt x="879" y="571"/>
                  </a:lnTo>
                  <a:lnTo>
                    <a:pt x="846" y="642"/>
                  </a:lnTo>
                  <a:lnTo>
                    <a:pt x="808" y="666"/>
                  </a:lnTo>
                  <a:lnTo>
                    <a:pt x="794" y="687"/>
                  </a:lnTo>
                  <a:lnTo>
                    <a:pt x="777" y="716"/>
                  </a:lnTo>
                  <a:lnTo>
                    <a:pt x="777" y="725"/>
                  </a:lnTo>
                  <a:lnTo>
                    <a:pt x="702" y="742"/>
                  </a:lnTo>
                  <a:lnTo>
                    <a:pt x="695" y="742"/>
                  </a:lnTo>
                  <a:lnTo>
                    <a:pt x="685" y="720"/>
                  </a:lnTo>
                  <a:lnTo>
                    <a:pt x="669" y="720"/>
                  </a:lnTo>
                  <a:lnTo>
                    <a:pt x="614" y="782"/>
                  </a:lnTo>
                  <a:lnTo>
                    <a:pt x="610" y="827"/>
                  </a:lnTo>
                  <a:lnTo>
                    <a:pt x="631" y="831"/>
                  </a:lnTo>
                  <a:lnTo>
                    <a:pt x="652" y="836"/>
                  </a:lnTo>
                  <a:lnTo>
                    <a:pt x="648" y="881"/>
                  </a:lnTo>
                  <a:lnTo>
                    <a:pt x="664" y="902"/>
                  </a:lnTo>
                  <a:lnTo>
                    <a:pt x="685" y="902"/>
                  </a:lnTo>
                  <a:lnTo>
                    <a:pt x="695" y="926"/>
                  </a:lnTo>
                  <a:lnTo>
                    <a:pt x="702" y="942"/>
                  </a:lnTo>
                  <a:lnTo>
                    <a:pt x="718" y="980"/>
                  </a:lnTo>
                  <a:lnTo>
                    <a:pt x="707" y="980"/>
                  </a:lnTo>
                  <a:lnTo>
                    <a:pt x="707" y="997"/>
                  </a:lnTo>
                  <a:lnTo>
                    <a:pt x="718" y="997"/>
                  </a:lnTo>
                  <a:lnTo>
                    <a:pt x="695" y="1013"/>
                  </a:lnTo>
                  <a:lnTo>
                    <a:pt x="685" y="1013"/>
                  </a:lnTo>
                  <a:lnTo>
                    <a:pt x="681" y="997"/>
                  </a:lnTo>
                  <a:lnTo>
                    <a:pt x="648" y="1001"/>
                  </a:lnTo>
                  <a:lnTo>
                    <a:pt x="643" y="1020"/>
                  </a:lnTo>
                  <a:lnTo>
                    <a:pt x="626" y="1020"/>
                  </a:lnTo>
                  <a:lnTo>
                    <a:pt x="614" y="1013"/>
                  </a:lnTo>
                  <a:lnTo>
                    <a:pt x="572" y="1013"/>
                  </a:lnTo>
                  <a:lnTo>
                    <a:pt x="555" y="1001"/>
                  </a:lnTo>
                  <a:lnTo>
                    <a:pt x="555" y="1037"/>
                  </a:lnTo>
                  <a:lnTo>
                    <a:pt x="522" y="1037"/>
                  </a:lnTo>
                  <a:lnTo>
                    <a:pt x="518" y="1046"/>
                  </a:lnTo>
                  <a:lnTo>
                    <a:pt x="518" y="1037"/>
                  </a:lnTo>
                  <a:lnTo>
                    <a:pt x="518" y="1053"/>
                  </a:lnTo>
                  <a:lnTo>
                    <a:pt x="506" y="1053"/>
                  </a:lnTo>
                  <a:lnTo>
                    <a:pt x="501" y="1037"/>
                  </a:lnTo>
                  <a:lnTo>
                    <a:pt x="501" y="1046"/>
                  </a:lnTo>
                  <a:lnTo>
                    <a:pt x="492" y="1037"/>
                  </a:lnTo>
                  <a:lnTo>
                    <a:pt x="492" y="1046"/>
                  </a:lnTo>
                  <a:lnTo>
                    <a:pt x="485" y="1046"/>
                  </a:lnTo>
                  <a:lnTo>
                    <a:pt x="468" y="1037"/>
                  </a:lnTo>
                  <a:lnTo>
                    <a:pt x="468" y="1037"/>
                  </a:lnTo>
                  <a:lnTo>
                    <a:pt x="463" y="1030"/>
                  </a:lnTo>
                  <a:lnTo>
                    <a:pt x="454" y="1020"/>
                  </a:lnTo>
                  <a:lnTo>
                    <a:pt x="437" y="980"/>
                  </a:lnTo>
                  <a:lnTo>
                    <a:pt x="447" y="975"/>
                  </a:lnTo>
                  <a:lnTo>
                    <a:pt x="409" y="964"/>
                  </a:lnTo>
                  <a:lnTo>
                    <a:pt x="416" y="942"/>
                  </a:lnTo>
                  <a:lnTo>
                    <a:pt x="399" y="926"/>
                  </a:lnTo>
                  <a:lnTo>
                    <a:pt x="399" y="919"/>
                  </a:lnTo>
                  <a:lnTo>
                    <a:pt x="383" y="909"/>
                  </a:lnTo>
                  <a:lnTo>
                    <a:pt x="371" y="919"/>
                  </a:lnTo>
                  <a:lnTo>
                    <a:pt x="383" y="909"/>
                  </a:lnTo>
                  <a:lnTo>
                    <a:pt x="399" y="926"/>
                  </a:lnTo>
                  <a:lnTo>
                    <a:pt x="274" y="926"/>
                  </a:lnTo>
                  <a:lnTo>
                    <a:pt x="270" y="942"/>
                  </a:lnTo>
                  <a:lnTo>
                    <a:pt x="265" y="935"/>
                  </a:lnTo>
                  <a:lnTo>
                    <a:pt x="232" y="926"/>
                  </a:lnTo>
                  <a:lnTo>
                    <a:pt x="232" y="919"/>
                  </a:lnTo>
                  <a:lnTo>
                    <a:pt x="220" y="926"/>
                  </a:lnTo>
                  <a:lnTo>
                    <a:pt x="220" y="926"/>
                  </a:lnTo>
                  <a:lnTo>
                    <a:pt x="199" y="926"/>
                  </a:lnTo>
                  <a:lnTo>
                    <a:pt x="182" y="935"/>
                  </a:lnTo>
                  <a:lnTo>
                    <a:pt x="90" y="942"/>
                  </a:lnTo>
                  <a:lnTo>
                    <a:pt x="69" y="947"/>
                  </a:lnTo>
                  <a:lnTo>
                    <a:pt x="59" y="947"/>
                  </a:lnTo>
                  <a:lnTo>
                    <a:pt x="69" y="942"/>
                  </a:lnTo>
                  <a:lnTo>
                    <a:pt x="52" y="942"/>
                  </a:lnTo>
                  <a:lnTo>
                    <a:pt x="59" y="893"/>
                  </a:lnTo>
                  <a:lnTo>
                    <a:pt x="69" y="893"/>
                  </a:lnTo>
                  <a:lnTo>
                    <a:pt x="69" y="864"/>
                  </a:lnTo>
                  <a:lnTo>
                    <a:pt x="90" y="848"/>
                  </a:lnTo>
                  <a:lnTo>
                    <a:pt x="97" y="848"/>
                  </a:lnTo>
                  <a:lnTo>
                    <a:pt x="97" y="836"/>
                  </a:lnTo>
                  <a:lnTo>
                    <a:pt x="114" y="831"/>
                  </a:lnTo>
                  <a:lnTo>
                    <a:pt x="140" y="831"/>
                  </a:lnTo>
                  <a:lnTo>
                    <a:pt x="161" y="831"/>
                  </a:lnTo>
                  <a:lnTo>
                    <a:pt x="166" y="791"/>
                  </a:lnTo>
                  <a:lnTo>
                    <a:pt x="177" y="791"/>
                  </a:lnTo>
                  <a:lnTo>
                    <a:pt x="166" y="775"/>
                  </a:lnTo>
                  <a:lnTo>
                    <a:pt x="140" y="782"/>
                  </a:lnTo>
                  <a:lnTo>
                    <a:pt x="140" y="770"/>
                  </a:lnTo>
                  <a:lnTo>
                    <a:pt x="140" y="704"/>
                  </a:lnTo>
                  <a:lnTo>
                    <a:pt x="123" y="704"/>
                  </a:lnTo>
                  <a:lnTo>
                    <a:pt x="107" y="687"/>
                  </a:lnTo>
                  <a:lnTo>
                    <a:pt x="76" y="683"/>
                  </a:lnTo>
                  <a:lnTo>
                    <a:pt x="52" y="666"/>
                  </a:lnTo>
                  <a:lnTo>
                    <a:pt x="31" y="616"/>
                  </a:lnTo>
                  <a:lnTo>
                    <a:pt x="0" y="576"/>
                  </a:lnTo>
                  <a:lnTo>
                    <a:pt x="114" y="609"/>
                  </a:lnTo>
                  <a:lnTo>
                    <a:pt x="166" y="609"/>
                  </a:lnTo>
                  <a:lnTo>
                    <a:pt x="166" y="609"/>
                  </a:lnTo>
                  <a:lnTo>
                    <a:pt x="166" y="609"/>
                  </a:lnTo>
                  <a:close/>
                  <a:moveTo>
                    <a:pt x="463" y="1030"/>
                  </a:moveTo>
                  <a:lnTo>
                    <a:pt x="463" y="1030"/>
                  </a:lnTo>
                  <a:lnTo>
                    <a:pt x="463" y="1030"/>
                  </a:lnTo>
                  <a:lnTo>
                    <a:pt x="463" y="1030"/>
                  </a:lnTo>
                  <a:lnTo>
                    <a:pt x="463" y="1030"/>
                  </a:lnTo>
                  <a:lnTo>
                    <a:pt x="463" y="1030"/>
                  </a:lnTo>
                  <a:close/>
                </a:path>
              </a:pathLst>
            </a:custGeom>
            <a:solidFill>
              <a:schemeClr val="bg2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88" name="Freeform 532">
              <a:extLst>
                <a:ext uri="{FF2B5EF4-FFF2-40B4-BE49-F238E27FC236}">
                  <a16:creationId xmlns:a16="http://schemas.microsoft.com/office/drawing/2014/main" id="{8A2F2EB2-EA7A-47D8-9B02-CB72AEBFC392}"/>
                </a:ext>
              </a:extLst>
            </p:cNvPr>
            <p:cNvSpPr>
              <a:spLocks/>
            </p:cNvSpPr>
            <p:nvPr/>
          </p:nvSpPr>
          <p:spPr bwMode="gray">
            <a:xfrm>
              <a:off x="6313714" y="2066581"/>
              <a:ext cx="107739" cy="85649"/>
            </a:xfrm>
            <a:custGeom>
              <a:avLst/>
              <a:gdLst>
                <a:gd name="T0" fmla="*/ 87 w 702"/>
                <a:gd name="T1" fmla="*/ 392 h 558"/>
                <a:gd name="T2" fmla="*/ 54 w 702"/>
                <a:gd name="T3" fmla="*/ 371 h 558"/>
                <a:gd name="T4" fmla="*/ 50 w 702"/>
                <a:gd name="T5" fmla="*/ 388 h 558"/>
                <a:gd name="T6" fmla="*/ 54 w 702"/>
                <a:gd name="T7" fmla="*/ 321 h 558"/>
                <a:gd name="T8" fmla="*/ 40 w 702"/>
                <a:gd name="T9" fmla="*/ 310 h 558"/>
                <a:gd name="T10" fmla="*/ 40 w 702"/>
                <a:gd name="T11" fmla="*/ 265 h 558"/>
                <a:gd name="T12" fmla="*/ 24 w 702"/>
                <a:gd name="T13" fmla="*/ 239 h 558"/>
                <a:gd name="T14" fmla="*/ 0 w 702"/>
                <a:gd name="T15" fmla="*/ 189 h 558"/>
                <a:gd name="T16" fmla="*/ 16 w 702"/>
                <a:gd name="T17" fmla="*/ 166 h 558"/>
                <a:gd name="T18" fmla="*/ 7 w 702"/>
                <a:gd name="T19" fmla="*/ 111 h 558"/>
                <a:gd name="T20" fmla="*/ 33 w 702"/>
                <a:gd name="T21" fmla="*/ 99 h 558"/>
                <a:gd name="T22" fmla="*/ 0 w 702"/>
                <a:gd name="T23" fmla="*/ 90 h 558"/>
                <a:gd name="T24" fmla="*/ 163 w 702"/>
                <a:gd name="T25" fmla="*/ 24 h 558"/>
                <a:gd name="T26" fmla="*/ 293 w 702"/>
                <a:gd name="T27" fmla="*/ 0 h 558"/>
                <a:gd name="T28" fmla="*/ 326 w 702"/>
                <a:gd name="T29" fmla="*/ 24 h 558"/>
                <a:gd name="T30" fmla="*/ 309 w 702"/>
                <a:gd name="T31" fmla="*/ 40 h 558"/>
                <a:gd name="T32" fmla="*/ 380 w 702"/>
                <a:gd name="T33" fmla="*/ 33 h 558"/>
                <a:gd name="T34" fmla="*/ 359 w 702"/>
                <a:gd name="T35" fmla="*/ 45 h 558"/>
                <a:gd name="T36" fmla="*/ 397 w 702"/>
                <a:gd name="T37" fmla="*/ 40 h 558"/>
                <a:gd name="T38" fmla="*/ 609 w 702"/>
                <a:gd name="T39" fmla="*/ 45 h 558"/>
                <a:gd name="T40" fmla="*/ 647 w 702"/>
                <a:gd name="T41" fmla="*/ 57 h 558"/>
                <a:gd name="T42" fmla="*/ 664 w 702"/>
                <a:gd name="T43" fmla="*/ 90 h 558"/>
                <a:gd name="T44" fmla="*/ 690 w 702"/>
                <a:gd name="T45" fmla="*/ 206 h 558"/>
                <a:gd name="T46" fmla="*/ 635 w 702"/>
                <a:gd name="T47" fmla="*/ 244 h 558"/>
                <a:gd name="T48" fmla="*/ 664 w 702"/>
                <a:gd name="T49" fmla="*/ 310 h 558"/>
                <a:gd name="T50" fmla="*/ 673 w 702"/>
                <a:gd name="T51" fmla="*/ 350 h 558"/>
                <a:gd name="T52" fmla="*/ 690 w 702"/>
                <a:gd name="T53" fmla="*/ 388 h 558"/>
                <a:gd name="T54" fmla="*/ 690 w 702"/>
                <a:gd name="T55" fmla="*/ 425 h 558"/>
                <a:gd name="T56" fmla="*/ 647 w 702"/>
                <a:gd name="T57" fmla="*/ 458 h 558"/>
                <a:gd name="T58" fmla="*/ 609 w 702"/>
                <a:gd name="T59" fmla="*/ 532 h 558"/>
                <a:gd name="T60" fmla="*/ 614 w 702"/>
                <a:gd name="T61" fmla="*/ 553 h 558"/>
                <a:gd name="T62" fmla="*/ 593 w 702"/>
                <a:gd name="T63" fmla="*/ 553 h 558"/>
                <a:gd name="T64" fmla="*/ 555 w 702"/>
                <a:gd name="T65" fmla="*/ 532 h 558"/>
                <a:gd name="T66" fmla="*/ 489 w 702"/>
                <a:gd name="T67" fmla="*/ 520 h 558"/>
                <a:gd name="T68" fmla="*/ 468 w 702"/>
                <a:gd name="T69" fmla="*/ 520 h 558"/>
                <a:gd name="T70" fmla="*/ 418 w 702"/>
                <a:gd name="T71" fmla="*/ 532 h 558"/>
                <a:gd name="T72" fmla="*/ 397 w 702"/>
                <a:gd name="T73" fmla="*/ 536 h 558"/>
                <a:gd name="T74" fmla="*/ 392 w 702"/>
                <a:gd name="T75" fmla="*/ 520 h 558"/>
                <a:gd name="T76" fmla="*/ 347 w 702"/>
                <a:gd name="T77" fmla="*/ 520 h 558"/>
                <a:gd name="T78" fmla="*/ 331 w 702"/>
                <a:gd name="T79" fmla="*/ 515 h 558"/>
                <a:gd name="T80" fmla="*/ 326 w 702"/>
                <a:gd name="T81" fmla="*/ 499 h 558"/>
                <a:gd name="T82" fmla="*/ 309 w 702"/>
                <a:gd name="T83" fmla="*/ 475 h 558"/>
                <a:gd name="T84" fmla="*/ 267 w 702"/>
                <a:gd name="T85" fmla="*/ 466 h 558"/>
                <a:gd name="T86" fmla="*/ 239 w 702"/>
                <a:gd name="T87" fmla="*/ 449 h 558"/>
                <a:gd name="T88" fmla="*/ 250 w 702"/>
                <a:gd name="T89" fmla="*/ 433 h 558"/>
                <a:gd name="T90" fmla="*/ 196 w 702"/>
                <a:gd name="T91" fmla="*/ 425 h 558"/>
                <a:gd name="T92" fmla="*/ 170 w 702"/>
                <a:gd name="T93" fmla="*/ 458 h 558"/>
                <a:gd name="T94" fmla="*/ 158 w 702"/>
                <a:gd name="T95" fmla="*/ 409 h 558"/>
                <a:gd name="T96" fmla="*/ 142 w 702"/>
                <a:gd name="T97" fmla="*/ 404 h 5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02" h="558">
                  <a:moveTo>
                    <a:pt x="142" y="404"/>
                  </a:moveTo>
                  <a:lnTo>
                    <a:pt x="87" y="392"/>
                  </a:lnTo>
                  <a:lnTo>
                    <a:pt x="71" y="371"/>
                  </a:lnTo>
                  <a:lnTo>
                    <a:pt x="54" y="371"/>
                  </a:lnTo>
                  <a:lnTo>
                    <a:pt x="54" y="388"/>
                  </a:lnTo>
                  <a:lnTo>
                    <a:pt x="50" y="388"/>
                  </a:lnTo>
                  <a:lnTo>
                    <a:pt x="61" y="350"/>
                  </a:lnTo>
                  <a:lnTo>
                    <a:pt x="54" y="321"/>
                  </a:lnTo>
                  <a:lnTo>
                    <a:pt x="40" y="321"/>
                  </a:lnTo>
                  <a:lnTo>
                    <a:pt x="40" y="310"/>
                  </a:lnTo>
                  <a:lnTo>
                    <a:pt x="33" y="293"/>
                  </a:lnTo>
                  <a:lnTo>
                    <a:pt x="40" y="265"/>
                  </a:lnTo>
                  <a:lnTo>
                    <a:pt x="40" y="255"/>
                  </a:lnTo>
                  <a:lnTo>
                    <a:pt x="24" y="239"/>
                  </a:lnTo>
                  <a:lnTo>
                    <a:pt x="33" y="222"/>
                  </a:lnTo>
                  <a:lnTo>
                    <a:pt x="0" y="189"/>
                  </a:lnTo>
                  <a:lnTo>
                    <a:pt x="0" y="182"/>
                  </a:lnTo>
                  <a:lnTo>
                    <a:pt x="16" y="166"/>
                  </a:lnTo>
                  <a:lnTo>
                    <a:pt x="16" y="144"/>
                  </a:lnTo>
                  <a:lnTo>
                    <a:pt x="7" y="111"/>
                  </a:lnTo>
                  <a:lnTo>
                    <a:pt x="24" y="111"/>
                  </a:lnTo>
                  <a:lnTo>
                    <a:pt x="33" y="99"/>
                  </a:lnTo>
                  <a:lnTo>
                    <a:pt x="0" y="95"/>
                  </a:lnTo>
                  <a:lnTo>
                    <a:pt x="0" y="90"/>
                  </a:lnTo>
                  <a:lnTo>
                    <a:pt x="142" y="57"/>
                  </a:lnTo>
                  <a:lnTo>
                    <a:pt x="163" y="24"/>
                  </a:lnTo>
                  <a:lnTo>
                    <a:pt x="267" y="0"/>
                  </a:lnTo>
                  <a:lnTo>
                    <a:pt x="293" y="0"/>
                  </a:lnTo>
                  <a:lnTo>
                    <a:pt x="321" y="17"/>
                  </a:lnTo>
                  <a:lnTo>
                    <a:pt x="326" y="24"/>
                  </a:lnTo>
                  <a:lnTo>
                    <a:pt x="293" y="7"/>
                  </a:lnTo>
                  <a:lnTo>
                    <a:pt x="309" y="40"/>
                  </a:lnTo>
                  <a:lnTo>
                    <a:pt x="326" y="45"/>
                  </a:lnTo>
                  <a:lnTo>
                    <a:pt x="380" y="33"/>
                  </a:lnTo>
                  <a:lnTo>
                    <a:pt x="392" y="40"/>
                  </a:lnTo>
                  <a:lnTo>
                    <a:pt x="359" y="45"/>
                  </a:lnTo>
                  <a:lnTo>
                    <a:pt x="364" y="57"/>
                  </a:lnTo>
                  <a:lnTo>
                    <a:pt x="397" y="40"/>
                  </a:lnTo>
                  <a:lnTo>
                    <a:pt x="510" y="45"/>
                  </a:lnTo>
                  <a:lnTo>
                    <a:pt x="609" y="45"/>
                  </a:lnTo>
                  <a:lnTo>
                    <a:pt x="619" y="40"/>
                  </a:lnTo>
                  <a:lnTo>
                    <a:pt x="647" y="57"/>
                  </a:lnTo>
                  <a:lnTo>
                    <a:pt x="652" y="73"/>
                  </a:lnTo>
                  <a:lnTo>
                    <a:pt x="664" y="90"/>
                  </a:lnTo>
                  <a:lnTo>
                    <a:pt x="690" y="173"/>
                  </a:lnTo>
                  <a:lnTo>
                    <a:pt x="690" y="206"/>
                  </a:lnTo>
                  <a:lnTo>
                    <a:pt x="652" y="227"/>
                  </a:lnTo>
                  <a:lnTo>
                    <a:pt x="635" y="244"/>
                  </a:lnTo>
                  <a:lnTo>
                    <a:pt x="668" y="265"/>
                  </a:lnTo>
                  <a:lnTo>
                    <a:pt x="664" y="310"/>
                  </a:lnTo>
                  <a:lnTo>
                    <a:pt x="668" y="321"/>
                  </a:lnTo>
                  <a:lnTo>
                    <a:pt x="673" y="350"/>
                  </a:lnTo>
                  <a:lnTo>
                    <a:pt x="702" y="388"/>
                  </a:lnTo>
                  <a:lnTo>
                    <a:pt x="690" y="388"/>
                  </a:lnTo>
                  <a:lnTo>
                    <a:pt x="702" y="409"/>
                  </a:lnTo>
                  <a:lnTo>
                    <a:pt x="690" y="425"/>
                  </a:lnTo>
                  <a:lnTo>
                    <a:pt x="673" y="425"/>
                  </a:lnTo>
                  <a:lnTo>
                    <a:pt x="647" y="458"/>
                  </a:lnTo>
                  <a:lnTo>
                    <a:pt x="598" y="503"/>
                  </a:lnTo>
                  <a:lnTo>
                    <a:pt x="609" y="532"/>
                  </a:lnTo>
                  <a:lnTo>
                    <a:pt x="598" y="541"/>
                  </a:lnTo>
                  <a:lnTo>
                    <a:pt x="614" y="553"/>
                  </a:lnTo>
                  <a:lnTo>
                    <a:pt x="614" y="558"/>
                  </a:lnTo>
                  <a:lnTo>
                    <a:pt x="593" y="553"/>
                  </a:lnTo>
                  <a:lnTo>
                    <a:pt x="555" y="536"/>
                  </a:lnTo>
                  <a:lnTo>
                    <a:pt x="555" y="532"/>
                  </a:lnTo>
                  <a:lnTo>
                    <a:pt x="527" y="520"/>
                  </a:lnTo>
                  <a:lnTo>
                    <a:pt x="489" y="520"/>
                  </a:lnTo>
                  <a:lnTo>
                    <a:pt x="472" y="532"/>
                  </a:lnTo>
                  <a:lnTo>
                    <a:pt x="468" y="520"/>
                  </a:lnTo>
                  <a:lnTo>
                    <a:pt x="435" y="520"/>
                  </a:lnTo>
                  <a:lnTo>
                    <a:pt x="418" y="532"/>
                  </a:lnTo>
                  <a:lnTo>
                    <a:pt x="413" y="541"/>
                  </a:lnTo>
                  <a:lnTo>
                    <a:pt x="397" y="536"/>
                  </a:lnTo>
                  <a:lnTo>
                    <a:pt x="397" y="520"/>
                  </a:lnTo>
                  <a:lnTo>
                    <a:pt x="392" y="520"/>
                  </a:lnTo>
                  <a:lnTo>
                    <a:pt x="376" y="503"/>
                  </a:lnTo>
                  <a:lnTo>
                    <a:pt x="347" y="520"/>
                  </a:lnTo>
                  <a:lnTo>
                    <a:pt x="342" y="520"/>
                  </a:lnTo>
                  <a:lnTo>
                    <a:pt x="331" y="515"/>
                  </a:lnTo>
                  <a:lnTo>
                    <a:pt x="326" y="515"/>
                  </a:lnTo>
                  <a:lnTo>
                    <a:pt x="326" y="499"/>
                  </a:lnTo>
                  <a:lnTo>
                    <a:pt x="309" y="487"/>
                  </a:lnTo>
                  <a:lnTo>
                    <a:pt x="309" y="475"/>
                  </a:lnTo>
                  <a:lnTo>
                    <a:pt x="272" y="458"/>
                  </a:lnTo>
                  <a:lnTo>
                    <a:pt x="267" y="466"/>
                  </a:lnTo>
                  <a:lnTo>
                    <a:pt x="250" y="458"/>
                  </a:lnTo>
                  <a:lnTo>
                    <a:pt x="239" y="449"/>
                  </a:lnTo>
                  <a:lnTo>
                    <a:pt x="250" y="442"/>
                  </a:lnTo>
                  <a:lnTo>
                    <a:pt x="250" y="433"/>
                  </a:lnTo>
                  <a:lnTo>
                    <a:pt x="224" y="442"/>
                  </a:lnTo>
                  <a:lnTo>
                    <a:pt x="196" y="425"/>
                  </a:lnTo>
                  <a:lnTo>
                    <a:pt x="201" y="442"/>
                  </a:lnTo>
                  <a:lnTo>
                    <a:pt x="170" y="458"/>
                  </a:lnTo>
                  <a:lnTo>
                    <a:pt x="142" y="425"/>
                  </a:lnTo>
                  <a:lnTo>
                    <a:pt x="158" y="409"/>
                  </a:lnTo>
                  <a:lnTo>
                    <a:pt x="142" y="404"/>
                  </a:lnTo>
                  <a:lnTo>
                    <a:pt x="142" y="404"/>
                  </a:lnTo>
                  <a:lnTo>
                    <a:pt x="142" y="404"/>
                  </a:lnTo>
                  <a:close/>
                </a:path>
              </a:pathLst>
            </a:custGeom>
            <a:solidFill>
              <a:schemeClr val="bg2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89" name="Freeform 533">
              <a:extLst>
                <a:ext uri="{FF2B5EF4-FFF2-40B4-BE49-F238E27FC236}">
                  <a16:creationId xmlns:a16="http://schemas.microsoft.com/office/drawing/2014/main" id="{919229F5-1A2D-4019-BD4D-55B2F917A58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267476" y="2635883"/>
              <a:ext cx="63078" cy="26093"/>
            </a:xfrm>
            <a:custGeom>
              <a:avLst/>
              <a:gdLst>
                <a:gd name="T0" fmla="*/ 4 w 411"/>
                <a:gd name="T1" fmla="*/ 94 h 170"/>
                <a:gd name="T2" fmla="*/ 16 w 411"/>
                <a:gd name="T3" fmla="*/ 78 h 170"/>
                <a:gd name="T4" fmla="*/ 21 w 411"/>
                <a:gd name="T5" fmla="*/ 45 h 170"/>
                <a:gd name="T6" fmla="*/ 4 w 411"/>
                <a:gd name="T7" fmla="*/ 5 h 170"/>
                <a:gd name="T8" fmla="*/ 33 w 411"/>
                <a:gd name="T9" fmla="*/ 5 h 170"/>
                <a:gd name="T10" fmla="*/ 42 w 411"/>
                <a:gd name="T11" fmla="*/ 16 h 170"/>
                <a:gd name="T12" fmla="*/ 87 w 411"/>
                <a:gd name="T13" fmla="*/ 45 h 170"/>
                <a:gd name="T14" fmla="*/ 108 w 411"/>
                <a:gd name="T15" fmla="*/ 54 h 170"/>
                <a:gd name="T16" fmla="*/ 205 w 411"/>
                <a:gd name="T17" fmla="*/ 28 h 170"/>
                <a:gd name="T18" fmla="*/ 286 w 411"/>
                <a:gd name="T19" fmla="*/ 5 h 170"/>
                <a:gd name="T20" fmla="*/ 314 w 411"/>
                <a:gd name="T21" fmla="*/ 16 h 170"/>
                <a:gd name="T22" fmla="*/ 385 w 411"/>
                <a:gd name="T23" fmla="*/ 61 h 170"/>
                <a:gd name="T24" fmla="*/ 394 w 411"/>
                <a:gd name="T25" fmla="*/ 78 h 170"/>
                <a:gd name="T26" fmla="*/ 411 w 411"/>
                <a:gd name="T27" fmla="*/ 116 h 170"/>
                <a:gd name="T28" fmla="*/ 401 w 411"/>
                <a:gd name="T29" fmla="*/ 137 h 170"/>
                <a:gd name="T30" fmla="*/ 368 w 411"/>
                <a:gd name="T31" fmla="*/ 132 h 170"/>
                <a:gd name="T32" fmla="*/ 368 w 411"/>
                <a:gd name="T33" fmla="*/ 153 h 170"/>
                <a:gd name="T34" fmla="*/ 340 w 411"/>
                <a:gd name="T35" fmla="*/ 149 h 170"/>
                <a:gd name="T36" fmla="*/ 340 w 411"/>
                <a:gd name="T37" fmla="*/ 111 h 170"/>
                <a:gd name="T38" fmla="*/ 347 w 411"/>
                <a:gd name="T39" fmla="*/ 82 h 170"/>
                <a:gd name="T40" fmla="*/ 368 w 411"/>
                <a:gd name="T41" fmla="*/ 99 h 170"/>
                <a:gd name="T42" fmla="*/ 347 w 411"/>
                <a:gd name="T43" fmla="*/ 82 h 170"/>
                <a:gd name="T44" fmla="*/ 314 w 411"/>
                <a:gd name="T45" fmla="*/ 71 h 170"/>
                <a:gd name="T46" fmla="*/ 286 w 411"/>
                <a:gd name="T47" fmla="*/ 28 h 170"/>
                <a:gd name="T48" fmla="*/ 248 w 411"/>
                <a:gd name="T49" fmla="*/ 45 h 170"/>
                <a:gd name="T50" fmla="*/ 231 w 411"/>
                <a:gd name="T51" fmla="*/ 54 h 170"/>
                <a:gd name="T52" fmla="*/ 217 w 411"/>
                <a:gd name="T53" fmla="*/ 82 h 170"/>
                <a:gd name="T54" fmla="*/ 184 w 411"/>
                <a:gd name="T55" fmla="*/ 111 h 170"/>
                <a:gd name="T56" fmla="*/ 193 w 411"/>
                <a:gd name="T57" fmla="*/ 153 h 170"/>
                <a:gd name="T58" fmla="*/ 146 w 411"/>
                <a:gd name="T59" fmla="*/ 170 h 170"/>
                <a:gd name="T60" fmla="*/ 139 w 411"/>
                <a:gd name="T61" fmla="*/ 127 h 170"/>
                <a:gd name="T62" fmla="*/ 130 w 411"/>
                <a:gd name="T63" fmla="*/ 137 h 170"/>
                <a:gd name="T64" fmla="*/ 92 w 411"/>
                <a:gd name="T65" fmla="*/ 99 h 170"/>
                <a:gd name="T66" fmla="*/ 54 w 411"/>
                <a:gd name="T67" fmla="*/ 94 h 170"/>
                <a:gd name="T68" fmla="*/ 16 w 411"/>
                <a:gd name="T69" fmla="*/ 94 h 170"/>
                <a:gd name="T70" fmla="*/ 4 w 411"/>
                <a:gd name="T71" fmla="*/ 111 h 170"/>
                <a:gd name="T72" fmla="*/ 54 w 411"/>
                <a:gd name="T73" fmla="*/ 16 h 170"/>
                <a:gd name="T74" fmla="*/ 54 w 411"/>
                <a:gd name="T75" fmla="*/ 16 h 170"/>
                <a:gd name="T76" fmla="*/ 54 w 411"/>
                <a:gd name="T77" fmla="*/ 16 h 170"/>
                <a:gd name="T78" fmla="*/ 293 w 411"/>
                <a:gd name="T79" fmla="*/ 82 h 170"/>
                <a:gd name="T80" fmla="*/ 293 w 411"/>
                <a:gd name="T81" fmla="*/ 94 h 170"/>
                <a:gd name="T82" fmla="*/ 293 w 411"/>
                <a:gd name="T83" fmla="*/ 82 h 170"/>
                <a:gd name="T84" fmla="*/ 293 w 411"/>
                <a:gd name="T85" fmla="*/ 82 h 170"/>
                <a:gd name="T86" fmla="*/ 92 w 411"/>
                <a:gd name="T87" fmla="*/ 153 h 170"/>
                <a:gd name="T88" fmla="*/ 87 w 411"/>
                <a:gd name="T89" fmla="*/ 153 h 170"/>
                <a:gd name="T90" fmla="*/ 92 w 411"/>
                <a:gd name="T91" fmla="*/ 137 h 170"/>
                <a:gd name="T92" fmla="*/ 92 w 411"/>
                <a:gd name="T93" fmla="*/ 137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411" h="170">
                  <a:moveTo>
                    <a:pt x="4" y="111"/>
                  </a:moveTo>
                  <a:lnTo>
                    <a:pt x="4" y="94"/>
                  </a:lnTo>
                  <a:lnTo>
                    <a:pt x="0" y="94"/>
                  </a:lnTo>
                  <a:lnTo>
                    <a:pt x="16" y="78"/>
                  </a:lnTo>
                  <a:lnTo>
                    <a:pt x="4" y="61"/>
                  </a:lnTo>
                  <a:lnTo>
                    <a:pt x="21" y="45"/>
                  </a:lnTo>
                  <a:lnTo>
                    <a:pt x="4" y="38"/>
                  </a:lnTo>
                  <a:lnTo>
                    <a:pt x="4" y="5"/>
                  </a:lnTo>
                  <a:lnTo>
                    <a:pt x="16" y="0"/>
                  </a:lnTo>
                  <a:lnTo>
                    <a:pt x="33" y="5"/>
                  </a:lnTo>
                  <a:lnTo>
                    <a:pt x="33" y="0"/>
                  </a:lnTo>
                  <a:lnTo>
                    <a:pt x="42" y="16"/>
                  </a:lnTo>
                  <a:lnTo>
                    <a:pt x="54" y="45"/>
                  </a:lnTo>
                  <a:lnTo>
                    <a:pt x="87" y="45"/>
                  </a:lnTo>
                  <a:lnTo>
                    <a:pt x="87" y="28"/>
                  </a:lnTo>
                  <a:lnTo>
                    <a:pt x="108" y="54"/>
                  </a:lnTo>
                  <a:lnTo>
                    <a:pt x="130" y="61"/>
                  </a:lnTo>
                  <a:lnTo>
                    <a:pt x="205" y="28"/>
                  </a:lnTo>
                  <a:lnTo>
                    <a:pt x="238" y="0"/>
                  </a:lnTo>
                  <a:lnTo>
                    <a:pt x="286" y="5"/>
                  </a:lnTo>
                  <a:lnTo>
                    <a:pt x="276" y="16"/>
                  </a:lnTo>
                  <a:lnTo>
                    <a:pt x="314" y="16"/>
                  </a:lnTo>
                  <a:lnTo>
                    <a:pt x="356" y="21"/>
                  </a:lnTo>
                  <a:lnTo>
                    <a:pt x="385" y="61"/>
                  </a:lnTo>
                  <a:lnTo>
                    <a:pt x="401" y="71"/>
                  </a:lnTo>
                  <a:lnTo>
                    <a:pt x="394" y="78"/>
                  </a:lnTo>
                  <a:lnTo>
                    <a:pt x="411" y="111"/>
                  </a:lnTo>
                  <a:lnTo>
                    <a:pt x="411" y="116"/>
                  </a:lnTo>
                  <a:lnTo>
                    <a:pt x="401" y="132"/>
                  </a:lnTo>
                  <a:lnTo>
                    <a:pt x="401" y="137"/>
                  </a:lnTo>
                  <a:lnTo>
                    <a:pt x="385" y="149"/>
                  </a:lnTo>
                  <a:lnTo>
                    <a:pt x="368" y="132"/>
                  </a:lnTo>
                  <a:lnTo>
                    <a:pt x="368" y="149"/>
                  </a:lnTo>
                  <a:lnTo>
                    <a:pt x="368" y="153"/>
                  </a:lnTo>
                  <a:lnTo>
                    <a:pt x="364" y="170"/>
                  </a:lnTo>
                  <a:lnTo>
                    <a:pt x="340" y="149"/>
                  </a:lnTo>
                  <a:lnTo>
                    <a:pt x="323" y="111"/>
                  </a:lnTo>
                  <a:lnTo>
                    <a:pt x="340" y="111"/>
                  </a:lnTo>
                  <a:lnTo>
                    <a:pt x="330" y="94"/>
                  </a:lnTo>
                  <a:lnTo>
                    <a:pt x="347" y="82"/>
                  </a:lnTo>
                  <a:lnTo>
                    <a:pt x="356" y="94"/>
                  </a:lnTo>
                  <a:lnTo>
                    <a:pt x="368" y="99"/>
                  </a:lnTo>
                  <a:lnTo>
                    <a:pt x="356" y="94"/>
                  </a:lnTo>
                  <a:lnTo>
                    <a:pt x="347" y="82"/>
                  </a:lnTo>
                  <a:lnTo>
                    <a:pt x="323" y="94"/>
                  </a:lnTo>
                  <a:lnTo>
                    <a:pt x="314" y="71"/>
                  </a:lnTo>
                  <a:lnTo>
                    <a:pt x="276" y="45"/>
                  </a:lnTo>
                  <a:lnTo>
                    <a:pt x="286" y="28"/>
                  </a:lnTo>
                  <a:lnTo>
                    <a:pt x="276" y="38"/>
                  </a:lnTo>
                  <a:lnTo>
                    <a:pt x="248" y="45"/>
                  </a:lnTo>
                  <a:lnTo>
                    <a:pt x="248" y="45"/>
                  </a:lnTo>
                  <a:lnTo>
                    <a:pt x="231" y="54"/>
                  </a:lnTo>
                  <a:lnTo>
                    <a:pt x="231" y="71"/>
                  </a:lnTo>
                  <a:lnTo>
                    <a:pt x="217" y="82"/>
                  </a:lnTo>
                  <a:lnTo>
                    <a:pt x="179" y="99"/>
                  </a:lnTo>
                  <a:lnTo>
                    <a:pt x="184" y="111"/>
                  </a:lnTo>
                  <a:lnTo>
                    <a:pt x="217" y="149"/>
                  </a:lnTo>
                  <a:lnTo>
                    <a:pt x="193" y="153"/>
                  </a:lnTo>
                  <a:lnTo>
                    <a:pt x="184" y="170"/>
                  </a:lnTo>
                  <a:lnTo>
                    <a:pt x="146" y="170"/>
                  </a:lnTo>
                  <a:lnTo>
                    <a:pt x="151" y="165"/>
                  </a:lnTo>
                  <a:lnTo>
                    <a:pt x="139" y="127"/>
                  </a:lnTo>
                  <a:lnTo>
                    <a:pt x="130" y="127"/>
                  </a:lnTo>
                  <a:lnTo>
                    <a:pt x="130" y="137"/>
                  </a:lnTo>
                  <a:lnTo>
                    <a:pt x="108" y="137"/>
                  </a:lnTo>
                  <a:lnTo>
                    <a:pt x="92" y="99"/>
                  </a:lnTo>
                  <a:lnTo>
                    <a:pt x="59" y="99"/>
                  </a:lnTo>
                  <a:lnTo>
                    <a:pt x="54" y="94"/>
                  </a:lnTo>
                  <a:lnTo>
                    <a:pt x="21" y="94"/>
                  </a:lnTo>
                  <a:lnTo>
                    <a:pt x="16" y="94"/>
                  </a:lnTo>
                  <a:lnTo>
                    <a:pt x="4" y="111"/>
                  </a:lnTo>
                  <a:lnTo>
                    <a:pt x="4" y="111"/>
                  </a:lnTo>
                  <a:lnTo>
                    <a:pt x="4" y="111"/>
                  </a:lnTo>
                  <a:close/>
                  <a:moveTo>
                    <a:pt x="54" y="16"/>
                  </a:moveTo>
                  <a:lnTo>
                    <a:pt x="54" y="21"/>
                  </a:lnTo>
                  <a:lnTo>
                    <a:pt x="54" y="16"/>
                  </a:lnTo>
                  <a:lnTo>
                    <a:pt x="54" y="16"/>
                  </a:lnTo>
                  <a:lnTo>
                    <a:pt x="54" y="16"/>
                  </a:lnTo>
                  <a:lnTo>
                    <a:pt x="54" y="16"/>
                  </a:lnTo>
                  <a:close/>
                  <a:moveTo>
                    <a:pt x="293" y="82"/>
                  </a:moveTo>
                  <a:lnTo>
                    <a:pt x="293" y="94"/>
                  </a:lnTo>
                  <a:lnTo>
                    <a:pt x="293" y="94"/>
                  </a:lnTo>
                  <a:lnTo>
                    <a:pt x="286" y="82"/>
                  </a:lnTo>
                  <a:lnTo>
                    <a:pt x="293" y="82"/>
                  </a:lnTo>
                  <a:lnTo>
                    <a:pt x="293" y="82"/>
                  </a:lnTo>
                  <a:lnTo>
                    <a:pt x="293" y="82"/>
                  </a:lnTo>
                  <a:close/>
                  <a:moveTo>
                    <a:pt x="92" y="137"/>
                  </a:moveTo>
                  <a:lnTo>
                    <a:pt x="92" y="153"/>
                  </a:lnTo>
                  <a:lnTo>
                    <a:pt x="97" y="165"/>
                  </a:lnTo>
                  <a:lnTo>
                    <a:pt x="87" y="153"/>
                  </a:lnTo>
                  <a:lnTo>
                    <a:pt x="87" y="149"/>
                  </a:lnTo>
                  <a:lnTo>
                    <a:pt x="92" y="137"/>
                  </a:lnTo>
                  <a:lnTo>
                    <a:pt x="92" y="137"/>
                  </a:lnTo>
                  <a:lnTo>
                    <a:pt x="92" y="137"/>
                  </a:lnTo>
                  <a:close/>
                </a:path>
              </a:pathLst>
            </a:custGeom>
            <a:solidFill>
              <a:schemeClr val="bg2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90" name="Freeform 534">
              <a:extLst>
                <a:ext uri="{FF2B5EF4-FFF2-40B4-BE49-F238E27FC236}">
                  <a16:creationId xmlns:a16="http://schemas.microsoft.com/office/drawing/2014/main" id="{D8E73FB4-CFC9-41B8-B466-3599A5AFC4F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825357" y="2246474"/>
              <a:ext cx="269809" cy="121105"/>
            </a:xfrm>
            <a:custGeom>
              <a:avLst/>
              <a:gdLst>
                <a:gd name="T0" fmla="*/ 1613 w 1758"/>
                <a:gd name="T1" fmla="*/ 0 h 789"/>
                <a:gd name="T2" fmla="*/ 1613 w 1758"/>
                <a:gd name="T3" fmla="*/ 28 h 789"/>
                <a:gd name="T4" fmla="*/ 1651 w 1758"/>
                <a:gd name="T5" fmla="*/ 28 h 789"/>
                <a:gd name="T6" fmla="*/ 1689 w 1758"/>
                <a:gd name="T7" fmla="*/ 28 h 789"/>
                <a:gd name="T8" fmla="*/ 1727 w 1758"/>
                <a:gd name="T9" fmla="*/ 16 h 789"/>
                <a:gd name="T10" fmla="*/ 1758 w 1758"/>
                <a:gd name="T11" fmla="*/ 49 h 789"/>
                <a:gd name="T12" fmla="*/ 1703 w 1758"/>
                <a:gd name="T13" fmla="*/ 99 h 789"/>
                <a:gd name="T14" fmla="*/ 1710 w 1758"/>
                <a:gd name="T15" fmla="*/ 144 h 789"/>
                <a:gd name="T16" fmla="*/ 1703 w 1758"/>
                <a:gd name="T17" fmla="*/ 165 h 789"/>
                <a:gd name="T18" fmla="*/ 1710 w 1758"/>
                <a:gd name="T19" fmla="*/ 182 h 789"/>
                <a:gd name="T20" fmla="*/ 1665 w 1758"/>
                <a:gd name="T21" fmla="*/ 215 h 789"/>
                <a:gd name="T22" fmla="*/ 1703 w 1758"/>
                <a:gd name="T23" fmla="*/ 272 h 789"/>
                <a:gd name="T24" fmla="*/ 1673 w 1758"/>
                <a:gd name="T25" fmla="*/ 321 h 789"/>
                <a:gd name="T26" fmla="*/ 1703 w 1758"/>
                <a:gd name="T27" fmla="*/ 342 h 789"/>
                <a:gd name="T28" fmla="*/ 1677 w 1758"/>
                <a:gd name="T29" fmla="*/ 359 h 789"/>
                <a:gd name="T30" fmla="*/ 1665 w 1758"/>
                <a:gd name="T31" fmla="*/ 387 h 789"/>
                <a:gd name="T32" fmla="*/ 1673 w 1758"/>
                <a:gd name="T33" fmla="*/ 420 h 789"/>
                <a:gd name="T34" fmla="*/ 1580 w 1758"/>
                <a:gd name="T35" fmla="*/ 432 h 789"/>
                <a:gd name="T36" fmla="*/ 1569 w 1758"/>
                <a:gd name="T37" fmla="*/ 404 h 789"/>
                <a:gd name="T38" fmla="*/ 1580 w 1758"/>
                <a:gd name="T39" fmla="*/ 321 h 789"/>
                <a:gd name="T40" fmla="*/ 1547 w 1758"/>
                <a:gd name="T41" fmla="*/ 321 h 789"/>
                <a:gd name="T42" fmla="*/ 1547 w 1758"/>
                <a:gd name="T43" fmla="*/ 305 h 789"/>
                <a:gd name="T44" fmla="*/ 1559 w 1758"/>
                <a:gd name="T45" fmla="*/ 276 h 789"/>
                <a:gd name="T46" fmla="*/ 1526 w 1758"/>
                <a:gd name="T47" fmla="*/ 293 h 789"/>
                <a:gd name="T48" fmla="*/ 1547 w 1758"/>
                <a:gd name="T49" fmla="*/ 222 h 789"/>
                <a:gd name="T50" fmla="*/ 1580 w 1758"/>
                <a:gd name="T51" fmla="*/ 127 h 789"/>
                <a:gd name="T52" fmla="*/ 1580 w 1758"/>
                <a:gd name="T53" fmla="*/ 127 h 789"/>
                <a:gd name="T54" fmla="*/ 1564 w 1758"/>
                <a:gd name="T55" fmla="*/ 33 h 789"/>
                <a:gd name="T56" fmla="*/ 1569 w 1758"/>
                <a:gd name="T57" fmla="*/ 16 h 789"/>
                <a:gd name="T58" fmla="*/ 0 w 1758"/>
                <a:gd name="T59" fmla="*/ 238 h 789"/>
                <a:gd name="T60" fmla="*/ 0 w 1758"/>
                <a:gd name="T61" fmla="*/ 231 h 789"/>
                <a:gd name="T62" fmla="*/ 0 w 1758"/>
                <a:gd name="T63" fmla="*/ 238 h 789"/>
                <a:gd name="T64" fmla="*/ 0 w 1758"/>
                <a:gd name="T65" fmla="*/ 238 h 789"/>
                <a:gd name="T66" fmla="*/ 269 w 1758"/>
                <a:gd name="T67" fmla="*/ 305 h 789"/>
                <a:gd name="T68" fmla="*/ 291 w 1758"/>
                <a:gd name="T69" fmla="*/ 293 h 789"/>
                <a:gd name="T70" fmla="*/ 286 w 1758"/>
                <a:gd name="T71" fmla="*/ 305 h 789"/>
                <a:gd name="T72" fmla="*/ 286 w 1758"/>
                <a:gd name="T73" fmla="*/ 305 h 789"/>
                <a:gd name="T74" fmla="*/ 194 w 1758"/>
                <a:gd name="T75" fmla="*/ 321 h 789"/>
                <a:gd name="T76" fmla="*/ 199 w 1758"/>
                <a:gd name="T77" fmla="*/ 309 h 789"/>
                <a:gd name="T78" fmla="*/ 203 w 1758"/>
                <a:gd name="T79" fmla="*/ 326 h 789"/>
                <a:gd name="T80" fmla="*/ 203 w 1758"/>
                <a:gd name="T81" fmla="*/ 326 h 789"/>
                <a:gd name="T82" fmla="*/ 383 w 1758"/>
                <a:gd name="T83" fmla="*/ 375 h 789"/>
                <a:gd name="T84" fmla="*/ 421 w 1758"/>
                <a:gd name="T85" fmla="*/ 364 h 789"/>
                <a:gd name="T86" fmla="*/ 409 w 1758"/>
                <a:gd name="T87" fmla="*/ 380 h 789"/>
                <a:gd name="T88" fmla="*/ 409 w 1758"/>
                <a:gd name="T89" fmla="*/ 380 h 789"/>
                <a:gd name="T90" fmla="*/ 421 w 1758"/>
                <a:gd name="T91" fmla="*/ 437 h 789"/>
                <a:gd name="T92" fmla="*/ 437 w 1758"/>
                <a:gd name="T93" fmla="*/ 442 h 789"/>
                <a:gd name="T94" fmla="*/ 437 w 1758"/>
                <a:gd name="T95" fmla="*/ 442 h 789"/>
                <a:gd name="T96" fmla="*/ 976 w 1758"/>
                <a:gd name="T97" fmla="*/ 772 h 789"/>
                <a:gd name="T98" fmla="*/ 1018 w 1758"/>
                <a:gd name="T99" fmla="*/ 784 h 789"/>
                <a:gd name="T100" fmla="*/ 1002 w 1758"/>
                <a:gd name="T101" fmla="*/ 789 h 7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758" h="789">
                  <a:moveTo>
                    <a:pt x="1569" y="16"/>
                  </a:moveTo>
                  <a:lnTo>
                    <a:pt x="1613" y="0"/>
                  </a:lnTo>
                  <a:lnTo>
                    <a:pt x="1623" y="12"/>
                  </a:lnTo>
                  <a:lnTo>
                    <a:pt x="1613" y="28"/>
                  </a:lnTo>
                  <a:lnTo>
                    <a:pt x="1618" y="33"/>
                  </a:lnTo>
                  <a:lnTo>
                    <a:pt x="1651" y="28"/>
                  </a:lnTo>
                  <a:lnTo>
                    <a:pt x="1673" y="33"/>
                  </a:lnTo>
                  <a:lnTo>
                    <a:pt x="1689" y="28"/>
                  </a:lnTo>
                  <a:lnTo>
                    <a:pt x="1689" y="16"/>
                  </a:lnTo>
                  <a:lnTo>
                    <a:pt x="1727" y="16"/>
                  </a:lnTo>
                  <a:lnTo>
                    <a:pt x="1732" y="45"/>
                  </a:lnTo>
                  <a:lnTo>
                    <a:pt x="1758" y="49"/>
                  </a:lnTo>
                  <a:lnTo>
                    <a:pt x="1741" y="73"/>
                  </a:lnTo>
                  <a:lnTo>
                    <a:pt x="1703" y="99"/>
                  </a:lnTo>
                  <a:lnTo>
                    <a:pt x="1710" y="111"/>
                  </a:lnTo>
                  <a:lnTo>
                    <a:pt x="1710" y="144"/>
                  </a:lnTo>
                  <a:lnTo>
                    <a:pt x="1710" y="160"/>
                  </a:lnTo>
                  <a:lnTo>
                    <a:pt x="1703" y="165"/>
                  </a:lnTo>
                  <a:lnTo>
                    <a:pt x="1694" y="177"/>
                  </a:lnTo>
                  <a:lnTo>
                    <a:pt x="1710" y="182"/>
                  </a:lnTo>
                  <a:lnTo>
                    <a:pt x="1694" y="215"/>
                  </a:lnTo>
                  <a:lnTo>
                    <a:pt x="1665" y="215"/>
                  </a:lnTo>
                  <a:lnTo>
                    <a:pt x="1677" y="255"/>
                  </a:lnTo>
                  <a:lnTo>
                    <a:pt x="1703" y="272"/>
                  </a:lnTo>
                  <a:lnTo>
                    <a:pt x="1677" y="293"/>
                  </a:lnTo>
                  <a:lnTo>
                    <a:pt x="1673" y="321"/>
                  </a:lnTo>
                  <a:lnTo>
                    <a:pt x="1694" y="342"/>
                  </a:lnTo>
                  <a:lnTo>
                    <a:pt x="1703" y="342"/>
                  </a:lnTo>
                  <a:lnTo>
                    <a:pt x="1694" y="347"/>
                  </a:lnTo>
                  <a:lnTo>
                    <a:pt x="1677" y="359"/>
                  </a:lnTo>
                  <a:lnTo>
                    <a:pt x="1665" y="380"/>
                  </a:lnTo>
                  <a:lnTo>
                    <a:pt x="1665" y="387"/>
                  </a:lnTo>
                  <a:lnTo>
                    <a:pt x="1665" y="420"/>
                  </a:lnTo>
                  <a:lnTo>
                    <a:pt x="1673" y="420"/>
                  </a:lnTo>
                  <a:lnTo>
                    <a:pt x="1635" y="437"/>
                  </a:lnTo>
                  <a:lnTo>
                    <a:pt x="1580" y="432"/>
                  </a:lnTo>
                  <a:lnTo>
                    <a:pt x="1559" y="437"/>
                  </a:lnTo>
                  <a:lnTo>
                    <a:pt x="1569" y="404"/>
                  </a:lnTo>
                  <a:lnTo>
                    <a:pt x="1569" y="326"/>
                  </a:lnTo>
                  <a:lnTo>
                    <a:pt x="1580" y="321"/>
                  </a:lnTo>
                  <a:lnTo>
                    <a:pt x="1569" y="309"/>
                  </a:lnTo>
                  <a:lnTo>
                    <a:pt x="1547" y="321"/>
                  </a:lnTo>
                  <a:lnTo>
                    <a:pt x="1543" y="305"/>
                  </a:lnTo>
                  <a:lnTo>
                    <a:pt x="1547" y="305"/>
                  </a:lnTo>
                  <a:lnTo>
                    <a:pt x="1564" y="293"/>
                  </a:lnTo>
                  <a:lnTo>
                    <a:pt x="1559" y="276"/>
                  </a:lnTo>
                  <a:lnTo>
                    <a:pt x="1547" y="293"/>
                  </a:lnTo>
                  <a:lnTo>
                    <a:pt x="1526" y="293"/>
                  </a:lnTo>
                  <a:lnTo>
                    <a:pt x="1531" y="238"/>
                  </a:lnTo>
                  <a:lnTo>
                    <a:pt x="1547" y="222"/>
                  </a:lnTo>
                  <a:lnTo>
                    <a:pt x="1569" y="139"/>
                  </a:lnTo>
                  <a:lnTo>
                    <a:pt x="1580" y="127"/>
                  </a:lnTo>
                  <a:lnTo>
                    <a:pt x="1580" y="123"/>
                  </a:lnTo>
                  <a:lnTo>
                    <a:pt x="1580" y="127"/>
                  </a:lnTo>
                  <a:lnTo>
                    <a:pt x="1580" y="99"/>
                  </a:lnTo>
                  <a:lnTo>
                    <a:pt x="1564" y="33"/>
                  </a:lnTo>
                  <a:lnTo>
                    <a:pt x="1569" y="16"/>
                  </a:lnTo>
                  <a:lnTo>
                    <a:pt x="1569" y="16"/>
                  </a:lnTo>
                  <a:lnTo>
                    <a:pt x="1569" y="16"/>
                  </a:lnTo>
                  <a:close/>
                  <a:moveTo>
                    <a:pt x="0" y="238"/>
                  </a:moveTo>
                  <a:lnTo>
                    <a:pt x="0" y="238"/>
                  </a:lnTo>
                  <a:lnTo>
                    <a:pt x="0" y="231"/>
                  </a:lnTo>
                  <a:lnTo>
                    <a:pt x="5" y="231"/>
                  </a:lnTo>
                  <a:lnTo>
                    <a:pt x="0" y="238"/>
                  </a:lnTo>
                  <a:lnTo>
                    <a:pt x="0" y="238"/>
                  </a:lnTo>
                  <a:lnTo>
                    <a:pt x="0" y="238"/>
                  </a:lnTo>
                  <a:close/>
                  <a:moveTo>
                    <a:pt x="286" y="305"/>
                  </a:moveTo>
                  <a:lnTo>
                    <a:pt x="269" y="305"/>
                  </a:lnTo>
                  <a:lnTo>
                    <a:pt x="269" y="293"/>
                  </a:lnTo>
                  <a:lnTo>
                    <a:pt x="291" y="293"/>
                  </a:lnTo>
                  <a:lnTo>
                    <a:pt x="291" y="293"/>
                  </a:lnTo>
                  <a:lnTo>
                    <a:pt x="286" y="305"/>
                  </a:lnTo>
                  <a:lnTo>
                    <a:pt x="286" y="305"/>
                  </a:lnTo>
                  <a:lnTo>
                    <a:pt x="286" y="305"/>
                  </a:lnTo>
                  <a:close/>
                  <a:moveTo>
                    <a:pt x="203" y="326"/>
                  </a:moveTo>
                  <a:lnTo>
                    <a:pt x="194" y="321"/>
                  </a:lnTo>
                  <a:lnTo>
                    <a:pt x="182" y="309"/>
                  </a:lnTo>
                  <a:lnTo>
                    <a:pt x="199" y="309"/>
                  </a:lnTo>
                  <a:lnTo>
                    <a:pt x="220" y="321"/>
                  </a:lnTo>
                  <a:lnTo>
                    <a:pt x="203" y="326"/>
                  </a:lnTo>
                  <a:lnTo>
                    <a:pt x="203" y="326"/>
                  </a:lnTo>
                  <a:lnTo>
                    <a:pt x="203" y="326"/>
                  </a:lnTo>
                  <a:close/>
                  <a:moveTo>
                    <a:pt x="409" y="380"/>
                  </a:moveTo>
                  <a:lnTo>
                    <a:pt x="383" y="375"/>
                  </a:lnTo>
                  <a:lnTo>
                    <a:pt x="376" y="364"/>
                  </a:lnTo>
                  <a:lnTo>
                    <a:pt x="421" y="364"/>
                  </a:lnTo>
                  <a:lnTo>
                    <a:pt x="421" y="375"/>
                  </a:lnTo>
                  <a:lnTo>
                    <a:pt x="409" y="380"/>
                  </a:lnTo>
                  <a:lnTo>
                    <a:pt x="409" y="380"/>
                  </a:lnTo>
                  <a:lnTo>
                    <a:pt x="409" y="380"/>
                  </a:lnTo>
                  <a:close/>
                  <a:moveTo>
                    <a:pt x="437" y="442"/>
                  </a:moveTo>
                  <a:lnTo>
                    <a:pt x="421" y="437"/>
                  </a:lnTo>
                  <a:lnTo>
                    <a:pt x="430" y="437"/>
                  </a:lnTo>
                  <a:lnTo>
                    <a:pt x="437" y="442"/>
                  </a:lnTo>
                  <a:lnTo>
                    <a:pt x="437" y="442"/>
                  </a:lnTo>
                  <a:lnTo>
                    <a:pt x="437" y="442"/>
                  </a:lnTo>
                  <a:close/>
                  <a:moveTo>
                    <a:pt x="1002" y="789"/>
                  </a:moveTo>
                  <a:lnTo>
                    <a:pt x="976" y="772"/>
                  </a:lnTo>
                  <a:lnTo>
                    <a:pt x="987" y="772"/>
                  </a:lnTo>
                  <a:lnTo>
                    <a:pt x="1018" y="784"/>
                  </a:lnTo>
                  <a:lnTo>
                    <a:pt x="1002" y="789"/>
                  </a:lnTo>
                  <a:lnTo>
                    <a:pt x="1002" y="789"/>
                  </a:lnTo>
                  <a:lnTo>
                    <a:pt x="1002" y="789"/>
                  </a:lnTo>
                  <a:close/>
                </a:path>
              </a:pathLst>
            </a:custGeom>
            <a:solidFill>
              <a:schemeClr val="bg2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91" name="Freeform 535">
              <a:extLst>
                <a:ext uri="{FF2B5EF4-FFF2-40B4-BE49-F238E27FC236}">
                  <a16:creationId xmlns:a16="http://schemas.microsoft.com/office/drawing/2014/main" id="{3662C120-A7BD-4651-B1A8-B4E550375707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677953" y="2757602"/>
              <a:ext cx="162069" cy="113891"/>
            </a:xfrm>
            <a:custGeom>
              <a:avLst/>
              <a:gdLst>
                <a:gd name="T0" fmla="*/ 616 w 1056"/>
                <a:gd name="T1" fmla="*/ 17 h 742"/>
                <a:gd name="T2" fmla="*/ 394 w 1056"/>
                <a:gd name="T3" fmla="*/ 62 h 742"/>
                <a:gd name="T4" fmla="*/ 482 w 1056"/>
                <a:gd name="T5" fmla="*/ 71 h 742"/>
                <a:gd name="T6" fmla="*/ 666 w 1056"/>
                <a:gd name="T7" fmla="*/ 95 h 742"/>
                <a:gd name="T8" fmla="*/ 666 w 1056"/>
                <a:gd name="T9" fmla="*/ 95 h 742"/>
                <a:gd name="T10" fmla="*/ 860 w 1056"/>
                <a:gd name="T11" fmla="*/ 227 h 742"/>
                <a:gd name="T12" fmla="*/ 789 w 1056"/>
                <a:gd name="T13" fmla="*/ 149 h 742"/>
                <a:gd name="T14" fmla="*/ 768 w 1056"/>
                <a:gd name="T15" fmla="*/ 133 h 742"/>
                <a:gd name="T16" fmla="*/ 9 w 1056"/>
                <a:gd name="T17" fmla="*/ 393 h 742"/>
                <a:gd name="T18" fmla="*/ 118 w 1056"/>
                <a:gd name="T19" fmla="*/ 133 h 742"/>
                <a:gd name="T20" fmla="*/ 253 w 1056"/>
                <a:gd name="T21" fmla="*/ 189 h 742"/>
                <a:gd name="T22" fmla="*/ 340 w 1056"/>
                <a:gd name="T23" fmla="*/ 300 h 742"/>
                <a:gd name="T24" fmla="*/ 470 w 1056"/>
                <a:gd name="T25" fmla="*/ 388 h 742"/>
                <a:gd name="T26" fmla="*/ 482 w 1056"/>
                <a:gd name="T27" fmla="*/ 471 h 742"/>
                <a:gd name="T28" fmla="*/ 595 w 1056"/>
                <a:gd name="T29" fmla="*/ 560 h 742"/>
                <a:gd name="T30" fmla="*/ 616 w 1056"/>
                <a:gd name="T31" fmla="*/ 610 h 742"/>
                <a:gd name="T32" fmla="*/ 666 w 1056"/>
                <a:gd name="T33" fmla="*/ 648 h 742"/>
                <a:gd name="T34" fmla="*/ 616 w 1056"/>
                <a:gd name="T35" fmla="*/ 648 h 742"/>
                <a:gd name="T36" fmla="*/ 470 w 1056"/>
                <a:gd name="T37" fmla="*/ 626 h 742"/>
                <a:gd name="T38" fmla="*/ 399 w 1056"/>
                <a:gd name="T39" fmla="*/ 553 h 742"/>
                <a:gd name="T40" fmla="*/ 253 w 1056"/>
                <a:gd name="T41" fmla="*/ 449 h 742"/>
                <a:gd name="T42" fmla="*/ 238 w 1056"/>
                <a:gd name="T43" fmla="*/ 449 h 742"/>
                <a:gd name="T44" fmla="*/ 172 w 1056"/>
                <a:gd name="T45" fmla="*/ 471 h 742"/>
                <a:gd name="T46" fmla="*/ 101 w 1056"/>
                <a:gd name="T47" fmla="*/ 487 h 742"/>
                <a:gd name="T48" fmla="*/ 177 w 1056"/>
                <a:gd name="T49" fmla="*/ 537 h 742"/>
                <a:gd name="T50" fmla="*/ 47 w 1056"/>
                <a:gd name="T51" fmla="*/ 570 h 742"/>
                <a:gd name="T52" fmla="*/ 775 w 1056"/>
                <a:gd name="T53" fmla="*/ 100 h 742"/>
                <a:gd name="T54" fmla="*/ 697 w 1056"/>
                <a:gd name="T55" fmla="*/ 116 h 742"/>
                <a:gd name="T56" fmla="*/ 827 w 1056"/>
                <a:gd name="T57" fmla="*/ 133 h 742"/>
                <a:gd name="T58" fmla="*/ 897 w 1056"/>
                <a:gd name="T59" fmla="*/ 194 h 742"/>
                <a:gd name="T60" fmla="*/ 687 w 1056"/>
                <a:gd name="T61" fmla="*/ 338 h 742"/>
                <a:gd name="T62" fmla="*/ 553 w 1056"/>
                <a:gd name="T63" fmla="*/ 322 h 742"/>
                <a:gd name="T64" fmla="*/ 633 w 1056"/>
                <a:gd name="T65" fmla="*/ 300 h 742"/>
                <a:gd name="T66" fmla="*/ 642 w 1056"/>
                <a:gd name="T67" fmla="*/ 284 h 742"/>
                <a:gd name="T68" fmla="*/ 730 w 1056"/>
                <a:gd name="T69" fmla="*/ 260 h 742"/>
                <a:gd name="T70" fmla="*/ 789 w 1056"/>
                <a:gd name="T71" fmla="*/ 211 h 742"/>
                <a:gd name="T72" fmla="*/ 789 w 1056"/>
                <a:gd name="T73" fmla="*/ 284 h 742"/>
                <a:gd name="T74" fmla="*/ 687 w 1056"/>
                <a:gd name="T75" fmla="*/ 338 h 742"/>
                <a:gd name="T76" fmla="*/ 357 w 1056"/>
                <a:gd name="T77" fmla="*/ 244 h 742"/>
                <a:gd name="T78" fmla="*/ 612 w 1056"/>
                <a:gd name="T79" fmla="*/ 244 h 742"/>
                <a:gd name="T80" fmla="*/ 973 w 1056"/>
                <a:gd name="T81" fmla="*/ 277 h 742"/>
                <a:gd name="T82" fmla="*/ 432 w 1056"/>
                <a:gd name="T83" fmla="*/ 277 h 742"/>
                <a:gd name="T84" fmla="*/ 1023 w 1056"/>
                <a:gd name="T85" fmla="*/ 350 h 742"/>
                <a:gd name="T86" fmla="*/ 1006 w 1056"/>
                <a:gd name="T87" fmla="*/ 371 h 742"/>
                <a:gd name="T88" fmla="*/ 1006 w 1056"/>
                <a:gd name="T89" fmla="*/ 322 h 742"/>
                <a:gd name="T90" fmla="*/ 482 w 1056"/>
                <a:gd name="T91" fmla="*/ 300 h 742"/>
                <a:gd name="T92" fmla="*/ 194 w 1056"/>
                <a:gd name="T93" fmla="*/ 482 h 742"/>
                <a:gd name="T94" fmla="*/ 194 w 1056"/>
                <a:gd name="T95" fmla="*/ 487 h 742"/>
                <a:gd name="T96" fmla="*/ 172 w 1056"/>
                <a:gd name="T97" fmla="*/ 504 h 742"/>
                <a:gd name="T98" fmla="*/ 163 w 1056"/>
                <a:gd name="T99" fmla="*/ 504 h 742"/>
                <a:gd name="T100" fmla="*/ 713 w 1056"/>
                <a:gd name="T101" fmla="*/ 515 h 742"/>
                <a:gd name="T102" fmla="*/ 812 w 1056"/>
                <a:gd name="T103" fmla="*/ 553 h 742"/>
                <a:gd name="T104" fmla="*/ 666 w 1056"/>
                <a:gd name="T105" fmla="*/ 582 h 742"/>
                <a:gd name="T106" fmla="*/ 666 w 1056"/>
                <a:gd name="T107" fmla="*/ 582 h 742"/>
                <a:gd name="T108" fmla="*/ 697 w 1056"/>
                <a:gd name="T109" fmla="*/ 598 h 742"/>
                <a:gd name="T110" fmla="*/ 720 w 1056"/>
                <a:gd name="T111" fmla="*/ 626 h 742"/>
                <a:gd name="T112" fmla="*/ 697 w 1056"/>
                <a:gd name="T113" fmla="*/ 671 h 742"/>
                <a:gd name="T114" fmla="*/ 704 w 1056"/>
                <a:gd name="T115" fmla="*/ 671 h 742"/>
                <a:gd name="T116" fmla="*/ 704 w 1056"/>
                <a:gd name="T117" fmla="*/ 671 h 742"/>
                <a:gd name="T118" fmla="*/ 838 w 1056"/>
                <a:gd name="T119" fmla="*/ 671 h 742"/>
                <a:gd name="T120" fmla="*/ 864 w 1056"/>
                <a:gd name="T121" fmla="*/ 721 h 742"/>
                <a:gd name="T122" fmla="*/ 931 w 1056"/>
                <a:gd name="T123" fmla="*/ 726 h 742"/>
                <a:gd name="T124" fmla="*/ 893 w 1056"/>
                <a:gd name="T125" fmla="*/ 742 h 7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056" h="742">
                  <a:moveTo>
                    <a:pt x="616" y="17"/>
                  </a:moveTo>
                  <a:lnTo>
                    <a:pt x="605" y="5"/>
                  </a:lnTo>
                  <a:lnTo>
                    <a:pt x="612" y="0"/>
                  </a:lnTo>
                  <a:lnTo>
                    <a:pt x="616" y="5"/>
                  </a:lnTo>
                  <a:lnTo>
                    <a:pt x="628" y="17"/>
                  </a:lnTo>
                  <a:lnTo>
                    <a:pt x="616" y="17"/>
                  </a:lnTo>
                  <a:lnTo>
                    <a:pt x="616" y="17"/>
                  </a:lnTo>
                  <a:lnTo>
                    <a:pt x="616" y="17"/>
                  </a:lnTo>
                  <a:close/>
                  <a:moveTo>
                    <a:pt x="453" y="38"/>
                  </a:moveTo>
                  <a:lnTo>
                    <a:pt x="453" y="45"/>
                  </a:lnTo>
                  <a:lnTo>
                    <a:pt x="444" y="62"/>
                  </a:lnTo>
                  <a:lnTo>
                    <a:pt x="394" y="62"/>
                  </a:lnTo>
                  <a:lnTo>
                    <a:pt x="399" y="45"/>
                  </a:lnTo>
                  <a:lnTo>
                    <a:pt x="453" y="45"/>
                  </a:lnTo>
                  <a:lnTo>
                    <a:pt x="453" y="38"/>
                  </a:lnTo>
                  <a:lnTo>
                    <a:pt x="453" y="38"/>
                  </a:lnTo>
                  <a:lnTo>
                    <a:pt x="453" y="38"/>
                  </a:lnTo>
                  <a:close/>
                  <a:moveTo>
                    <a:pt x="482" y="71"/>
                  </a:moveTo>
                  <a:lnTo>
                    <a:pt x="486" y="62"/>
                  </a:lnTo>
                  <a:lnTo>
                    <a:pt x="486" y="62"/>
                  </a:lnTo>
                  <a:lnTo>
                    <a:pt x="482" y="71"/>
                  </a:lnTo>
                  <a:lnTo>
                    <a:pt x="482" y="71"/>
                  </a:lnTo>
                  <a:lnTo>
                    <a:pt x="482" y="71"/>
                  </a:lnTo>
                  <a:close/>
                  <a:moveTo>
                    <a:pt x="666" y="95"/>
                  </a:moveTo>
                  <a:lnTo>
                    <a:pt x="649" y="95"/>
                  </a:lnTo>
                  <a:lnTo>
                    <a:pt x="633" y="78"/>
                  </a:lnTo>
                  <a:lnTo>
                    <a:pt x="659" y="71"/>
                  </a:lnTo>
                  <a:lnTo>
                    <a:pt x="666" y="78"/>
                  </a:lnTo>
                  <a:lnTo>
                    <a:pt x="671" y="95"/>
                  </a:lnTo>
                  <a:lnTo>
                    <a:pt x="666" y="95"/>
                  </a:lnTo>
                  <a:lnTo>
                    <a:pt x="666" y="95"/>
                  </a:lnTo>
                  <a:lnTo>
                    <a:pt x="666" y="95"/>
                  </a:lnTo>
                  <a:close/>
                  <a:moveTo>
                    <a:pt x="827" y="182"/>
                  </a:moveTo>
                  <a:lnTo>
                    <a:pt x="860" y="206"/>
                  </a:lnTo>
                  <a:lnTo>
                    <a:pt x="850" y="223"/>
                  </a:lnTo>
                  <a:lnTo>
                    <a:pt x="860" y="227"/>
                  </a:lnTo>
                  <a:lnTo>
                    <a:pt x="843" y="244"/>
                  </a:lnTo>
                  <a:lnTo>
                    <a:pt x="838" y="239"/>
                  </a:lnTo>
                  <a:lnTo>
                    <a:pt x="827" y="223"/>
                  </a:lnTo>
                  <a:lnTo>
                    <a:pt x="827" y="206"/>
                  </a:lnTo>
                  <a:lnTo>
                    <a:pt x="805" y="166"/>
                  </a:lnTo>
                  <a:lnTo>
                    <a:pt x="789" y="149"/>
                  </a:lnTo>
                  <a:lnTo>
                    <a:pt x="775" y="149"/>
                  </a:lnTo>
                  <a:lnTo>
                    <a:pt x="720" y="100"/>
                  </a:lnTo>
                  <a:lnTo>
                    <a:pt x="687" y="100"/>
                  </a:lnTo>
                  <a:lnTo>
                    <a:pt x="704" y="95"/>
                  </a:lnTo>
                  <a:lnTo>
                    <a:pt x="697" y="83"/>
                  </a:lnTo>
                  <a:lnTo>
                    <a:pt x="768" y="133"/>
                  </a:lnTo>
                  <a:lnTo>
                    <a:pt x="784" y="133"/>
                  </a:lnTo>
                  <a:lnTo>
                    <a:pt x="827" y="182"/>
                  </a:lnTo>
                  <a:lnTo>
                    <a:pt x="827" y="182"/>
                  </a:lnTo>
                  <a:lnTo>
                    <a:pt x="827" y="182"/>
                  </a:lnTo>
                  <a:close/>
                  <a:moveTo>
                    <a:pt x="9" y="560"/>
                  </a:moveTo>
                  <a:lnTo>
                    <a:pt x="9" y="393"/>
                  </a:lnTo>
                  <a:lnTo>
                    <a:pt x="0" y="393"/>
                  </a:lnTo>
                  <a:lnTo>
                    <a:pt x="0" y="376"/>
                  </a:lnTo>
                  <a:lnTo>
                    <a:pt x="9" y="355"/>
                  </a:lnTo>
                  <a:lnTo>
                    <a:pt x="9" y="83"/>
                  </a:lnTo>
                  <a:lnTo>
                    <a:pt x="21" y="83"/>
                  </a:lnTo>
                  <a:lnTo>
                    <a:pt x="118" y="133"/>
                  </a:lnTo>
                  <a:lnTo>
                    <a:pt x="184" y="149"/>
                  </a:lnTo>
                  <a:lnTo>
                    <a:pt x="215" y="173"/>
                  </a:lnTo>
                  <a:lnTo>
                    <a:pt x="231" y="182"/>
                  </a:lnTo>
                  <a:lnTo>
                    <a:pt x="238" y="173"/>
                  </a:lnTo>
                  <a:lnTo>
                    <a:pt x="253" y="173"/>
                  </a:lnTo>
                  <a:lnTo>
                    <a:pt x="253" y="189"/>
                  </a:lnTo>
                  <a:lnTo>
                    <a:pt x="281" y="194"/>
                  </a:lnTo>
                  <a:lnTo>
                    <a:pt x="293" y="211"/>
                  </a:lnTo>
                  <a:lnTo>
                    <a:pt x="307" y="223"/>
                  </a:lnTo>
                  <a:lnTo>
                    <a:pt x="340" y="244"/>
                  </a:lnTo>
                  <a:lnTo>
                    <a:pt x="345" y="265"/>
                  </a:lnTo>
                  <a:lnTo>
                    <a:pt x="340" y="300"/>
                  </a:lnTo>
                  <a:lnTo>
                    <a:pt x="394" y="305"/>
                  </a:lnTo>
                  <a:lnTo>
                    <a:pt x="432" y="334"/>
                  </a:lnTo>
                  <a:lnTo>
                    <a:pt x="465" y="334"/>
                  </a:lnTo>
                  <a:lnTo>
                    <a:pt x="486" y="355"/>
                  </a:lnTo>
                  <a:lnTo>
                    <a:pt x="486" y="376"/>
                  </a:lnTo>
                  <a:lnTo>
                    <a:pt x="470" y="388"/>
                  </a:lnTo>
                  <a:lnTo>
                    <a:pt x="427" y="388"/>
                  </a:lnTo>
                  <a:lnTo>
                    <a:pt x="427" y="404"/>
                  </a:lnTo>
                  <a:lnTo>
                    <a:pt x="444" y="416"/>
                  </a:lnTo>
                  <a:lnTo>
                    <a:pt x="444" y="445"/>
                  </a:lnTo>
                  <a:lnTo>
                    <a:pt x="465" y="449"/>
                  </a:lnTo>
                  <a:lnTo>
                    <a:pt x="482" y="471"/>
                  </a:lnTo>
                  <a:lnTo>
                    <a:pt x="508" y="482"/>
                  </a:lnTo>
                  <a:lnTo>
                    <a:pt x="519" y="520"/>
                  </a:lnTo>
                  <a:lnTo>
                    <a:pt x="524" y="527"/>
                  </a:lnTo>
                  <a:lnTo>
                    <a:pt x="541" y="553"/>
                  </a:lnTo>
                  <a:lnTo>
                    <a:pt x="590" y="553"/>
                  </a:lnTo>
                  <a:lnTo>
                    <a:pt x="595" y="560"/>
                  </a:lnTo>
                  <a:lnTo>
                    <a:pt x="579" y="577"/>
                  </a:lnTo>
                  <a:lnTo>
                    <a:pt x="590" y="582"/>
                  </a:lnTo>
                  <a:lnTo>
                    <a:pt x="605" y="593"/>
                  </a:lnTo>
                  <a:lnTo>
                    <a:pt x="642" y="593"/>
                  </a:lnTo>
                  <a:lnTo>
                    <a:pt x="642" y="598"/>
                  </a:lnTo>
                  <a:lnTo>
                    <a:pt x="616" y="610"/>
                  </a:lnTo>
                  <a:lnTo>
                    <a:pt x="633" y="626"/>
                  </a:lnTo>
                  <a:lnTo>
                    <a:pt x="682" y="638"/>
                  </a:lnTo>
                  <a:lnTo>
                    <a:pt x="704" y="638"/>
                  </a:lnTo>
                  <a:lnTo>
                    <a:pt x="682" y="648"/>
                  </a:lnTo>
                  <a:lnTo>
                    <a:pt x="666" y="648"/>
                  </a:lnTo>
                  <a:lnTo>
                    <a:pt x="666" y="648"/>
                  </a:lnTo>
                  <a:lnTo>
                    <a:pt x="687" y="655"/>
                  </a:lnTo>
                  <a:lnTo>
                    <a:pt x="687" y="664"/>
                  </a:lnTo>
                  <a:lnTo>
                    <a:pt x="659" y="671"/>
                  </a:lnTo>
                  <a:lnTo>
                    <a:pt x="628" y="664"/>
                  </a:lnTo>
                  <a:lnTo>
                    <a:pt x="642" y="655"/>
                  </a:lnTo>
                  <a:lnTo>
                    <a:pt x="616" y="648"/>
                  </a:lnTo>
                  <a:lnTo>
                    <a:pt x="562" y="638"/>
                  </a:lnTo>
                  <a:lnTo>
                    <a:pt x="553" y="631"/>
                  </a:lnTo>
                  <a:lnTo>
                    <a:pt x="524" y="638"/>
                  </a:lnTo>
                  <a:lnTo>
                    <a:pt x="508" y="631"/>
                  </a:lnTo>
                  <a:lnTo>
                    <a:pt x="498" y="631"/>
                  </a:lnTo>
                  <a:lnTo>
                    <a:pt x="470" y="626"/>
                  </a:lnTo>
                  <a:lnTo>
                    <a:pt x="449" y="593"/>
                  </a:lnTo>
                  <a:lnTo>
                    <a:pt x="432" y="582"/>
                  </a:lnTo>
                  <a:lnTo>
                    <a:pt x="416" y="570"/>
                  </a:lnTo>
                  <a:lnTo>
                    <a:pt x="427" y="553"/>
                  </a:lnTo>
                  <a:lnTo>
                    <a:pt x="427" y="560"/>
                  </a:lnTo>
                  <a:lnTo>
                    <a:pt x="399" y="553"/>
                  </a:lnTo>
                  <a:lnTo>
                    <a:pt x="394" y="537"/>
                  </a:lnTo>
                  <a:lnTo>
                    <a:pt x="361" y="482"/>
                  </a:lnTo>
                  <a:lnTo>
                    <a:pt x="281" y="466"/>
                  </a:lnTo>
                  <a:lnTo>
                    <a:pt x="281" y="449"/>
                  </a:lnTo>
                  <a:lnTo>
                    <a:pt x="281" y="461"/>
                  </a:lnTo>
                  <a:lnTo>
                    <a:pt x="253" y="449"/>
                  </a:lnTo>
                  <a:lnTo>
                    <a:pt x="253" y="445"/>
                  </a:lnTo>
                  <a:lnTo>
                    <a:pt x="253" y="449"/>
                  </a:lnTo>
                  <a:lnTo>
                    <a:pt x="248" y="445"/>
                  </a:lnTo>
                  <a:lnTo>
                    <a:pt x="248" y="461"/>
                  </a:lnTo>
                  <a:lnTo>
                    <a:pt x="238" y="461"/>
                  </a:lnTo>
                  <a:lnTo>
                    <a:pt x="238" y="449"/>
                  </a:lnTo>
                  <a:lnTo>
                    <a:pt x="231" y="466"/>
                  </a:lnTo>
                  <a:lnTo>
                    <a:pt x="210" y="461"/>
                  </a:lnTo>
                  <a:lnTo>
                    <a:pt x="194" y="445"/>
                  </a:lnTo>
                  <a:lnTo>
                    <a:pt x="215" y="471"/>
                  </a:lnTo>
                  <a:lnTo>
                    <a:pt x="201" y="482"/>
                  </a:lnTo>
                  <a:lnTo>
                    <a:pt x="172" y="471"/>
                  </a:lnTo>
                  <a:lnTo>
                    <a:pt x="184" y="482"/>
                  </a:lnTo>
                  <a:lnTo>
                    <a:pt x="194" y="499"/>
                  </a:lnTo>
                  <a:lnTo>
                    <a:pt x="146" y="504"/>
                  </a:lnTo>
                  <a:lnTo>
                    <a:pt x="123" y="499"/>
                  </a:lnTo>
                  <a:lnTo>
                    <a:pt x="108" y="504"/>
                  </a:lnTo>
                  <a:lnTo>
                    <a:pt x="101" y="487"/>
                  </a:lnTo>
                  <a:lnTo>
                    <a:pt x="85" y="499"/>
                  </a:lnTo>
                  <a:lnTo>
                    <a:pt x="101" y="487"/>
                  </a:lnTo>
                  <a:lnTo>
                    <a:pt x="108" y="504"/>
                  </a:lnTo>
                  <a:lnTo>
                    <a:pt x="130" y="499"/>
                  </a:lnTo>
                  <a:lnTo>
                    <a:pt x="156" y="515"/>
                  </a:lnTo>
                  <a:lnTo>
                    <a:pt x="177" y="537"/>
                  </a:lnTo>
                  <a:lnTo>
                    <a:pt x="177" y="544"/>
                  </a:lnTo>
                  <a:lnTo>
                    <a:pt x="172" y="553"/>
                  </a:lnTo>
                  <a:lnTo>
                    <a:pt x="146" y="553"/>
                  </a:lnTo>
                  <a:lnTo>
                    <a:pt x="123" y="577"/>
                  </a:lnTo>
                  <a:lnTo>
                    <a:pt x="92" y="560"/>
                  </a:lnTo>
                  <a:lnTo>
                    <a:pt x="47" y="570"/>
                  </a:lnTo>
                  <a:lnTo>
                    <a:pt x="33" y="560"/>
                  </a:lnTo>
                  <a:lnTo>
                    <a:pt x="16" y="570"/>
                  </a:lnTo>
                  <a:lnTo>
                    <a:pt x="9" y="560"/>
                  </a:lnTo>
                  <a:lnTo>
                    <a:pt x="9" y="560"/>
                  </a:lnTo>
                  <a:lnTo>
                    <a:pt x="9" y="560"/>
                  </a:lnTo>
                  <a:close/>
                  <a:moveTo>
                    <a:pt x="775" y="100"/>
                  </a:moveTo>
                  <a:lnTo>
                    <a:pt x="775" y="95"/>
                  </a:lnTo>
                  <a:lnTo>
                    <a:pt x="784" y="100"/>
                  </a:lnTo>
                  <a:lnTo>
                    <a:pt x="775" y="100"/>
                  </a:lnTo>
                  <a:lnTo>
                    <a:pt x="775" y="100"/>
                  </a:lnTo>
                  <a:lnTo>
                    <a:pt x="775" y="100"/>
                  </a:lnTo>
                  <a:close/>
                  <a:moveTo>
                    <a:pt x="697" y="116"/>
                  </a:moveTo>
                  <a:lnTo>
                    <a:pt x="704" y="112"/>
                  </a:lnTo>
                  <a:lnTo>
                    <a:pt x="713" y="116"/>
                  </a:lnTo>
                  <a:lnTo>
                    <a:pt x="697" y="116"/>
                  </a:lnTo>
                  <a:lnTo>
                    <a:pt x="697" y="116"/>
                  </a:lnTo>
                  <a:lnTo>
                    <a:pt x="697" y="116"/>
                  </a:lnTo>
                  <a:close/>
                  <a:moveTo>
                    <a:pt x="827" y="133"/>
                  </a:moveTo>
                  <a:lnTo>
                    <a:pt x="822" y="128"/>
                  </a:lnTo>
                  <a:lnTo>
                    <a:pt x="827" y="116"/>
                  </a:lnTo>
                  <a:lnTo>
                    <a:pt x="827" y="133"/>
                  </a:lnTo>
                  <a:lnTo>
                    <a:pt x="827" y="133"/>
                  </a:lnTo>
                  <a:lnTo>
                    <a:pt x="827" y="133"/>
                  </a:lnTo>
                  <a:close/>
                  <a:moveTo>
                    <a:pt x="897" y="194"/>
                  </a:moveTo>
                  <a:lnTo>
                    <a:pt x="893" y="194"/>
                  </a:lnTo>
                  <a:lnTo>
                    <a:pt x="897" y="189"/>
                  </a:lnTo>
                  <a:lnTo>
                    <a:pt x="897" y="194"/>
                  </a:lnTo>
                  <a:lnTo>
                    <a:pt x="897" y="194"/>
                  </a:lnTo>
                  <a:lnTo>
                    <a:pt x="897" y="194"/>
                  </a:lnTo>
                  <a:close/>
                  <a:moveTo>
                    <a:pt x="687" y="338"/>
                  </a:moveTo>
                  <a:lnTo>
                    <a:pt x="666" y="355"/>
                  </a:lnTo>
                  <a:lnTo>
                    <a:pt x="612" y="355"/>
                  </a:lnTo>
                  <a:lnTo>
                    <a:pt x="595" y="338"/>
                  </a:lnTo>
                  <a:lnTo>
                    <a:pt x="574" y="350"/>
                  </a:lnTo>
                  <a:lnTo>
                    <a:pt x="574" y="338"/>
                  </a:lnTo>
                  <a:lnTo>
                    <a:pt x="553" y="322"/>
                  </a:lnTo>
                  <a:lnTo>
                    <a:pt x="524" y="317"/>
                  </a:lnTo>
                  <a:lnTo>
                    <a:pt x="519" y="305"/>
                  </a:lnTo>
                  <a:lnTo>
                    <a:pt x="524" y="293"/>
                  </a:lnTo>
                  <a:lnTo>
                    <a:pt x="562" y="293"/>
                  </a:lnTo>
                  <a:lnTo>
                    <a:pt x="590" y="305"/>
                  </a:lnTo>
                  <a:lnTo>
                    <a:pt x="633" y="300"/>
                  </a:lnTo>
                  <a:lnTo>
                    <a:pt x="633" y="293"/>
                  </a:lnTo>
                  <a:lnTo>
                    <a:pt x="633" y="284"/>
                  </a:lnTo>
                  <a:lnTo>
                    <a:pt x="642" y="260"/>
                  </a:lnTo>
                  <a:lnTo>
                    <a:pt x="659" y="265"/>
                  </a:lnTo>
                  <a:lnTo>
                    <a:pt x="642" y="265"/>
                  </a:lnTo>
                  <a:lnTo>
                    <a:pt x="642" y="284"/>
                  </a:lnTo>
                  <a:lnTo>
                    <a:pt x="649" y="300"/>
                  </a:lnTo>
                  <a:lnTo>
                    <a:pt x="659" y="300"/>
                  </a:lnTo>
                  <a:lnTo>
                    <a:pt x="671" y="293"/>
                  </a:lnTo>
                  <a:lnTo>
                    <a:pt x="682" y="300"/>
                  </a:lnTo>
                  <a:lnTo>
                    <a:pt x="704" y="300"/>
                  </a:lnTo>
                  <a:lnTo>
                    <a:pt x="730" y="260"/>
                  </a:lnTo>
                  <a:lnTo>
                    <a:pt x="758" y="249"/>
                  </a:lnTo>
                  <a:lnTo>
                    <a:pt x="742" y="206"/>
                  </a:lnTo>
                  <a:lnTo>
                    <a:pt x="768" y="206"/>
                  </a:lnTo>
                  <a:lnTo>
                    <a:pt x="784" y="211"/>
                  </a:lnTo>
                  <a:lnTo>
                    <a:pt x="796" y="206"/>
                  </a:lnTo>
                  <a:lnTo>
                    <a:pt x="789" y="211"/>
                  </a:lnTo>
                  <a:lnTo>
                    <a:pt x="805" y="211"/>
                  </a:lnTo>
                  <a:lnTo>
                    <a:pt x="812" y="239"/>
                  </a:lnTo>
                  <a:lnTo>
                    <a:pt x="796" y="260"/>
                  </a:lnTo>
                  <a:lnTo>
                    <a:pt x="784" y="260"/>
                  </a:lnTo>
                  <a:lnTo>
                    <a:pt x="784" y="277"/>
                  </a:lnTo>
                  <a:lnTo>
                    <a:pt x="789" y="284"/>
                  </a:lnTo>
                  <a:lnTo>
                    <a:pt x="789" y="293"/>
                  </a:lnTo>
                  <a:lnTo>
                    <a:pt x="768" y="305"/>
                  </a:lnTo>
                  <a:lnTo>
                    <a:pt x="742" y="300"/>
                  </a:lnTo>
                  <a:lnTo>
                    <a:pt x="734" y="317"/>
                  </a:lnTo>
                  <a:lnTo>
                    <a:pt x="687" y="338"/>
                  </a:lnTo>
                  <a:lnTo>
                    <a:pt x="687" y="338"/>
                  </a:lnTo>
                  <a:lnTo>
                    <a:pt x="687" y="338"/>
                  </a:lnTo>
                  <a:close/>
                  <a:moveTo>
                    <a:pt x="357" y="244"/>
                  </a:moveTo>
                  <a:lnTo>
                    <a:pt x="345" y="239"/>
                  </a:lnTo>
                  <a:lnTo>
                    <a:pt x="357" y="227"/>
                  </a:lnTo>
                  <a:lnTo>
                    <a:pt x="361" y="239"/>
                  </a:lnTo>
                  <a:lnTo>
                    <a:pt x="357" y="244"/>
                  </a:lnTo>
                  <a:lnTo>
                    <a:pt x="357" y="244"/>
                  </a:lnTo>
                  <a:lnTo>
                    <a:pt x="357" y="244"/>
                  </a:lnTo>
                  <a:close/>
                  <a:moveTo>
                    <a:pt x="612" y="244"/>
                  </a:moveTo>
                  <a:lnTo>
                    <a:pt x="605" y="239"/>
                  </a:lnTo>
                  <a:lnTo>
                    <a:pt x="605" y="239"/>
                  </a:lnTo>
                  <a:lnTo>
                    <a:pt x="612" y="244"/>
                  </a:lnTo>
                  <a:lnTo>
                    <a:pt x="612" y="244"/>
                  </a:lnTo>
                  <a:lnTo>
                    <a:pt x="612" y="244"/>
                  </a:lnTo>
                  <a:close/>
                  <a:moveTo>
                    <a:pt x="968" y="293"/>
                  </a:moveTo>
                  <a:lnTo>
                    <a:pt x="956" y="265"/>
                  </a:lnTo>
                  <a:lnTo>
                    <a:pt x="968" y="260"/>
                  </a:lnTo>
                  <a:lnTo>
                    <a:pt x="973" y="277"/>
                  </a:lnTo>
                  <a:lnTo>
                    <a:pt x="968" y="293"/>
                  </a:lnTo>
                  <a:lnTo>
                    <a:pt x="968" y="293"/>
                  </a:lnTo>
                  <a:lnTo>
                    <a:pt x="968" y="293"/>
                  </a:lnTo>
                  <a:close/>
                  <a:moveTo>
                    <a:pt x="444" y="293"/>
                  </a:moveTo>
                  <a:lnTo>
                    <a:pt x="427" y="284"/>
                  </a:lnTo>
                  <a:lnTo>
                    <a:pt x="432" y="277"/>
                  </a:lnTo>
                  <a:lnTo>
                    <a:pt x="444" y="284"/>
                  </a:lnTo>
                  <a:lnTo>
                    <a:pt x="444" y="293"/>
                  </a:lnTo>
                  <a:lnTo>
                    <a:pt x="444" y="293"/>
                  </a:lnTo>
                  <a:lnTo>
                    <a:pt x="444" y="293"/>
                  </a:lnTo>
                  <a:close/>
                  <a:moveTo>
                    <a:pt x="1023" y="334"/>
                  </a:moveTo>
                  <a:lnTo>
                    <a:pt x="1023" y="350"/>
                  </a:lnTo>
                  <a:lnTo>
                    <a:pt x="1056" y="371"/>
                  </a:lnTo>
                  <a:lnTo>
                    <a:pt x="1056" y="393"/>
                  </a:lnTo>
                  <a:lnTo>
                    <a:pt x="1056" y="388"/>
                  </a:lnTo>
                  <a:lnTo>
                    <a:pt x="1039" y="393"/>
                  </a:lnTo>
                  <a:lnTo>
                    <a:pt x="1011" y="388"/>
                  </a:lnTo>
                  <a:lnTo>
                    <a:pt x="1006" y="371"/>
                  </a:lnTo>
                  <a:lnTo>
                    <a:pt x="1006" y="355"/>
                  </a:lnTo>
                  <a:lnTo>
                    <a:pt x="990" y="350"/>
                  </a:lnTo>
                  <a:lnTo>
                    <a:pt x="973" y="334"/>
                  </a:lnTo>
                  <a:lnTo>
                    <a:pt x="973" y="300"/>
                  </a:lnTo>
                  <a:lnTo>
                    <a:pt x="1001" y="300"/>
                  </a:lnTo>
                  <a:lnTo>
                    <a:pt x="1006" y="322"/>
                  </a:lnTo>
                  <a:lnTo>
                    <a:pt x="1023" y="334"/>
                  </a:lnTo>
                  <a:lnTo>
                    <a:pt x="1023" y="334"/>
                  </a:lnTo>
                  <a:lnTo>
                    <a:pt x="1023" y="334"/>
                  </a:lnTo>
                  <a:close/>
                  <a:moveTo>
                    <a:pt x="498" y="322"/>
                  </a:moveTo>
                  <a:lnTo>
                    <a:pt x="482" y="305"/>
                  </a:lnTo>
                  <a:lnTo>
                    <a:pt x="482" y="300"/>
                  </a:lnTo>
                  <a:lnTo>
                    <a:pt x="503" y="305"/>
                  </a:lnTo>
                  <a:lnTo>
                    <a:pt x="498" y="322"/>
                  </a:lnTo>
                  <a:lnTo>
                    <a:pt x="498" y="322"/>
                  </a:lnTo>
                  <a:lnTo>
                    <a:pt x="498" y="322"/>
                  </a:lnTo>
                  <a:close/>
                  <a:moveTo>
                    <a:pt x="194" y="487"/>
                  </a:moveTo>
                  <a:lnTo>
                    <a:pt x="194" y="482"/>
                  </a:lnTo>
                  <a:lnTo>
                    <a:pt x="194" y="487"/>
                  </a:lnTo>
                  <a:lnTo>
                    <a:pt x="194" y="487"/>
                  </a:lnTo>
                  <a:lnTo>
                    <a:pt x="194" y="487"/>
                  </a:lnTo>
                  <a:lnTo>
                    <a:pt x="194" y="487"/>
                  </a:lnTo>
                  <a:close/>
                  <a:moveTo>
                    <a:pt x="194" y="499"/>
                  </a:moveTo>
                  <a:lnTo>
                    <a:pt x="194" y="487"/>
                  </a:lnTo>
                  <a:lnTo>
                    <a:pt x="201" y="487"/>
                  </a:lnTo>
                  <a:lnTo>
                    <a:pt x="194" y="499"/>
                  </a:lnTo>
                  <a:lnTo>
                    <a:pt x="194" y="499"/>
                  </a:lnTo>
                  <a:lnTo>
                    <a:pt x="194" y="499"/>
                  </a:lnTo>
                  <a:close/>
                  <a:moveTo>
                    <a:pt x="184" y="515"/>
                  </a:moveTo>
                  <a:lnTo>
                    <a:pt x="172" y="504"/>
                  </a:lnTo>
                  <a:lnTo>
                    <a:pt x="184" y="504"/>
                  </a:lnTo>
                  <a:lnTo>
                    <a:pt x="184" y="515"/>
                  </a:lnTo>
                  <a:lnTo>
                    <a:pt x="184" y="515"/>
                  </a:lnTo>
                  <a:lnTo>
                    <a:pt x="184" y="515"/>
                  </a:lnTo>
                  <a:close/>
                  <a:moveTo>
                    <a:pt x="194" y="527"/>
                  </a:moveTo>
                  <a:lnTo>
                    <a:pt x="163" y="504"/>
                  </a:lnTo>
                  <a:lnTo>
                    <a:pt x="177" y="515"/>
                  </a:lnTo>
                  <a:lnTo>
                    <a:pt x="194" y="527"/>
                  </a:lnTo>
                  <a:lnTo>
                    <a:pt x="194" y="527"/>
                  </a:lnTo>
                  <a:lnTo>
                    <a:pt x="194" y="527"/>
                  </a:lnTo>
                  <a:close/>
                  <a:moveTo>
                    <a:pt x="720" y="537"/>
                  </a:moveTo>
                  <a:lnTo>
                    <a:pt x="713" y="515"/>
                  </a:lnTo>
                  <a:lnTo>
                    <a:pt x="720" y="504"/>
                  </a:lnTo>
                  <a:lnTo>
                    <a:pt x="720" y="537"/>
                  </a:lnTo>
                  <a:lnTo>
                    <a:pt x="720" y="537"/>
                  </a:lnTo>
                  <a:lnTo>
                    <a:pt x="720" y="537"/>
                  </a:lnTo>
                  <a:close/>
                  <a:moveTo>
                    <a:pt x="838" y="570"/>
                  </a:moveTo>
                  <a:lnTo>
                    <a:pt x="812" y="553"/>
                  </a:lnTo>
                  <a:lnTo>
                    <a:pt x="838" y="544"/>
                  </a:lnTo>
                  <a:lnTo>
                    <a:pt x="850" y="560"/>
                  </a:lnTo>
                  <a:lnTo>
                    <a:pt x="838" y="570"/>
                  </a:lnTo>
                  <a:lnTo>
                    <a:pt x="838" y="570"/>
                  </a:lnTo>
                  <a:lnTo>
                    <a:pt x="838" y="570"/>
                  </a:lnTo>
                  <a:close/>
                  <a:moveTo>
                    <a:pt x="666" y="582"/>
                  </a:moveTo>
                  <a:lnTo>
                    <a:pt x="649" y="577"/>
                  </a:lnTo>
                  <a:lnTo>
                    <a:pt x="649" y="570"/>
                  </a:lnTo>
                  <a:lnTo>
                    <a:pt x="666" y="570"/>
                  </a:lnTo>
                  <a:lnTo>
                    <a:pt x="666" y="582"/>
                  </a:lnTo>
                  <a:lnTo>
                    <a:pt x="666" y="582"/>
                  </a:lnTo>
                  <a:lnTo>
                    <a:pt x="666" y="582"/>
                  </a:lnTo>
                  <a:close/>
                  <a:moveTo>
                    <a:pt x="697" y="598"/>
                  </a:moveTo>
                  <a:lnTo>
                    <a:pt x="671" y="593"/>
                  </a:lnTo>
                  <a:lnTo>
                    <a:pt x="671" y="577"/>
                  </a:lnTo>
                  <a:lnTo>
                    <a:pt x="697" y="582"/>
                  </a:lnTo>
                  <a:lnTo>
                    <a:pt x="704" y="598"/>
                  </a:lnTo>
                  <a:lnTo>
                    <a:pt x="697" y="598"/>
                  </a:lnTo>
                  <a:lnTo>
                    <a:pt x="697" y="598"/>
                  </a:lnTo>
                  <a:lnTo>
                    <a:pt x="697" y="598"/>
                  </a:lnTo>
                  <a:close/>
                  <a:moveTo>
                    <a:pt x="730" y="638"/>
                  </a:moveTo>
                  <a:lnTo>
                    <a:pt x="704" y="631"/>
                  </a:lnTo>
                  <a:lnTo>
                    <a:pt x="697" y="598"/>
                  </a:lnTo>
                  <a:lnTo>
                    <a:pt x="720" y="626"/>
                  </a:lnTo>
                  <a:lnTo>
                    <a:pt x="730" y="615"/>
                  </a:lnTo>
                  <a:lnTo>
                    <a:pt x="730" y="638"/>
                  </a:lnTo>
                  <a:lnTo>
                    <a:pt x="730" y="638"/>
                  </a:lnTo>
                  <a:lnTo>
                    <a:pt x="730" y="638"/>
                  </a:lnTo>
                  <a:close/>
                  <a:moveTo>
                    <a:pt x="704" y="671"/>
                  </a:moveTo>
                  <a:lnTo>
                    <a:pt x="697" y="671"/>
                  </a:lnTo>
                  <a:lnTo>
                    <a:pt x="697" y="664"/>
                  </a:lnTo>
                  <a:lnTo>
                    <a:pt x="704" y="664"/>
                  </a:lnTo>
                  <a:lnTo>
                    <a:pt x="704" y="671"/>
                  </a:lnTo>
                  <a:lnTo>
                    <a:pt x="704" y="671"/>
                  </a:lnTo>
                  <a:lnTo>
                    <a:pt x="704" y="671"/>
                  </a:lnTo>
                  <a:close/>
                  <a:moveTo>
                    <a:pt x="704" y="671"/>
                  </a:moveTo>
                  <a:lnTo>
                    <a:pt x="704" y="664"/>
                  </a:lnTo>
                  <a:lnTo>
                    <a:pt x="713" y="664"/>
                  </a:lnTo>
                  <a:lnTo>
                    <a:pt x="713" y="671"/>
                  </a:lnTo>
                  <a:lnTo>
                    <a:pt x="704" y="671"/>
                  </a:lnTo>
                  <a:lnTo>
                    <a:pt x="704" y="671"/>
                  </a:lnTo>
                  <a:lnTo>
                    <a:pt x="704" y="671"/>
                  </a:lnTo>
                  <a:close/>
                  <a:moveTo>
                    <a:pt x="838" y="671"/>
                  </a:moveTo>
                  <a:lnTo>
                    <a:pt x="822" y="671"/>
                  </a:lnTo>
                  <a:lnTo>
                    <a:pt x="843" y="671"/>
                  </a:lnTo>
                  <a:lnTo>
                    <a:pt x="838" y="671"/>
                  </a:lnTo>
                  <a:lnTo>
                    <a:pt x="838" y="671"/>
                  </a:lnTo>
                  <a:lnTo>
                    <a:pt x="838" y="671"/>
                  </a:lnTo>
                  <a:close/>
                  <a:moveTo>
                    <a:pt x="864" y="721"/>
                  </a:moveTo>
                  <a:lnTo>
                    <a:pt x="860" y="709"/>
                  </a:lnTo>
                  <a:lnTo>
                    <a:pt x="864" y="709"/>
                  </a:lnTo>
                  <a:lnTo>
                    <a:pt x="864" y="721"/>
                  </a:lnTo>
                  <a:lnTo>
                    <a:pt x="864" y="721"/>
                  </a:lnTo>
                  <a:lnTo>
                    <a:pt x="864" y="721"/>
                  </a:lnTo>
                  <a:close/>
                  <a:moveTo>
                    <a:pt x="931" y="726"/>
                  </a:moveTo>
                  <a:lnTo>
                    <a:pt x="919" y="721"/>
                  </a:lnTo>
                  <a:lnTo>
                    <a:pt x="935" y="721"/>
                  </a:lnTo>
                  <a:lnTo>
                    <a:pt x="947" y="726"/>
                  </a:lnTo>
                  <a:lnTo>
                    <a:pt x="931" y="726"/>
                  </a:lnTo>
                  <a:lnTo>
                    <a:pt x="931" y="726"/>
                  </a:lnTo>
                  <a:lnTo>
                    <a:pt x="931" y="726"/>
                  </a:lnTo>
                  <a:close/>
                  <a:moveTo>
                    <a:pt x="893" y="742"/>
                  </a:moveTo>
                  <a:lnTo>
                    <a:pt x="876" y="737"/>
                  </a:lnTo>
                  <a:lnTo>
                    <a:pt x="864" y="721"/>
                  </a:lnTo>
                  <a:lnTo>
                    <a:pt x="905" y="742"/>
                  </a:lnTo>
                  <a:lnTo>
                    <a:pt x="893" y="742"/>
                  </a:lnTo>
                  <a:lnTo>
                    <a:pt x="893" y="742"/>
                  </a:lnTo>
                  <a:lnTo>
                    <a:pt x="893" y="742"/>
                  </a:lnTo>
                  <a:close/>
                </a:path>
              </a:pathLst>
            </a:custGeom>
            <a:solidFill>
              <a:schemeClr val="bg2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92" name="Freeform 536">
              <a:extLst>
                <a:ext uri="{FF2B5EF4-FFF2-40B4-BE49-F238E27FC236}">
                  <a16:creationId xmlns:a16="http://schemas.microsoft.com/office/drawing/2014/main" id="{D6A0E2E0-B1AB-46A2-9132-0496F23264A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606894" y="2656144"/>
              <a:ext cx="3530" cy="6140"/>
            </a:xfrm>
            <a:custGeom>
              <a:avLst/>
              <a:gdLst>
                <a:gd name="T0" fmla="*/ 14 w 23"/>
                <a:gd name="T1" fmla="*/ 33 h 40"/>
                <a:gd name="T2" fmla="*/ 14 w 23"/>
                <a:gd name="T3" fmla="*/ 21 h 40"/>
                <a:gd name="T4" fmla="*/ 23 w 23"/>
                <a:gd name="T5" fmla="*/ 0 h 40"/>
                <a:gd name="T6" fmla="*/ 23 w 23"/>
                <a:gd name="T7" fmla="*/ 17 h 40"/>
                <a:gd name="T8" fmla="*/ 14 w 23"/>
                <a:gd name="T9" fmla="*/ 33 h 40"/>
                <a:gd name="T10" fmla="*/ 14 w 23"/>
                <a:gd name="T11" fmla="*/ 33 h 40"/>
                <a:gd name="T12" fmla="*/ 14 w 23"/>
                <a:gd name="T13" fmla="*/ 33 h 40"/>
                <a:gd name="T14" fmla="*/ 9 w 23"/>
                <a:gd name="T15" fmla="*/ 40 h 40"/>
                <a:gd name="T16" fmla="*/ 0 w 23"/>
                <a:gd name="T17" fmla="*/ 33 h 40"/>
                <a:gd name="T18" fmla="*/ 9 w 23"/>
                <a:gd name="T19" fmla="*/ 33 h 40"/>
                <a:gd name="T20" fmla="*/ 9 w 23"/>
                <a:gd name="T21" fmla="*/ 40 h 40"/>
                <a:gd name="T22" fmla="*/ 9 w 23"/>
                <a:gd name="T23" fmla="*/ 40 h 40"/>
                <a:gd name="T24" fmla="*/ 9 w 23"/>
                <a:gd name="T25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3" h="40">
                  <a:moveTo>
                    <a:pt x="14" y="33"/>
                  </a:moveTo>
                  <a:lnTo>
                    <a:pt x="14" y="21"/>
                  </a:lnTo>
                  <a:lnTo>
                    <a:pt x="23" y="0"/>
                  </a:lnTo>
                  <a:lnTo>
                    <a:pt x="23" y="17"/>
                  </a:lnTo>
                  <a:lnTo>
                    <a:pt x="14" y="33"/>
                  </a:lnTo>
                  <a:lnTo>
                    <a:pt x="14" y="33"/>
                  </a:lnTo>
                  <a:lnTo>
                    <a:pt x="14" y="33"/>
                  </a:lnTo>
                  <a:close/>
                  <a:moveTo>
                    <a:pt x="9" y="40"/>
                  </a:moveTo>
                  <a:lnTo>
                    <a:pt x="0" y="33"/>
                  </a:lnTo>
                  <a:lnTo>
                    <a:pt x="9" y="33"/>
                  </a:lnTo>
                  <a:lnTo>
                    <a:pt x="9" y="40"/>
                  </a:lnTo>
                  <a:lnTo>
                    <a:pt x="9" y="40"/>
                  </a:lnTo>
                  <a:lnTo>
                    <a:pt x="9" y="40"/>
                  </a:lnTo>
                  <a:close/>
                </a:path>
              </a:pathLst>
            </a:custGeom>
            <a:solidFill>
              <a:schemeClr val="bg2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93" name="Freeform 537">
              <a:extLst>
                <a:ext uri="{FF2B5EF4-FFF2-40B4-BE49-F238E27FC236}">
                  <a16:creationId xmlns:a16="http://schemas.microsoft.com/office/drawing/2014/main" id="{74A56D00-6141-4CAA-B8BA-6C36C775AAEE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982055" y="2602115"/>
              <a:ext cx="32997" cy="19186"/>
            </a:xfrm>
            <a:custGeom>
              <a:avLst/>
              <a:gdLst>
                <a:gd name="T0" fmla="*/ 37 w 215"/>
                <a:gd name="T1" fmla="*/ 17 h 125"/>
                <a:gd name="T2" fmla="*/ 106 w 215"/>
                <a:gd name="T3" fmla="*/ 0 h 125"/>
                <a:gd name="T4" fmla="*/ 203 w 215"/>
                <a:gd name="T5" fmla="*/ 0 h 125"/>
                <a:gd name="T6" fmla="*/ 186 w 215"/>
                <a:gd name="T7" fmla="*/ 38 h 125"/>
                <a:gd name="T8" fmla="*/ 203 w 215"/>
                <a:gd name="T9" fmla="*/ 71 h 125"/>
                <a:gd name="T10" fmla="*/ 165 w 215"/>
                <a:gd name="T11" fmla="*/ 71 h 125"/>
                <a:gd name="T12" fmla="*/ 134 w 215"/>
                <a:gd name="T13" fmla="*/ 83 h 125"/>
                <a:gd name="T14" fmla="*/ 113 w 215"/>
                <a:gd name="T15" fmla="*/ 114 h 125"/>
                <a:gd name="T16" fmla="*/ 106 w 215"/>
                <a:gd name="T17" fmla="*/ 114 h 125"/>
                <a:gd name="T18" fmla="*/ 96 w 215"/>
                <a:gd name="T19" fmla="*/ 109 h 125"/>
                <a:gd name="T20" fmla="*/ 89 w 215"/>
                <a:gd name="T21" fmla="*/ 92 h 125"/>
                <a:gd name="T22" fmla="*/ 80 w 215"/>
                <a:gd name="T23" fmla="*/ 92 h 125"/>
                <a:gd name="T24" fmla="*/ 113 w 215"/>
                <a:gd name="T25" fmla="*/ 76 h 125"/>
                <a:gd name="T26" fmla="*/ 89 w 215"/>
                <a:gd name="T27" fmla="*/ 76 h 125"/>
                <a:gd name="T28" fmla="*/ 80 w 215"/>
                <a:gd name="T29" fmla="*/ 71 h 125"/>
                <a:gd name="T30" fmla="*/ 106 w 215"/>
                <a:gd name="T31" fmla="*/ 54 h 125"/>
                <a:gd name="T32" fmla="*/ 113 w 215"/>
                <a:gd name="T33" fmla="*/ 54 h 125"/>
                <a:gd name="T34" fmla="*/ 106 w 215"/>
                <a:gd name="T35" fmla="*/ 54 h 125"/>
                <a:gd name="T36" fmla="*/ 75 w 215"/>
                <a:gd name="T37" fmla="*/ 59 h 125"/>
                <a:gd name="T38" fmla="*/ 59 w 215"/>
                <a:gd name="T39" fmla="*/ 45 h 125"/>
                <a:gd name="T40" fmla="*/ 37 w 215"/>
                <a:gd name="T41" fmla="*/ 54 h 125"/>
                <a:gd name="T42" fmla="*/ 21 w 215"/>
                <a:gd name="T43" fmla="*/ 38 h 125"/>
                <a:gd name="T44" fmla="*/ 9 w 215"/>
                <a:gd name="T45" fmla="*/ 28 h 125"/>
                <a:gd name="T46" fmla="*/ 0 w 215"/>
                <a:gd name="T47" fmla="*/ 21 h 125"/>
                <a:gd name="T48" fmla="*/ 26 w 215"/>
                <a:gd name="T49" fmla="*/ 59 h 125"/>
                <a:gd name="T50" fmla="*/ 37 w 215"/>
                <a:gd name="T51" fmla="*/ 54 h 125"/>
                <a:gd name="T52" fmla="*/ 26 w 215"/>
                <a:gd name="T53" fmla="*/ 59 h 125"/>
                <a:gd name="T54" fmla="*/ 42 w 215"/>
                <a:gd name="T55" fmla="*/ 59 h 125"/>
                <a:gd name="T56" fmla="*/ 54 w 215"/>
                <a:gd name="T57" fmla="*/ 54 h 125"/>
                <a:gd name="T58" fmla="*/ 42 w 215"/>
                <a:gd name="T59" fmla="*/ 59 h 125"/>
                <a:gd name="T60" fmla="*/ 42 w 215"/>
                <a:gd name="T61" fmla="*/ 83 h 125"/>
                <a:gd name="T62" fmla="*/ 54 w 215"/>
                <a:gd name="T63" fmla="*/ 76 h 125"/>
                <a:gd name="T64" fmla="*/ 42 w 215"/>
                <a:gd name="T65" fmla="*/ 83 h 125"/>
                <a:gd name="T66" fmla="*/ 42 w 215"/>
                <a:gd name="T67" fmla="*/ 83 h 125"/>
                <a:gd name="T68" fmla="*/ 21 w 215"/>
                <a:gd name="T69" fmla="*/ 76 h 125"/>
                <a:gd name="T70" fmla="*/ 26 w 215"/>
                <a:gd name="T71" fmla="*/ 83 h 125"/>
                <a:gd name="T72" fmla="*/ 26 w 215"/>
                <a:gd name="T73" fmla="*/ 83 h 125"/>
                <a:gd name="T74" fmla="*/ 26 w 215"/>
                <a:gd name="T75" fmla="*/ 83 h 125"/>
                <a:gd name="T76" fmla="*/ 26 w 215"/>
                <a:gd name="T77" fmla="*/ 83 h 125"/>
                <a:gd name="T78" fmla="*/ 26 w 215"/>
                <a:gd name="T79" fmla="*/ 83 h 125"/>
                <a:gd name="T80" fmla="*/ 26 w 215"/>
                <a:gd name="T81" fmla="*/ 97 h 125"/>
                <a:gd name="T82" fmla="*/ 26 w 215"/>
                <a:gd name="T83" fmla="*/ 97 h 125"/>
                <a:gd name="T84" fmla="*/ 26 w 215"/>
                <a:gd name="T85" fmla="*/ 97 h 125"/>
                <a:gd name="T86" fmla="*/ 26 w 215"/>
                <a:gd name="T87" fmla="*/ 109 h 125"/>
                <a:gd name="T88" fmla="*/ 42 w 215"/>
                <a:gd name="T89" fmla="*/ 114 h 125"/>
                <a:gd name="T90" fmla="*/ 37 w 215"/>
                <a:gd name="T91" fmla="*/ 114 h 125"/>
                <a:gd name="T92" fmla="*/ 42 w 215"/>
                <a:gd name="T93" fmla="*/ 114 h 125"/>
                <a:gd name="T94" fmla="*/ 54 w 215"/>
                <a:gd name="T95" fmla="*/ 97 h 125"/>
                <a:gd name="T96" fmla="*/ 42 w 215"/>
                <a:gd name="T97" fmla="*/ 114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15" h="125">
                  <a:moveTo>
                    <a:pt x="0" y="21"/>
                  </a:moveTo>
                  <a:lnTo>
                    <a:pt x="37" y="17"/>
                  </a:lnTo>
                  <a:lnTo>
                    <a:pt x="63" y="17"/>
                  </a:lnTo>
                  <a:lnTo>
                    <a:pt x="106" y="0"/>
                  </a:lnTo>
                  <a:lnTo>
                    <a:pt x="165" y="0"/>
                  </a:lnTo>
                  <a:lnTo>
                    <a:pt x="203" y="0"/>
                  </a:lnTo>
                  <a:lnTo>
                    <a:pt x="215" y="21"/>
                  </a:lnTo>
                  <a:lnTo>
                    <a:pt x="186" y="38"/>
                  </a:lnTo>
                  <a:lnTo>
                    <a:pt x="203" y="45"/>
                  </a:lnTo>
                  <a:lnTo>
                    <a:pt x="203" y="71"/>
                  </a:lnTo>
                  <a:lnTo>
                    <a:pt x="186" y="71"/>
                  </a:lnTo>
                  <a:lnTo>
                    <a:pt x="165" y="71"/>
                  </a:lnTo>
                  <a:lnTo>
                    <a:pt x="148" y="76"/>
                  </a:lnTo>
                  <a:lnTo>
                    <a:pt x="134" y="83"/>
                  </a:lnTo>
                  <a:lnTo>
                    <a:pt x="113" y="125"/>
                  </a:lnTo>
                  <a:lnTo>
                    <a:pt x="113" y="114"/>
                  </a:lnTo>
                  <a:lnTo>
                    <a:pt x="113" y="97"/>
                  </a:lnTo>
                  <a:lnTo>
                    <a:pt x="106" y="114"/>
                  </a:lnTo>
                  <a:lnTo>
                    <a:pt x="106" y="97"/>
                  </a:lnTo>
                  <a:lnTo>
                    <a:pt x="96" y="109"/>
                  </a:lnTo>
                  <a:lnTo>
                    <a:pt x="89" y="109"/>
                  </a:lnTo>
                  <a:lnTo>
                    <a:pt x="89" y="92"/>
                  </a:lnTo>
                  <a:lnTo>
                    <a:pt x="96" y="83"/>
                  </a:lnTo>
                  <a:lnTo>
                    <a:pt x="80" y="92"/>
                  </a:lnTo>
                  <a:lnTo>
                    <a:pt x="96" y="76"/>
                  </a:lnTo>
                  <a:lnTo>
                    <a:pt x="113" y="76"/>
                  </a:lnTo>
                  <a:lnTo>
                    <a:pt x="96" y="71"/>
                  </a:lnTo>
                  <a:lnTo>
                    <a:pt x="89" y="76"/>
                  </a:lnTo>
                  <a:lnTo>
                    <a:pt x="89" y="71"/>
                  </a:lnTo>
                  <a:lnTo>
                    <a:pt x="80" y="71"/>
                  </a:lnTo>
                  <a:lnTo>
                    <a:pt x="89" y="54"/>
                  </a:lnTo>
                  <a:lnTo>
                    <a:pt x="106" y="54"/>
                  </a:lnTo>
                  <a:lnTo>
                    <a:pt x="118" y="59"/>
                  </a:lnTo>
                  <a:lnTo>
                    <a:pt x="113" y="54"/>
                  </a:lnTo>
                  <a:lnTo>
                    <a:pt x="118" y="45"/>
                  </a:lnTo>
                  <a:lnTo>
                    <a:pt x="106" y="54"/>
                  </a:lnTo>
                  <a:lnTo>
                    <a:pt x="89" y="45"/>
                  </a:lnTo>
                  <a:lnTo>
                    <a:pt x="75" y="59"/>
                  </a:lnTo>
                  <a:lnTo>
                    <a:pt x="54" y="59"/>
                  </a:lnTo>
                  <a:lnTo>
                    <a:pt x="59" y="45"/>
                  </a:lnTo>
                  <a:lnTo>
                    <a:pt x="63" y="45"/>
                  </a:lnTo>
                  <a:lnTo>
                    <a:pt x="37" y="54"/>
                  </a:lnTo>
                  <a:lnTo>
                    <a:pt x="26" y="54"/>
                  </a:lnTo>
                  <a:lnTo>
                    <a:pt x="21" y="38"/>
                  </a:lnTo>
                  <a:lnTo>
                    <a:pt x="42" y="21"/>
                  </a:lnTo>
                  <a:lnTo>
                    <a:pt x="9" y="28"/>
                  </a:lnTo>
                  <a:lnTo>
                    <a:pt x="0" y="21"/>
                  </a:lnTo>
                  <a:lnTo>
                    <a:pt x="0" y="21"/>
                  </a:lnTo>
                  <a:lnTo>
                    <a:pt x="0" y="21"/>
                  </a:lnTo>
                  <a:close/>
                  <a:moveTo>
                    <a:pt x="26" y="59"/>
                  </a:moveTo>
                  <a:lnTo>
                    <a:pt x="26" y="45"/>
                  </a:lnTo>
                  <a:lnTo>
                    <a:pt x="37" y="54"/>
                  </a:lnTo>
                  <a:lnTo>
                    <a:pt x="26" y="59"/>
                  </a:lnTo>
                  <a:lnTo>
                    <a:pt x="26" y="59"/>
                  </a:lnTo>
                  <a:lnTo>
                    <a:pt x="26" y="59"/>
                  </a:lnTo>
                  <a:close/>
                  <a:moveTo>
                    <a:pt x="42" y="59"/>
                  </a:moveTo>
                  <a:lnTo>
                    <a:pt x="37" y="54"/>
                  </a:lnTo>
                  <a:lnTo>
                    <a:pt x="54" y="54"/>
                  </a:lnTo>
                  <a:lnTo>
                    <a:pt x="42" y="59"/>
                  </a:lnTo>
                  <a:lnTo>
                    <a:pt x="42" y="59"/>
                  </a:lnTo>
                  <a:lnTo>
                    <a:pt x="42" y="59"/>
                  </a:lnTo>
                  <a:close/>
                  <a:moveTo>
                    <a:pt x="42" y="83"/>
                  </a:moveTo>
                  <a:lnTo>
                    <a:pt x="42" y="76"/>
                  </a:lnTo>
                  <a:lnTo>
                    <a:pt x="54" y="76"/>
                  </a:lnTo>
                  <a:lnTo>
                    <a:pt x="54" y="83"/>
                  </a:lnTo>
                  <a:lnTo>
                    <a:pt x="42" y="83"/>
                  </a:lnTo>
                  <a:lnTo>
                    <a:pt x="42" y="83"/>
                  </a:lnTo>
                  <a:lnTo>
                    <a:pt x="42" y="83"/>
                  </a:lnTo>
                  <a:close/>
                  <a:moveTo>
                    <a:pt x="26" y="83"/>
                  </a:moveTo>
                  <a:lnTo>
                    <a:pt x="21" y="76"/>
                  </a:lnTo>
                  <a:lnTo>
                    <a:pt x="26" y="76"/>
                  </a:lnTo>
                  <a:lnTo>
                    <a:pt x="26" y="83"/>
                  </a:lnTo>
                  <a:lnTo>
                    <a:pt x="26" y="83"/>
                  </a:lnTo>
                  <a:lnTo>
                    <a:pt x="26" y="83"/>
                  </a:lnTo>
                  <a:close/>
                  <a:moveTo>
                    <a:pt x="26" y="83"/>
                  </a:moveTo>
                  <a:lnTo>
                    <a:pt x="26" y="83"/>
                  </a:lnTo>
                  <a:lnTo>
                    <a:pt x="37" y="76"/>
                  </a:lnTo>
                  <a:lnTo>
                    <a:pt x="26" y="83"/>
                  </a:lnTo>
                  <a:lnTo>
                    <a:pt x="26" y="83"/>
                  </a:lnTo>
                  <a:lnTo>
                    <a:pt x="26" y="83"/>
                  </a:lnTo>
                  <a:close/>
                  <a:moveTo>
                    <a:pt x="26" y="97"/>
                  </a:moveTo>
                  <a:lnTo>
                    <a:pt x="26" y="97"/>
                  </a:lnTo>
                  <a:lnTo>
                    <a:pt x="37" y="97"/>
                  </a:lnTo>
                  <a:lnTo>
                    <a:pt x="26" y="97"/>
                  </a:lnTo>
                  <a:lnTo>
                    <a:pt x="26" y="97"/>
                  </a:lnTo>
                  <a:lnTo>
                    <a:pt x="26" y="97"/>
                  </a:lnTo>
                  <a:close/>
                  <a:moveTo>
                    <a:pt x="37" y="114"/>
                  </a:moveTo>
                  <a:lnTo>
                    <a:pt x="26" y="109"/>
                  </a:lnTo>
                  <a:lnTo>
                    <a:pt x="42" y="97"/>
                  </a:lnTo>
                  <a:lnTo>
                    <a:pt x="42" y="114"/>
                  </a:lnTo>
                  <a:lnTo>
                    <a:pt x="37" y="114"/>
                  </a:lnTo>
                  <a:lnTo>
                    <a:pt x="37" y="114"/>
                  </a:lnTo>
                  <a:lnTo>
                    <a:pt x="37" y="114"/>
                  </a:lnTo>
                  <a:close/>
                  <a:moveTo>
                    <a:pt x="42" y="114"/>
                  </a:moveTo>
                  <a:lnTo>
                    <a:pt x="42" y="109"/>
                  </a:lnTo>
                  <a:lnTo>
                    <a:pt x="54" y="97"/>
                  </a:lnTo>
                  <a:lnTo>
                    <a:pt x="42" y="114"/>
                  </a:lnTo>
                  <a:lnTo>
                    <a:pt x="42" y="114"/>
                  </a:lnTo>
                  <a:lnTo>
                    <a:pt x="42" y="114"/>
                  </a:lnTo>
                  <a:close/>
                </a:path>
              </a:pathLst>
            </a:custGeom>
            <a:solidFill>
              <a:schemeClr val="bg2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94" name="Freeform 538">
              <a:extLst>
                <a:ext uri="{FF2B5EF4-FFF2-40B4-BE49-F238E27FC236}">
                  <a16:creationId xmlns:a16="http://schemas.microsoft.com/office/drawing/2014/main" id="{919B2D65-CCBE-4EAB-8A5F-35C4C42D5105}"/>
                </a:ext>
              </a:extLst>
            </p:cNvPr>
            <p:cNvSpPr>
              <a:spLocks/>
            </p:cNvSpPr>
            <p:nvPr/>
          </p:nvSpPr>
          <p:spPr bwMode="gray">
            <a:xfrm>
              <a:off x="6707070" y="2446167"/>
              <a:ext cx="9822" cy="19647"/>
            </a:xfrm>
            <a:custGeom>
              <a:avLst/>
              <a:gdLst>
                <a:gd name="T0" fmla="*/ 42 w 64"/>
                <a:gd name="T1" fmla="*/ 116 h 128"/>
                <a:gd name="T2" fmla="*/ 16 w 64"/>
                <a:gd name="T3" fmla="*/ 128 h 128"/>
                <a:gd name="T4" fmla="*/ 12 w 64"/>
                <a:gd name="T5" fmla="*/ 111 h 128"/>
                <a:gd name="T6" fmla="*/ 0 w 64"/>
                <a:gd name="T7" fmla="*/ 55 h 128"/>
                <a:gd name="T8" fmla="*/ 12 w 64"/>
                <a:gd name="T9" fmla="*/ 55 h 128"/>
                <a:gd name="T10" fmla="*/ 12 w 64"/>
                <a:gd name="T11" fmla="*/ 45 h 128"/>
                <a:gd name="T12" fmla="*/ 16 w 64"/>
                <a:gd name="T13" fmla="*/ 38 h 128"/>
                <a:gd name="T14" fmla="*/ 16 w 64"/>
                <a:gd name="T15" fmla="*/ 38 h 128"/>
                <a:gd name="T16" fmla="*/ 26 w 64"/>
                <a:gd name="T17" fmla="*/ 5 h 128"/>
                <a:gd name="T18" fmla="*/ 42 w 64"/>
                <a:gd name="T19" fmla="*/ 0 h 128"/>
                <a:gd name="T20" fmla="*/ 47 w 64"/>
                <a:gd name="T21" fmla="*/ 17 h 128"/>
                <a:gd name="T22" fmla="*/ 64 w 64"/>
                <a:gd name="T23" fmla="*/ 22 h 128"/>
                <a:gd name="T24" fmla="*/ 64 w 64"/>
                <a:gd name="T25" fmla="*/ 38 h 128"/>
                <a:gd name="T26" fmla="*/ 54 w 64"/>
                <a:gd name="T27" fmla="*/ 55 h 128"/>
                <a:gd name="T28" fmla="*/ 54 w 64"/>
                <a:gd name="T29" fmla="*/ 71 h 128"/>
                <a:gd name="T30" fmla="*/ 64 w 64"/>
                <a:gd name="T31" fmla="*/ 71 h 128"/>
                <a:gd name="T32" fmla="*/ 64 w 64"/>
                <a:gd name="T33" fmla="*/ 83 h 128"/>
                <a:gd name="T34" fmla="*/ 47 w 64"/>
                <a:gd name="T35" fmla="*/ 128 h 128"/>
                <a:gd name="T36" fmla="*/ 42 w 64"/>
                <a:gd name="T37" fmla="*/ 116 h 128"/>
                <a:gd name="T38" fmla="*/ 42 w 64"/>
                <a:gd name="T39" fmla="*/ 116 h 128"/>
                <a:gd name="T40" fmla="*/ 42 w 64"/>
                <a:gd name="T41" fmla="*/ 116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64" h="128">
                  <a:moveTo>
                    <a:pt x="42" y="116"/>
                  </a:moveTo>
                  <a:lnTo>
                    <a:pt x="16" y="128"/>
                  </a:lnTo>
                  <a:lnTo>
                    <a:pt x="12" y="111"/>
                  </a:lnTo>
                  <a:lnTo>
                    <a:pt x="0" y="55"/>
                  </a:lnTo>
                  <a:lnTo>
                    <a:pt x="12" y="55"/>
                  </a:lnTo>
                  <a:lnTo>
                    <a:pt x="12" y="45"/>
                  </a:lnTo>
                  <a:lnTo>
                    <a:pt x="16" y="38"/>
                  </a:lnTo>
                  <a:lnTo>
                    <a:pt x="16" y="38"/>
                  </a:lnTo>
                  <a:lnTo>
                    <a:pt x="26" y="5"/>
                  </a:lnTo>
                  <a:lnTo>
                    <a:pt x="42" y="0"/>
                  </a:lnTo>
                  <a:lnTo>
                    <a:pt x="47" y="17"/>
                  </a:lnTo>
                  <a:lnTo>
                    <a:pt x="64" y="22"/>
                  </a:lnTo>
                  <a:lnTo>
                    <a:pt x="64" y="38"/>
                  </a:lnTo>
                  <a:lnTo>
                    <a:pt x="54" y="55"/>
                  </a:lnTo>
                  <a:lnTo>
                    <a:pt x="54" y="71"/>
                  </a:lnTo>
                  <a:lnTo>
                    <a:pt x="64" y="71"/>
                  </a:lnTo>
                  <a:lnTo>
                    <a:pt x="64" y="83"/>
                  </a:lnTo>
                  <a:lnTo>
                    <a:pt x="47" y="128"/>
                  </a:lnTo>
                  <a:lnTo>
                    <a:pt x="42" y="116"/>
                  </a:lnTo>
                  <a:lnTo>
                    <a:pt x="42" y="116"/>
                  </a:lnTo>
                  <a:lnTo>
                    <a:pt x="42" y="116"/>
                  </a:lnTo>
                  <a:close/>
                </a:path>
              </a:pathLst>
            </a:custGeom>
            <a:solidFill>
              <a:schemeClr val="bg2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95" name="Freeform 539">
              <a:extLst>
                <a:ext uri="{FF2B5EF4-FFF2-40B4-BE49-F238E27FC236}">
                  <a16:creationId xmlns:a16="http://schemas.microsoft.com/office/drawing/2014/main" id="{B9297858-3145-4531-B6DA-C75E62D853CE}"/>
                </a:ext>
              </a:extLst>
            </p:cNvPr>
            <p:cNvSpPr>
              <a:spLocks/>
            </p:cNvSpPr>
            <p:nvPr/>
          </p:nvSpPr>
          <p:spPr bwMode="gray">
            <a:xfrm>
              <a:off x="6755569" y="2976328"/>
              <a:ext cx="7367" cy="5833"/>
            </a:xfrm>
            <a:custGeom>
              <a:avLst/>
              <a:gdLst>
                <a:gd name="T0" fmla="*/ 34 w 48"/>
                <a:gd name="T1" fmla="*/ 5 h 38"/>
                <a:gd name="T2" fmla="*/ 48 w 48"/>
                <a:gd name="T3" fmla="*/ 21 h 38"/>
                <a:gd name="T4" fmla="*/ 38 w 48"/>
                <a:gd name="T5" fmla="*/ 33 h 38"/>
                <a:gd name="T6" fmla="*/ 34 w 48"/>
                <a:gd name="T7" fmla="*/ 38 h 38"/>
                <a:gd name="T8" fmla="*/ 8 w 48"/>
                <a:gd name="T9" fmla="*/ 33 h 38"/>
                <a:gd name="T10" fmla="*/ 0 w 48"/>
                <a:gd name="T11" fmla="*/ 16 h 38"/>
                <a:gd name="T12" fmla="*/ 17 w 48"/>
                <a:gd name="T13" fmla="*/ 0 h 38"/>
                <a:gd name="T14" fmla="*/ 34 w 48"/>
                <a:gd name="T15" fmla="*/ 0 h 38"/>
                <a:gd name="T16" fmla="*/ 34 w 48"/>
                <a:gd name="T17" fmla="*/ 5 h 38"/>
                <a:gd name="T18" fmla="*/ 34 w 48"/>
                <a:gd name="T19" fmla="*/ 5 h 38"/>
                <a:gd name="T20" fmla="*/ 34 w 48"/>
                <a:gd name="T21" fmla="*/ 5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8" h="38">
                  <a:moveTo>
                    <a:pt x="34" y="5"/>
                  </a:moveTo>
                  <a:lnTo>
                    <a:pt x="48" y="21"/>
                  </a:lnTo>
                  <a:lnTo>
                    <a:pt x="38" y="33"/>
                  </a:lnTo>
                  <a:lnTo>
                    <a:pt x="34" y="38"/>
                  </a:lnTo>
                  <a:lnTo>
                    <a:pt x="8" y="33"/>
                  </a:lnTo>
                  <a:lnTo>
                    <a:pt x="0" y="16"/>
                  </a:lnTo>
                  <a:lnTo>
                    <a:pt x="17" y="0"/>
                  </a:lnTo>
                  <a:lnTo>
                    <a:pt x="34" y="0"/>
                  </a:lnTo>
                  <a:lnTo>
                    <a:pt x="34" y="5"/>
                  </a:lnTo>
                  <a:lnTo>
                    <a:pt x="34" y="5"/>
                  </a:lnTo>
                  <a:lnTo>
                    <a:pt x="34" y="5"/>
                  </a:lnTo>
                  <a:close/>
                </a:path>
              </a:pathLst>
            </a:custGeom>
            <a:solidFill>
              <a:schemeClr val="bg2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96" name="Freeform 540">
              <a:extLst>
                <a:ext uri="{FF2B5EF4-FFF2-40B4-BE49-F238E27FC236}">
                  <a16:creationId xmlns:a16="http://schemas.microsoft.com/office/drawing/2014/main" id="{DD37EEB8-2DD0-4E88-BEB6-B9777DE6C20B}"/>
                </a:ext>
              </a:extLst>
            </p:cNvPr>
            <p:cNvSpPr>
              <a:spLocks/>
            </p:cNvSpPr>
            <p:nvPr/>
          </p:nvSpPr>
          <p:spPr bwMode="gray">
            <a:xfrm>
              <a:off x="6379709" y="2162667"/>
              <a:ext cx="101447" cy="64160"/>
            </a:xfrm>
            <a:custGeom>
              <a:avLst/>
              <a:gdLst>
                <a:gd name="T0" fmla="*/ 151 w 661"/>
                <a:gd name="T1" fmla="*/ 340 h 418"/>
                <a:gd name="T2" fmla="*/ 151 w 661"/>
                <a:gd name="T3" fmla="*/ 324 h 418"/>
                <a:gd name="T4" fmla="*/ 130 w 661"/>
                <a:gd name="T5" fmla="*/ 340 h 418"/>
                <a:gd name="T6" fmla="*/ 97 w 661"/>
                <a:gd name="T7" fmla="*/ 324 h 418"/>
                <a:gd name="T8" fmla="*/ 80 w 661"/>
                <a:gd name="T9" fmla="*/ 317 h 418"/>
                <a:gd name="T10" fmla="*/ 92 w 661"/>
                <a:gd name="T11" fmla="*/ 307 h 418"/>
                <a:gd name="T12" fmla="*/ 92 w 661"/>
                <a:gd name="T13" fmla="*/ 284 h 418"/>
                <a:gd name="T14" fmla="*/ 38 w 661"/>
                <a:gd name="T15" fmla="*/ 229 h 418"/>
                <a:gd name="T16" fmla="*/ 0 w 661"/>
                <a:gd name="T17" fmla="*/ 196 h 418"/>
                <a:gd name="T18" fmla="*/ 28 w 661"/>
                <a:gd name="T19" fmla="*/ 196 h 418"/>
                <a:gd name="T20" fmla="*/ 71 w 661"/>
                <a:gd name="T21" fmla="*/ 184 h 418"/>
                <a:gd name="T22" fmla="*/ 92 w 661"/>
                <a:gd name="T23" fmla="*/ 140 h 418"/>
                <a:gd name="T24" fmla="*/ 123 w 661"/>
                <a:gd name="T25" fmla="*/ 85 h 418"/>
                <a:gd name="T26" fmla="*/ 146 w 661"/>
                <a:gd name="T27" fmla="*/ 57 h 418"/>
                <a:gd name="T28" fmla="*/ 182 w 661"/>
                <a:gd name="T29" fmla="*/ 29 h 418"/>
                <a:gd name="T30" fmla="*/ 220 w 661"/>
                <a:gd name="T31" fmla="*/ 29 h 418"/>
                <a:gd name="T32" fmla="*/ 295 w 661"/>
                <a:gd name="T33" fmla="*/ 29 h 418"/>
                <a:gd name="T34" fmla="*/ 349 w 661"/>
                <a:gd name="T35" fmla="*/ 29 h 418"/>
                <a:gd name="T36" fmla="*/ 420 w 661"/>
                <a:gd name="T37" fmla="*/ 7 h 418"/>
                <a:gd name="T38" fmla="*/ 468 w 661"/>
                <a:gd name="T39" fmla="*/ 19 h 418"/>
                <a:gd name="T40" fmla="*/ 527 w 661"/>
                <a:gd name="T41" fmla="*/ 102 h 418"/>
                <a:gd name="T42" fmla="*/ 560 w 661"/>
                <a:gd name="T43" fmla="*/ 168 h 418"/>
                <a:gd name="T44" fmla="*/ 553 w 661"/>
                <a:gd name="T45" fmla="*/ 239 h 418"/>
                <a:gd name="T46" fmla="*/ 553 w 661"/>
                <a:gd name="T47" fmla="*/ 262 h 418"/>
                <a:gd name="T48" fmla="*/ 590 w 661"/>
                <a:gd name="T49" fmla="*/ 279 h 418"/>
                <a:gd name="T50" fmla="*/ 649 w 661"/>
                <a:gd name="T51" fmla="*/ 267 h 418"/>
                <a:gd name="T52" fmla="*/ 649 w 661"/>
                <a:gd name="T53" fmla="*/ 317 h 418"/>
                <a:gd name="T54" fmla="*/ 612 w 661"/>
                <a:gd name="T55" fmla="*/ 307 h 418"/>
                <a:gd name="T56" fmla="*/ 612 w 661"/>
                <a:gd name="T57" fmla="*/ 300 h 418"/>
                <a:gd name="T58" fmla="*/ 607 w 661"/>
                <a:gd name="T59" fmla="*/ 317 h 418"/>
                <a:gd name="T60" fmla="*/ 612 w 661"/>
                <a:gd name="T61" fmla="*/ 324 h 418"/>
                <a:gd name="T62" fmla="*/ 590 w 661"/>
                <a:gd name="T63" fmla="*/ 340 h 418"/>
                <a:gd name="T64" fmla="*/ 581 w 661"/>
                <a:gd name="T65" fmla="*/ 357 h 418"/>
                <a:gd name="T66" fmla="*/ 581 w 661"/>
                <a:gd name="T67" fmla="*/ 411 h 418"/>
                <a:gd name="T68" fmla="*/ 538 w 661"/>
                <a:gd name="T69" fmla="*/ 390 h 418"/>
                <a:gd name="T70" fmla="*/ 510 w 661"/>
                <a:gd name="T71" fmla="*/ 378 h 418"/>
                <a:gd name="T72" fmla="*/ 489 w 661"/>
                <a:gd name="T73" fmla="*/ 373 h 418"/>
                <a:gd name="T74" fmla="*/ 413 w 661"/>
                <a:gd name="T75" fmla="*/ 390 h 418"/>
                <a:gd name="T76" fmla="*/ 361 w 661"/>
                <a:gd name="T77" fmla="*/ 418 h 418"/>
                <a:gd name="T78" fmla="*/ 274 w 661"/>
                <a:gd name="T79" fmla="*/ 411 h 418"/>
                <a:gd name="T80" fmla="*/ 182 w 661"/>
                <a:gd name="T81" fmla="*/ 406 h 418"/>
                <a:gd name="T82" fmla="*/ 189 w 661"/>
                <a:gd name="T83" fmla="*/ 378 h 418"/>
                <a:gd name="T84" fmla="*/ 168 w 661"/>
                <a:gd name="T85" fmla="*/ 362 h 4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661" h="418">
                  <a:moveTo>
                    <a:pt x="168" y="362"/>
                  </a:moveTo>
                  <a:lnTo>
                    <a:pt x="151" y="340"/>
                  </a:lnTo>
                  <a:lnTo>
                    <a:pt x="177" y="340"/>
                  </a:lnTo>
                  <a:lnTo>
                    <a:pt x="151" y="324"/>
                  </a:lnTo>
                  <a:lnTo>
                    <a:pt x="146" y="324"/>
                  </a:lnTo>
                  <a:lnTo>
                    <a:pt x="130" y="340"/>
                  </a:lnTo>
                  <a:lnTo>
                    <a:pt x="123" y="333"/>
                  </a:lnTo>
                  <a:lnTo>
                    <a:pt x="97" y="324"/>
                  </a:lnTo>
                  <a:lnTo>
                    <a:pt x="92" y="317"/>
                  </a:lnTo>
                  <a:lnTo>
                    <a:pt x="80" y="317"/>
                  </a:lnTo>
                  <a:lnTo>
                    <a:pt x="75" y="307"/>
                  </a:lnTo>
                  <a:lnTo>
                    <a:pt x="92" y="307"/>
                  </a:lnTo>
                  <a:lnTo>
                    <a:pt x="75" y="300"/>
                  </a:lnTo>
                  <a:lnTo>
                    <a:pt x="92" y="284"/>
                  </a:lnTo>
                  <a:lnTo>
                    <a:pt x="38" y="251"/>
                  </a:lnTo>
                  <a:lnTo>
                    <a:pt x="38" y="229"/>
                  </a:lnTo>
                  <a:lnTo>
                    <a:pt x="28" y="229"/>
                  </a:lnTo>
                  <a:lnTo>
                    <a:pt x="0" y="196"/>
                  </a:lnTo>
                  <a:lnTo>
                    <a:pt x="16" y="189"/>
                  </a:lnTo>
                  <a:lnTo>
                    <a:pt x="28" y="196"/>
                  </a:lnTo>
                  <a:lnTo>
                    <a:pt x="38" y="184"/>
                  </a:lnTo>
                  <a:lnTo>
                    <a:pt x="71" y="184"/>
                  </a:lnTo>
                  <a:lnTo>
                    <a:pt x="75" y="151"/>
                  </a:lnTo>
                  <a:lnTo>
                    <a:pt x="92" y="140"/>
                  </a:lnTo>
                  <a:lnTo>
                    <a:pt x="97" y="118"/>
                  </a:lnTo>
                  <a:lnTo>
                    <a:pt x="123" y="85"/>
                  </a:lnTo>
                  <a:lnTo>
                    <a:pt x="123" y="73"/>
                  </a:lnTo>
                  <a:lnTo>
                    <a:pt x="146" y="57"/>
                  </a:lnTo>
                  <a:lnTo>
                    <a:pt x="168" y="45"/>
                  </a:lnTo>
                  <a:lnTo>
                    <a:pt x="182" y="29"/>
                  </a:lnTo>
                  <a:lnTo>
                    <a:pt x="205" y="19"/>
                  </a:lnTo>
                  <a:lnTo>
                    <a:pt x="220" y="29"/>
                  </a:lnTo>
                  <a:lnTo>
                    <a:pt x="274" y="29"/>
                  </a:lnTo>
                  <a:lnTo>
                    <a:pt x="295" y="29"/>
                  </a:lnTo>
                  <a:lnTo>
                    <a:pt x="328" y="57"/>
                  </a:lnTo>
                  <a:lnTo>
                    <a:pt x="349" y="29"/>
                  </a:lnTo>
                  <a:lnTo>
                    <a:pt x="413" y="29"/>
                  </a:lnTo>
                  <a:lnTo>
                    <a:pt x="420" y="7"/>
                  </a:lnTo>
                  <a:lnTo>
                    <a:pt x="446" y="0"/>
                  </a:lnTo>
                  <a:lnTo>
                    <a:pt x="468" y="19"/>
                  </a:lnTo>
                  <a:lnTo>
                    <a:pt x="489" y="57"/>
                  </a:lnTo>
                  <a:lnTo>
                    <a:pt x="527" y="102"/>
                  </a:lnTo>
                  <a:lnTo>
                    <a:pt x="543" y="118"/>
                  </a:lnTo>
                  <a:lnTo>
                    <a:pt x="560" y="168"/>
                  </a:lnTo>
                  <a:lnTo>
                    <a:pt x="543" y="196"/>
                  </a:lnTo>
                  <a:lnTo>
                    <a:pt x="553" y="239"/>
                  </a:lnTo>
                  <a:lnTo>
                    <a:pt x="543" y="246"/>
                  </a:lnTo>
                  <a:lnTo>
                    <a:pt x="553" y="262"/>
                  </a:lnTo>
                  <a:lnTo>
                    <a:pt x="564" y="267"/>
                  </a:lnTo>
                  <a:lnTo>
                    <a:pt x="590" y="279"/>
                  </a:lnTo>
                  <a:lnTo>
                    <a:pt x="635" y="262"/>
                  </a:lnTo>
                  <a:lnTo>
                    <a:pt x="649" y="267"/>
                  </a:lnTo>
                  <a:lnTo>
                    <a:pt x="661" y="279"/>
                  </a:lnTo>
                  <a:lnTo>
                    <a:pt x="649" y="317"/>
                  </a:lnTo>
                  <a:lnTo>
                    <a:pt x="612" y="317"/>
                  </a:lnTo>
                  <a:lnTo>
                    <a:pt x="612" y="307"/>
                  </a:lnTo>
                  <a:lnTo>
                    <a:pt x="619" y="300"/>
                  </a:lnTo>
                  <a:lnTo>
                    <a:pt x="612" y="300"/>
                  </a:lnTo>
                  <a:lnTo>
                    <a:pt x="598" y="300"/>
                  </a:lnTo>
                  <a:lnTo>
                    <a:pt x="607" y="317"/>
                  </a:lnTo>
                  <a:lnTo>
                    <a:pt x="598" y="333"/>
                  </a:lnTo>
                  <a:lnTo>
                    <a:pt x="612" y="324"/>
                  </a:lnTo>
                  <a:lnTo>
                    <a:pt x="590" y="333"/>
                  </a:lnTo>
                  <a:lnTo>
                    <a:pt x="590" y="340"/>
                  </a:lnTo>
                  <a:lnTo>
                    <a:pt x="607" y="333"/>
                  </a:lnTo>
                  <a:lnTo>
                    <a:pt x="581" y="357"/>
                  </a:lnTo>
                  <a:lnTo>
                    <a:pt x="590" y="390"/>
                  </a:lnTo>
                  <a:lnTo>
                    <a:pt x="581" y="411"/>
                  </a:lnTo>
                  <a:lnTo>
                    <a:pt x="543" y="406"/>
                  </a:lnTo>
                  <a:lnTo>
                    <a:pt x="538" y="390"/>
                  </a:lnTo>
                  <a:lnTo>
                    <a:pt x="522" y="390"/>
                  </a:lnTo>
                  <a:lnTo>
                    <a:pt x="510" y="378"/>
                  </a:lnTo>
                  <a:lnTo>
                    <a:pt x="501" y="390"/>
                  </a:lnTo>
                  <a:lnTo>
                    <a:pt x="489" y="373"/>
                  </a:lnTo>
                  <a:lnTo>
                    <a:pt x="472" y="373"/>
                  </a:lnTo>
                  <a:lnTo>
                    <a:pt x="413" y="390"/>
                  </a:lnTo>
                  <a:lnTo>
                    <a:pt x="383" y="411"/>
                  </a:lnTo>
                  <a:lnTo>
                    <a:pt x="361" y="418"/>
                  </a:lnTo>
                  <a:lnTo>
                    <a:pt x="295" y="406"/>
                  </a:lnTo>
                  <a:lnTo>
                    <a:pt x="274" y="411"/>
                  </a:lnTo>
                  <a:lnTo>
                    <a:pt x="220" y="395"/>
                  </a:lnTo>
                  <a:lnTo>
                    <a:pt x="182" y="406"/>
                  </a:lnTo>
                  <a:lnTo>
                    <a:pt x="182" y="390"/>
                  </a:lnTo>
                  <a:lnTo>
                    <a:pt x="189" y="378"/>
                  </a:lnTo>
                  <a:lnTo>
                    <a:pt x="168" y="362"/>
                  </a:lnTo>
                  <a:lnTo>
                    <a:pt x="168" y="362"/>
                  </a:lnTo>
                  <a:lnTo>
                    <a:pt x="168" y="362"/>
                  </a:lnTo>
                  <a:close/>
                </a:path>
              </a:pathLst>
            </a:custGeom>
            <a:solidFill>
              <a:schemeClr val="bg2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97" name="Freeform 541">
              <a:extLst>
                <a:ext uri="{FF2B5EF4-FFF2-40B4-BE49-F238E27FC236}">
                  <a16:creationId xmlns:a16="http://schemas.microsoft.com/office/drawing/2014/main" id="{05E03E64-5E4F-406A-9962-EDC9A49B341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420115" y="2523834"/>
              <a:ext cx="103749" cy="163469"/>
            </a:xfrm>
            <a:custGeom>
              <a:avLst/>
              <a:gdLst>
                <a:gd name="T0" fmla="*/ 324 w 676"/>
                <a:gd name="T1" fmla="*/ 16 h 1065"/>
                <a:gd name="T2" fmla="*/ 310 w 676"/>
                <a:gd name="T3" fmla="*/ 50 h 1065"/>
                <a:gd name="T4" fmla="*/ 459 w 676"/>
                <a:gd name="T5" fmla="*/ 437 h 1065"/>
                <a:gd name="T6" fmla="*/ 487 w 676"/>
                <a:gd name="T7" fmla="*/ 494 h 1065"/>
                <a:gd name="T8" fmla="*/ 395 w 676"/>
                <a:gd name="T9" fmla="*/ 416 h 1065"/>
                <a:gd name="T10" fmla="*/ 260 w 676"/>
                <a:gd name="T11" fmla="*/ 416 h 1065"/>
                <a:gd name="T12" fmla="*/ 239 w 676"/>
                <a:gd name="T13" fmla="*/ 349 h 1065"/>
                <a:gd name="T14" fmla="*/ 244 w 676"/>
                <a:gd name="T15" fmla="*/ 250 h 1065"/>
                <a:gd name="T16" fmla="*/ 378 w 676"/>
                <a:gd name="T17" fmla="*/ 90 h 1065"/>
                <a:gd name="T18" fmla="*/ 369 w 676"/>
                <a:gd name="T19" fmla="*/ 250 h 1065"/>
                <a:gd name="T20" fmla="*/ 369 w 676"/>
                <a:gd name="T21" fmla="*/ 416 h 1065"/>
                <a:gd name="T22" fmla="*/ 433 w 676"/>
                <a:gd name="T23" fmla="*/ 437 h 1065"/>
                <a:gd name="T24" fmla="*/ 362 w 676"/>
                <a:gd name="T25" fmla="*/ 342 h 1065"/>
                <a:gd name="T26" fmla="*/ 369 w 676"/>
                <a:gd name="T27" fmla="*/ 361 h 1065"/>
                <a:gd name="T28" fmla="*/ 508 w 676"/>
                <a:gd name="T29" fmla="*/ 444 h 1065"/>
                <a:gd name="T30" fmla="*/ 345 w 676"/>
                <a:gd name="T31" fmla="*/ 461 h 1065"/>
                <a:gd name="T32" fmla="*/ 239 w 676"/>
                <a:gd name="T33" fmla="*/ 444 h 1065"/>
                <a:gd name="T34" fmla="*/ 487 w 676"/>
                <a:gd name="T35" fmla="*/ 453 h 1065"/>
                <a:gd name="T36" fmla="*/ 492 w 676"/>
                <a:gd name="T37" fmla="*/ 470 h 1065"/>
                <a:gd name="T38" fmla="*/ 362 w 676"/>
                <a:gd name="T39" fmla="*/ 510 h 1065"/>
                <a:gd name="T40" fmla="*/ 503 w 676"/>
                <a:gd name="T41" fmla="*/ 581 h 1065"/>
                <a:gd name="T42" fmla="*/ 617 w 676"/>
                <a:gd name="T43" fmla="*/ 626 h 1065"/>
                <a:gd name="T44" fmla="*/ 584 w 676"/>
                <a:gd name="T45" fmla="*/ 527 h 1065"/>
                <a:gd name="T46" fmla="*/ 617 w 676"/>
                <a:gd name="T47" fmla="*/ 626 h 1065"/>
                <a:gd name="T48" fmla="*/ 218 w 676"/>
                <a:gd name="T49" fmla="*/ 555 h 1065"/>
                <a:gd name="T50" fmla="*/ 293 w 676"/>
                <a:gd name="T51" fmla="*/ 538 h 1065"/>
                <a:gd name="T52" fmla="*/ 433 w 676"/>
                <a:gd name="T53" fmla="*/ 621 h 1065"/>
                <a:gd name="T54" fmla="*/ 369 w 676"/>
                <a:gd name="T55" fmla="*/ 572 h 1065"/>
                <a:gd name="T56" fmla="*/ 529 w 676"/>
                <a:gd name="T57" fmla="*/ 581 h 1065"/>
                <a:gd name="T58" fmla="*/ 525 w 676"/>
                <a:gd name="T59" fmla="*/ 638 h 1065"/>
                <a:gd name="T60" fmla="*/ 546 w 676"/>
                <a:gd name="T61" fmla="*/ 692 h 1065"/>
                <a:gd name="T62" fmla="*/ 189 w 676"/>
                <a:gd name="T63" fmla="*/ 666 h 1065"/>
                <a:gd name="T64" fmla="*/ 24 w 676"/>
                <a:gd name="T65" fmla="*/ 803 h 1065"/>
                <a:gd name="T66" fmla="*/ 168 w 676"/>
                <a:gd name="T67" fmla="*/ 659 h 1065"/>
                <a:gd name="T68" fmla="*/ 185 w 676"/>
                <a:gd name="T69" fmla="*/ 642 h 1065"/>
                <a:gd name="T70" fmla="*/ 475 w 676"/>
                <a:gd name="T71" fmla="*/ 666 h 1065"/>
                <a:gd name="T72" fmla="*/ 449 w 676"/>
                <a:gd name="T73" fmla="*/ 675 h 1065"/>
                <a:gd name="T74" fmla="*/ 416 w 676"/>
                <a:gd name="T75" fmla="*/ 699 h 1065"/>
                <a:gd name="T76" fmla="*/ 617 w 676"/>
                <a:gd name="T77" fmla="*/ 649 h 1065"/>
                <a:gd name="T78" fmla="*/ 407 w 676"/>
                <a:gd name="T79" fmla="*/ 659 h 1065"/>
                <a:gd name="T80" fmla="*/ 513 w 676"/>
                <a:gd name="T81" fmla="*/ 659 h 1065"/>
                <a:gd name="T82" fmla="*/ 201 w 676"/>
                <a:gd name="T83" fmla="*/ 666 h 1065"/>
                <a:gd name="T84" fmla="*/ 529 w 676"/>
                <a:gd name="T85" fmla="*/ 699 h 1065"/>
                <a:gd name="T86" fmla="*/ 529 w 676"/>
                <a:gd name="T87" fmla="*/ 699 h 1065"/>
                <a:gd name="T88" fmla="*/ 638 w 676"/>
                <a:gd name="T89" fmla="*/ 720 h 1065"/>
                <a:gd name="T90" fmla="*/ 407 w 676"/>
                <a:gd name="T91" fmla="*/ 886 h 1065"/>
                <a:gd name="T92" fmla="*/ 421 w 676"/>
                <a:gd name="T93" fmla="*/ 831 h 1065"/>
                <a:gd name="T94" fmla="*/ 513 w 676"/>
                <a:gd name="T95" fmla="*/ 815 h 1065"/>
                <a:gd name="T96" fmla="*/ 631 w 676"/>
                <a:gd name="T97" fmla="*/ 737 h 1065"/>
                <a:gd name="T98" fmla="*/ 664 w 676"/>
                <a:gd name="T99" fmla="*/ 860 h 1065"/>
                <a:gd name="T100" fmla="*/ 622 w 676"/>
                <a:gd name="T101" fmla="*/ 914 h 1065"/>
                <a:gd name="T102" fmla="*/ 584 w 676"/>
                <a:gd name="T103" fmla="*/ 1025 h 1065"/>
                <a:gd name="T104" fmla="*/ 492 w 676"/>
                <a:gd name="T105" fmla="*/ 869 h 1065"/>
                <a:gd name="T106" fmla="*/ 454 w 676"/>
                <a:gd name="T107" fmla="*/ 758 h 1065"/>
                <a:gd name="T108" fmla="*/ 546 w 676"/>
                <a:gd name="T109" fmla="*/ 770 h 1065"/>
                <a:gd name="T110" fmla="*/ 416 w 676"/>
                <a:gd name="T111" fmla="*/ 898 h 1065"/>
                <a:gd name="T112" fmla="*/ 622 w 676"/>
                <a:gd name="T113" fmla="*/ 914 h 1065"/>
                <a:gd name="T114" fmla="*/ 352 w 676"/>
                <a:gd name="T115" fmla="*/ 959 h 1065"/>
                <a:gd name="T116" fmla="*/ 255 w 676"/>
                <a:gd name="T117" fmla="*/ 959 h 1065"/>
                <a:gd name="T118" fmla="*/ 310 w 676"/>
                <a:gd name="T119" fmla="*/ 997 h 1065"/>
                <a:gd name="T120" fmla="*/ 277 w 676"/>
                <a:gd name="T121" fmla="*/ 1025 h 1065"/>
                <a:gd name="T122" fmla="*/ 206 w 676"/>
                <a:gd name="T123" fmla="*/ 1065 h 10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676" h="1065">
                  <a:moveTo>
                    <a:pt x="352" y="0"/>
                  </a:moveTo>
                  <a:lnTo>
                    <a:pt x="345" y="0"/>
                  </a:lnTo>
                  <a:lnTo>
                    <a:pt x="352" y="0"/>
                  </a:lnTo>
                  <a:lnTo>
                    <a:pt x="352" y="0"/>
                  </a:lnTo>
                  <a:lnTo>
                    <a:pt x="352" y="0"/>
                  </a:lnTo>
                  <a:close/>
                  <a:moveTo>
                    <a:pt x="324" y="16"/>
                  </a:moveTo>
                  <a:lnTo>
                    <a:pt x="314" y="12"/>
                  </a:lnTo>
                  <a:lnTo>
                    <a:pt x="324" y="12"/>
                  </a:lnTo>
                  <a:lnTo>
                    <a:pt x="324" y="16"/>
                  </a:lnTo>
                  <a:lnTo>
                    <a:pt x="324" y="16"/>
                  </a:lnTo>
                  <a:lnTo>
                    <a:pt x="324" y="16"/>
                  </a:lnTo>
                  <a:close/>
                  <a:moveTo>
                    <a:pt x="345" y="54"/>
                  </a:moveTo>
                  <a:lnTo>
                    <a:pt x="345" y="38"/>
                  </a:lnTo>
                  <a:lnTo>
                    <a:pt x="352" y="38"/>
                  </a:lnTo>
                  <a:lnTo>
                    <a:pt x="345" y="54"/>
                  </a:lnTo>
                  <a:lnTo>
                    <a:pt x="345" y="54"/>
                  </a:lnTo>
                  <a:lnTo>
                    <a:pt x="345" y="54"/>
                  </a:lnTo>
                  <a:close/>
                  <a:moveTo>
                    <a:pt x="310" y="50"/>
                  </a:moveTo>
                  <a:lnTo>
                    <a:pt x="314" y="50"/>
                  </a:lnTo>
                  <a:lnTo>
                    <a:pt x="310" y="50"/>
                  </a:lnTo>
                  <a:lnTo>
                    <a:pt x="310" y="50"/>
                  </a:lnTo>
                  <a:lnTo>
                    <a:pt x="310" y="50"/>
                  </a:lnTo>
                  <a:close/>
                  <a:moveTo>
                    <a:pt x="433" y="437"/>
                  </a:moveTo>
                  <a:lnTo>
                    <a:pt x="449" y="420"/>
                  </a:lnTo>
                  <a:lnTo>
                    <a:pt x="437" y="404"/>
                  </a:lnTo>
                  <a:lnTo>
                    <a:pt x="449" y="404"/>
                  </a:lnTo>
                  <a:lnTo>
                    <a:pt x="454" y="416"/>
                  </a:lnTo>
                  <a:lnTo>
                    <a:pt x="492" y="427"/>
                  </a:lnTo>
                  <a:lnTo>
                    <a:pt x="459" y="427"/>
                  </a:lnTo>
                  <a:lnTo>
                    <a:pt x="459" y="437"/>
                  </a:lnTo>
                  <a:lnTo>
                    <a:pt x="487" y="470"/>
                  </a:lnTo>
                  <a:lnTo>
                    <a:pt x="475" y="470"/>
                  </a:lnTo>
                  <a:lnTo>
                    <a:pt x="475" y="477"/>
                  </a:lnTo>
                  <a:lnTo>
                    <a:pt x="487" y="470"/>
                  </a:lnTo>
                  <a:lnTo>
                    <a:pt x="503" y="482"/>
                  </a:lnTo>
                  <a:lnTo>
                    <a:pt x="508" y="477"/>
                  </a:lnTo>
                  <a:lnTo>
                    <a:pt x="503" y="515"/>
                  </a:lnTo>
                  <a:lnTo>
                    <a:pt x="492" y="515"/>
                  </a:lnTo>
                  <a:lnTo>
                    <a:pt x="487" y="498"/>
                  </a:lnTo>
                  <a:lnTo>
                    <a:pt x="487" y="494"/>
                  </a:lnTo>
                  <a:lnTo>
                    <a:pt x="492" y="494"/>
                  </a:lnTo>
                  <a:lnTo>
                    <a:pt x="503" y="482"/>
                  </a:lnTo>
                  <a:lnTo>
                    <a:pt x="487" y="482"/>
                  </a:lnTo>
                  <a:lnTo>
                    <a:pt x="475" y="494"/>
                  </a:lnTo>
                  <a:lnTo>
                    <a:pt x="454" y="477"/>
                  </a:lnTo>
                  <a:lnTo>
                    <a:pt x="449" y="482"/>
                  </a:lnTo>
                  <a:lnTo>
                    <a:pt x="437" y="453"/>
                  </a:lnTo>
                  <a:lnTo>
                    <a:pt x="416" y="437"/>
                  </a:lnTo>
                  <a:lnTo>
                    <a:pt x="416" y="427"/>
                  </a:lnTo>
                  <a:lnTo>
                    <a:pt x="395" y="416"/>
                  </a:lnTo>
                  <a:lnTo>
                    <a:pt x="395" y="427"/>
                  </a:lnTo>
                  <a:lnTo>
                    <a:pt x="407" y="470"/>
                  </a:lnTo>
                  <a:lnTo>
                    <a:pt x="400" y="470"/>
                  </a:lnTo>
                  <a:lnTo>
                    <a:pt x="383" y="444"/>
                  </a:lnTo>
                  <a:lnTo>
                    <a:pt x="340" y="416"/>
                  </a:lnTo>
                  <a:lnTo>
                    <a:pt x="314" y="420"/>
                  </a:lnTo>
                  <a:lnTo>
                    <a:pt x="310" y="437"/>
                  </a:lnTo>
                  <a:lnTo>
                    <a:pt x="293" y="437"/>
                  </a:lnTo>
                  <a:lnTo>
                    <a:pt x="277" y="416"/>
                  </a:lnTo>
                  <a:lnTo>
                    <a:pt x="260" y="416"/>
                  </a:lnTo>
                  <a:lnTo>
                    <a:pt x="260" y="427"/>
                  </a:lnTo>
                  <a:lnTo>
                    <a:pt x="255" y="387"/>
                  </a:lnTo>
                  <a:lnTo>
                    <a:pt x="286" y="371"/>
                  </a:lnTo>
                  <a:lnTo>
                    <a:pt x="286" y="366"/>
                  </a:lnTo>
                  <a:lnTo>
                    <a:pt x="277" y="349"/>
                  </a:lnTo>
                  <a:lnTo>
                    <a:pt x="255" y="349"/>
                  </a:lnTo>
                  <a:lnTo>
                    <a:pt x="255" y="371"/>
                  </a:lnTo>
                  <a:lnTo>
                    <a:pt x="244" y="383"/>
                  </a:lnTo>
                  <a:lnTo>
                    <a:pt x="234" y="361"/>
                  </a:lnTo>
                  <a:lnTo>
                    <a:pt x="239" y="349"/>
                  </a:lnTo>
                  <a:lnTo>
                    <a:pt x="222" y="349"/>
                  </a:lnTo>
                  <a:lnTo>
                    <a:pt x="218" y="316"/>
                  </a:lnTo>
                  <a:lnTo>
                    <a:pt x="206" y="305"/>
                  </a:lnTo>
                  <a:lnTo>
                    <a:pt x="206" y="272"/>
                  </a:lnTo>
                  <a:lnTo>
                    <a:pt x="206" y="260"/>
                  </a:lnTo>
                  <a:lnTo>
                    <a:pt x="201" y="272"/>
                  </a:lnTo>
                  <a:lnTo>
                    <a:pt x="201" y="250"/>
                  </a:lnTo>
                  <a:lnTo>
                    <a:pt x="206" y="234"/>
                  </a:lnTo>
                  <a:lnTo>
                    <a:pt x="222" y="260"/>
                  </a:lnTo>
                  <a:lnTo>
                    <a:pt x="244" y="250"/>
                  </a:lnTo>
                  <a:lnTo>
                    <a:pt x="239" y="217"/>
                  </a:lnTo>
                  <a:lnTo>
                    <a:pt x="244" y="194"/>
                  </a:lnTo>
                  <a:lnTo>
                    <a:pt x="244" y="161"/>
                  </a:lnTo>
                  <a:lnTo>
                    <a:pt x="239" y="144"/>
                  </a:lnTo>
                  <a:lnTo>
                    <a:pt x="260" y="73"/>
                  </a:lnTo>
                  <a:lnTo>
                    <a:pt x="293" y="66"/>
                  </a:lnTo>
                  <a:lnTo>
                    <a:pt x="352" y="94"/>
                  </a:lnTo>
                  <a:lnTo>
                    <a:pt x="362" y="90"/>
                  </a:lnTo>
                  <a:lnTo>
                    <a:pt x="369" y="73"/>
                  </a:lnTo>
                  <a:lnTo>
                    <a:pt x="378" y="90"/>
                  </a:lnTo>
                  <a:lnTo>
                    <a:pt x="378" y="94"/>
                  </a:lnTo>
                  <a:lnTo>
                    <a:pt x="369" y="106"/>
                  </a:lnTo>
                  <a:lnTo>
                    <a:pt x="362" y="127"/>
                  </a:lnTo>
                  <a:lnTo>
                    <a:pt x="369" y="161"/>
                  </a:lnTo>
                  <a:lnTo>
                    <a:pt x="383" y="165"/>
                  </a:lnTo>
                  <a:lnTo>
                    <a:pt x="383" y="177"/>
                  </a:lnTo>
                  <a:lnTo>
                    <a:pt x="395" y="177"/>
                  </a:lnTo>
                  <a:lnTo>
                    <a:pt x="383" y="198"/>
                  </a:lnTo>
                  <a:lnTo>
                    <a:pt x="369" y="234"/>
                  </a:lnTo>
                  <a:lnTo>
                    <a:pt x="369" y="250"/>
                  </a:lnTo>
                  <a:lnTo>
                    <a:pt x="362" y="255"/>
                  </a:lnTo>
                  <a:lnTo>
                    <a:pt x="352" y="260"/>
                  </a:lnTo>
                  <a:lnTo>
                    <a:pt x="362" y="250"/>
                  </a:lnTo>
                  <a:lnTo>
                    <a:pt x="324" y="272"/>
                  </a:lnTo>
                  <a:lnTo>
                    <a:pt x="331" y="288"/>
                  </a:lnTo>
                  <a:lnTo>
                    <a:pt x="310" y="309"/>
                  </a:lnTo>
                  <a:lnTo>
                    <a:pt x="331" y="361"/>
                  </a:lnTo>
                  <a:lnTo>
                    <a:pt x="331" y="366"/>
                  </a:lnTo>
                  <a:lnTo>
                    <a:pt x="340" y="399"/>
                  </a:lnTo>
                  <a:lnTo>
                    <a:pt x="369" y="416"/>
                  </a:lnTo>
                  <a:lnTo>
                    <a:pt x="378" y="404"/>
                  </a:lnTo>
                  <a:lnTo>
                    <a:pt x="369" y="399"/>
                  </a:lnTo>
                  <a:lnTo>
                    <a:pt x="369" y="387"/>
                  </a:lnTo>
                  <a:lnTo>
                    <a:pt x="378" y="404"/>
                  </a:lnTo>
                  <a:lnTo>
                    <a:pt x="383" y="383"/>
                  </a:lnTo>
                  <a:lnTo>
                    <a:pt x="407" y="387"/>
                  </a:lnTo>
                  <a:lnTo>
                    <a:pt x="433" y="416"/>
                  </a:lnTo>
                  <a:lnTo>
                    <a:pt x="433" y="437"/>
                  </a:lnTo>
                  <a:lnTo>
                    <a:pt x="433" y="437"/>
                  </a:lnTo>
                  <a:lnTo>
                    <a:pt x="433" y="437"/>
                  </a:lnTo>
                  <a:close/>
                  <a:moveTo>
                    <a:pt x="218" y="250"/>
                  </a:moveTo>
                  <a:lnTo>
                    <a:pt x="206" y="238"/>
                  </a:lnTo>
                  <a:lnTo>
                    <a:pt x="218" y="238"/>
                  </a:lnTo>
                  <a:lnTo>
                    <a:pt x="218" y="250"/>
                  </a:lnTo>
                  <a:lnTo>
                    <a:pt x="218" y="250"/>
                  </a:lnTo>
                  <a:lnTo>
                    <a:pt x="218" y="250"/>
                  </a:lnTo>
                  <a:close/>
                  <a:moveTo>
                    <a:pt x="352" y="366"/>
                  </a:moveTo>
                  <a:lnTo>
                    <a:pt x="340" y="342"/>
                  </a:lnTo>
                  <a:lnTo>
                    <a:pt x="352" y="333"/>
                  </a:lnTo>
                  <a:lnTo>
                    <a:pt x="362" y="342"/>
                  </a:lnTo>
                  <a:lnTo>
                    <a:pt x="352" y="342"/>
                  </a:lnTo>
                  <a:lnTo>
                    <a:pt x="352" y="361"/>
                  </a:lnTo>
                  <a:lnTo>
                    <a:pt x="352" y="366"/>
                  </a:lnTo>
                  <a:lnTo>
                    <a:pt x="352" y="366"/>
                  </a:lnTo>
                  <a:lnTo>
                    <a:pt x="352" y="366"/>
                  </a:lnTo>
                  <a:close/>
                  <a:moveTo>
                    <a:pt x="369" y="361"/>
                  </a:moveTo>
                  <a:lnTo>
                    <a:pt x="362" y="349"/>
                  </a:lnTo>
                  <a:lnTo>
                    <a:pt x="369" y="349"/>
                  </a:lnTo>
                  <a:lnTo>
                    <a:pt x="369" y="361"/>
                  </a:lnTo>
                  <a:lnTo>
                    <a:pt x="369" y="361"/>
                  </a:lnTo>
                  <a:lnTo>
                    <a:pt x="369" y="361"/>
                  </a:lnTo>
                  <a:close/>
                  <a:moveTo>
                    <a:pt x="508" y="444"/>
                  </a:moveTo>
                  <a:lnTo>
                    <a:pt x="503" y="437"/>
                  </a:lnTo>
                  <a:lnTo>
                    <a:pt x="503" y="420"/>
                  </a:lnTo>
                  <a:lnTo>
                    <a:pt x="503" y="404"/>
                  </a:lnTo>
                  <a:lnTo>
                    <a:pt x="508" y="404"/>
                  </a:lnTo>
                  <a:lnTo>
                    <a:pt x="525" y="420"/>
                  </a:lnTo>
                  <a:lnTo>
                    <a:pt x="513" y="444"/>
                  </a:lnTo>
                  <a:lnTo>
                    <a:pt x="513" y="437"/>
                  </a:lnTo>
                  <a:lnTo>
                    <a:pt x="508" y="444"/>
                  </a:lnTo>
                  <a:lnTo>
                    <a:pt x="508" y="444"/>
                  </a:lnTo>
                  <a:lnTo>
                    <a:pt x="508" y="444"/>
                  </a:lnTo>
                  <a:close/>
                  <a:moveTo>
                    <a:pt x="234" y="437"/>
                  </a:moveTo>
                  <a:lnTo>
                    <a:pt x="222" y="420"/>
                  </a:lnTo>
                  <a:lnTo>
                    <a:pt x="234" y="420"/>
                  </a:lnTo>
                  <a:lnTo>
                    <a:pt x="234" y="437"/>
                  </a:lnTo>
                  <a:lnTo>
                    <a:pt x="234" y="437"/>
                  </a:lnTo>
                  <a:lnTo>
                    <a:pt x="234" y="437"/>
                  </a:lnTo>
                  <a:close/>
                  <a:moveTo>
                    <a:pt x="352" y="470"/>
                  </a:moveTo>
                  <a:lnTo>
                    <a:pt x="345" y="461"/>
                  </a:lnTo>
                  <a:lnTo>
                    <a:pt x="345" y="444"/>
                  </a:lnTo>
                  <a:lnTo>
                    <a:pt x="362" y="453"/>
                  </a:lnTo>
                  <a:lnTo>
                    <a:pt x="352" y="470"/>
                  </a:lnTo>
                  <a:lnTo>
                    <a:pt x="352" y="470"/>
                  </a:lnTo>
                  <a:lnTo>
                    <a:pt x="352" y="470"/>
                  </a:lnTo>
                  <a:close/>
                  <a:moveTo>
                    <a:pt x="314" y="531"/>
                  </a:moveTo>
                  <a:lnTo>
                    <a:pt x="293" y="538"/>
                  </a:lnTo>
                  <a:lnTo>
                    <a:pt x="272" y="498"/>
                  </a:lnTo>
                  <a:lnTo>
                    <a:pt x="260" y="477"/>
                  </a:lnTo>
                  <a:lnTo>
                    <a:pt x="239" y="444"/>
                  </a:lnTo>
                  <a:lnTo>
                    <a:pt x="286" y="444"/>
                  </a:lnTo>
                  <a:lnTo>
                    <a:pt x="324" y="470"/>
                  </a:lnTo>
                  <a:lnTo>
                    <a:pt x="314" y="498"/>
                  </a:lnTo>
                  <a:lnTo>
                    <a:pt x="324" y="510"/>
                  </a:lnTo>
                  <a:lnTo>
                    <a:pt x="314" y="527"/>
                  </a:lnTo>
                  <a:lnTo>
                    <a:pt x="314" y="531"/>
                  </a:lnTo>
                  <a:lnTo>
                    <a:pt x="314" y="531"/>
                  </a:lnTo>
                  <a:lnTo>
                    <a:pt x="314" y="531"/>
                  </a:lnTo>
                  <a:close/>
                  <a:moveTo>
                    <a:pt x="487" y="470"/>
                  </a:moveTo>
                  <a:lnTo>
                    <a:pt x="487" y="453"/>
                  </a:lnTo>
                  <a:lnTo>
                    <a:pt x="492" y="461"/>
                  </a:lnTo>
                  <a:lnTo>
                    <a:pt x="487" y="470"/>
                  </a:lnTo>
                  <a:lnTo>
                    <a:pt x="487" y="470"/>
                  </a:lnTo>
                  <a:lnTo>
                    <a:pt x="487" y="470"/>
                  </a:lnTo>
                  <a:close/>
                  <a:moveTo>
                    <a:pt x="492" y="470"/>
                  </a:moveTo>
                  <a:lnTo>
                    <a:pt x="492" y="461"/>
                  </a:lnTo>
                  <a:lnTo>
                    <a:pt x="503" y="461"/>
                  </a:lnTo>
                  <a:lnTo>
                    <a:pt x="492" y="470"/>
                  </a:lnTo>
                  <a:lnTo>
                    <a:pt x="492" y="470"/>
                  </a:lnTo>
                  <a:lnTo>
                    <a:pt x="492" y="470"/>
                  </a:lnTo>
                  <a:close/>
                  <a:moveTo>
                    <a:pt x="454" y="510"/>
                  </a:moveTo>
                  <a:lnTo>
                    <a:pt x="421" y="477"/>
                  </a:lnTo>
                  <a:lnTo>
                    <a:pt x="433" y="477"/>
                  </a:lnTo>
                  <a:lnTo>
                    <a:pt x="454" y="510"/>
                  </a:lnTo>
                  <a:lnTo>
                    <a:pt x="454" y="510"/>
                  </a:lnTo>
                  <a:lnTo>
                    <a:pt x="454" y="510"/>
                  </a:lnTo>
                  <a:close/>
                  <a:moveTo>
                    <a:pt x="352" y="548"/>
                  </a:moveTo>
                  <a:lnTo>
                    <a:pt x="345" y="531"/>
                  </a:lnTo>
                  <a:lnTo>
                    <a:pt x="352" y="515"/>
                  </a:lnTo>
                  <a:lnTo>
                    <a:pt x="362" y="510"/>
                  </a:lnTo>
                  <a:lnTo>
                    <a:pt x="352" y="548"/>
                  </a:lnTo>
                  <a:lnTo>
                    <a:pt x="352" y="548"/>
                  </a:lnTo>
                  <a:lnTo>
                    <a:pt x="352" y="548"/>
                  </a:lnTo>
                  <a:close/>
                  <a:moveTo>
                    <a:pt x="475" y="531"/>
                  </a:moveTo>
                  <a:lnTo>
                    <a:pt x="470" y="510"/>
                  </a:lnTo>
                  <a:lnTo>
                    <a:pt x="475" y="510"/>
                  </a:lnTo>
                  <a:lnTo>
                    <a:pt x="475" y="531"/>
                  </a:lnTo>
                  <a:lnTo>
                    <a:pt x="475" y="531"/>
                  </a:lnTo>
                  <a:lnTo>
                    <a:pt x="475" y="531"/>
                  </a:lnTo>
                  <a:close/>
                  <a:moveTo>
                    <a:pt x="503" y="581"/>
                  </a:moveTo>
                  <a:lnTo>
                    <a:pt x="459" y="538"/>
                  </a:lnTo>
                  <a:lnTo>
                    <a:pt x="437" y="564"/>
                  </a:lnTo>
                  <a:lnTo>
                    <a:pt x="449" y="538"/>
                  </a:lnTo>
                  <a:lnTo>
                    <a:pt x="437" y="510"/>
                  </a:lnTo>
                  <a:lnTo>
                    <a:pt x="492" y="538"/>
                  </a:lnTo>
                  <a:lnTo>
                    <a:pt x="503" y="555"/>
                  </a:lnTo>
                  <a:lnTo>
                    <a:pt x="503" y="581"/>
                  </a:lnTo>
                  <a:lnTo>
                    <a:pt x="503" y="581"/>
                  </a:lnTo>
                  <a:lnTo>
                    <a:pt x="503" y="581"/>
                  </a:lnTo>
                  <a:close/>
                  <a:moveTo>
                    <a:pt x="617" y="626"/>
                  </a:moveTo>
                  <a:lnTo>
                    <a:pt x="610" y="621"/>
                  </a:lnTo>
                  <a:lnTo>
                    <a:pt x="584" y="621"/>
                  </a:lnTo>
                  <a:lnTo>
                    <a:pt x="563" y="593"/>
                  </a:lnTo>
                  <a:lnTo>
                    <a:pt x="555" y="593"/>
                  </a:lnTo>
                  <a:lnTo>
                    <a:pt x="567" y="572"/>
                  </a:lnTo>
                  <a:lnTo>
                    <a:pt x="525" y="538"/>
                  </a:lnTo>
                  <a:lnTo>
                    <a:pt x="513" y="515"/>
                  </a:lnTo>
                  <a:lnTo>
                    <a:pt x="541" y="515"/>
                  </a:lnTo>
                  <a:lnTo>
                    <a:pt x="579" y="515"/>
                  </a:lnTo>
                  <a:lnTo>
                    <a:pt x="584" y="527"/>
                  </a:lnTo>
                  <a:lnTo>
                    <a:pt x="584" y="531"/>
                  </a:lnTo>
                  <a:lnTo>
                    <a:pt x="600" y="538"/>
                  </a:lnTo>
                  <a:lnTo>
                    <a:pt x="593" y="548"/>
                  </a:lnTo>
                  <a:lnTo>
                    <a:pt x="600" y="548"/>
                  </a:lnTo>
                  <a:lnTo>
                    <a:pt x="593" y="555"/>
                  </a:lnTo>
                  <a:lnTo>
                    <a:pt x="593" y="588"/>
                  </a:lnTo>
                  <a:lnTo>
                    <a:pt x="610" y="605"/>
                  </a:lnTo>
                  <a:lnTo>
                    <a:pt x="600" y="609"/>
                  </a:lnTo>
                  <a:lnTo>
                    <a:pt x="610" y="609"/>
                  </a:lnTo>
                  <a:lnTo>
                    <a:pt x="617" y="626"/>
                  </a:lnTo>
                  <a:lnTo>
                    <a:pt x="617" y="626"/>
                  </a:lnTo>
                  <a:lnTo>
                    <a:pt x="617" y="626"/>
                  </a:lnTo>
                  <a:close/>
                  <a:moveTo>
                    <a:pt x="400" y="538"/>
                  </a:moveTo>
                  <a:lnTo>
                    <a:pt x="383" y="527"/>
                  </a:lnTo>
                  <a:lnTo>
                    <a:pt x="400" y="527"/>
                  </a:lnTo>
                  <a:lnTo>
                    <a:pt x="400" y="538"/>
                  </a:lnTo>
                  <a:lnTo>
                    <a:pt x="400" y="538"/>
                  </a:lnTo>
                  <a:lnTo>
                    <a:pt x="400" y="538"/>
                  </a:lnTo>
                  <a:close/>
                  <a:moveTo>
                    <a:pt x="234" y="555"/>
                  </a:moveTo>
                  <a:lnTo>
                    <a:pt x="218" y="555"/>
                  </a:lnTo>
                  <a:lnTo>
                    <a:pt x="206" y="531"/>
                  </a:lnTo>
                  <a:lnTo>
                    <a:pt x="239" y="548"/>
                  </a:lnTo>
                  <a:lnTo>
                    <a:pt x="239" y="555"/>
                  </a:lnTo>
                  <a:lnTo>
                    <a:pt x="234" y="555"/>
                  </a:lnTo>
                  <a:lnTo>
                    <a:pt x="234" y="555"/>
                  </a:lnTo>
                  <a:lnTo>
                    <a:pt x="234" y="555"/>
                  </a:lnTo>
                  <a:close/>
                  <a:moveTo>
                    <a:pt x="293" y="538"/>
                  </a:moveTo>
                  <a:lnTo>
                    <a:pt x="293" y="548"/>
                  </a:lnTo>
                  <a:lnTo>
                    <a:pt x="286" y="538"/>
                  </a:lnTo>
                  <a:lnTo>
                    <a:pt x="293" y="538"/>
                  </a:lnTo>
                  <a:lnTo>
                    <a:pt x="293" y="538"/>
                  </a:lnTo>
                  <a:lnTo>
                    <a:pt x="293" y="538"/>
                  </a:lnTo>
                  <a:close/>
                  <a:moveTo>
                    <a:pt x="206" y="581"/>
                  </a:moveTo>
                  <a:lnTo>
                    <a:pt x="206" y="555"/>
                  </a:lnTo>
                  <a:lnTo>
                    <a:pt x="222" y="564"/>
                  </a:lnTo>
                  <a:lnTo>
                    <a:pt x="206" y="581"/>
                  </a:lnTo>
                  <a:lnTo>
                    <a:pt x="206" y="581"/>
                  </a:lnTo>
                  <a:lnTo>
                    <a:pt x="206" y="581"/>
                  </a:lnTo>
                  <a:close/>
                  <a:moveTo>
                    <a:pt x="433" y="609"/>
                  </a:moveTo>
                  <a:lnTo>
                    <a:pt x="433" y="621"/>
                  </a:lnTo>
                  <a:lnTo>
                    <a:pt x="407" y="638"/>
                  </a:lnTo>
                  <a:lnTo>
                    <a:pt x="407" y="642"/>
                  </a:lnTo>
                  <a:lnTo>
                    <a:pt x="369" y="659"/>
                  </a:lnTo>
                  <a:lnTo>
                    <a:pt x="352" y="675"/>
                  </a:lnTo>
                  <a:lnTo>
                    <a:pt x="345" y="666"/>
                  </a:lnTo>
                  <a:lnTo>
                    <a:pt x="362" y="581"/>
                  </a:lnTo>
                  <a:lnTo>
                    <a:pt x="362" y="572"/>
                  </a:lnTo>
                  <a:lnTo>
                    <a:pt x="345" y="572"/>
                  </a:lnTo>
                  <a:lnTo>
                    <a:pt x="345" y="564"/>
                  </a:lnTo>
                  <a:lnTo>
                    <a:pt x="369" y="572"/>
                  </a:lnTo>
                  <a:lnTo>
                    <a:pt x="395" y="588"/>
                  </a:lnTo>
                  <a:lnTo>
                    <a:pt x="416" y="588"/>
                  </a:lnTo>
                  <a:lnTo>
                    <a:pt x="416" y="593"/>
                  </a:lnTo>
                  <a:lnTo>
                    <a:pt x="437" y="588"/>
                  </a:lnTo>
                  <a:lnTo>
                    <a:pt x="433" y="609"/>
                  </a:lnTo>
                  <a:lnTo>
                    <a:pt x="433" y="609"/>
                  </a:lnTo>
                  <a:lnTo>
                    <a:pt x="433" y="609"/>
                  </a:lnTo>
                  <a:close/>
                  <a:moveTo>
                    <a:pt x="529" y="593"/>
                  </a:moveTo>
                  <a:lnTo>
                    <a:pt x="513" y="581"/>
                  </a:lnTo>
                  <a:lnTo>
                    <a:pt x="529" y="581"/>
                  </a:lnTo>
                  <a:lnTo>
                    <a:pt x="541" y="588"/>
                  </a:lnTo>
                  <a:lnTo>
                    <a:pt x="529" y="593"/>
                  </a:lnTo>
                  <a:lnTo>
                    <a:pt x="529" y="593"/>
                  </a:lnTo>
                  <a:lnTo>
                    <a:pt x="529" y="593"/>
                  </a:lnTo>
                  <a:close/>
                  <a:moveTo>
                    <a:pt x="546" y="659"/>
                  </a:moveTo>
                  <a:lnTo>
                    <a:pt x="555" y="649"/>
                  </a:lnTo>
                  <a:lnTo>
                    <a:pt x="541" y="638"/>
                  </a:lnTo>
                  <a:lnTo>
                    <a:pt x="529" y="626"/>
                  </a:lnTo>
                  <a:lnTo>
                    <a:pt x="529" y="638"/>
                  </a:lnTo>
                  <a:lnTo>
                    <a:pt x="525" y="638"/>
                  </a:lnTo>
                  <a:lnTo>
                    <a:pt x="513" y="588"/>
                  </a:lnTo>
                  <a:lnTo>
                    <a:pt x="541" y="605"/>
                  </a:lnTo>
                  <a:lnTo>
                    <a:pt x="555" y="593"/>
                  </a:lnTo>
                  <a:lnTo>
                    <a:pt x="563" y="605"/>
                  </a:lnTo>
                  <a:lnTo>
                    <a:pt x="563" y="649"/>
                  </a:lnTo>
                  <a:lnTo>
                    <a:pt x="584" y="683"/>
                  </a:lnTo>
                  <a:lnTo>
                    <a:pt x="567" y="692"/>
                  </a:lnTo>
                  <a:lnTo>
                    <a:pt x="563" y="675"/>
                  </a:lnTo>
                  <a:lnTo>
                    <a:pt x="567" y="699"/>
                  </a:lnTo>
                  <a:lnTo>
                    <a:pt x="546" y="692"/>
                  </a:lnTo>
                  <a:lnTo>
                    <a:pt x="546" y="659"/>
                  </a:lnTo>
                  <a:lnTo>
                    <a:pt x="546" y="659"/>
                  </a:lnTo>
                  <a:lnTo>
                    <a:pt x="546" y="659"/>
                  </a:lnTo>
                  <a:close/>
                  <a:moveTo>
                    <a:pt x="201" y="605"/>
                  </a:moveTo>
                  <a:lnTo>
                    <a:pt x="189" y="593"/>
                  </a:lnTo>
                  <a:lnTo>
                    <a:pt x="206" y="593"/>
                  </a:lnTo>
                  <a:lnTo>
                    <a:pt x="201" y="605"/>
                  </a:lnTo>
                  <a:lnTo>
                    <a:pt x="201" y="605"/>
                  </a:lnTo>
                  <a:lnTo>
                    <a:pt x="201" y="605"/>
                  </a:lnTo>
                  <a:close/>
                  <a:moveTo>
                    <a:pt x="189" y="666"/>
                  </a:moveTo>
                  <a:lnTo>
                    <a:pt x="168" y="683"/>
                  </a:lnTo>
                  <a:lnTo>
                    <a:pt x="163" y="699"/>
                  </a:lnTo>
                  <a:lnTo>
                    <a:pt x="130" y="704"/>
                  </a:lnTo>
                  <a:lnTo>
                    <a:pt x="126" y="720"/>
                  </a:lnTo>
                  <a:lnTo>
                    <a:pt x="130" y="732"/>
                  </a:lnTo>
                  <a:lnTo>
                    <a:pt x="100" y="758"/>
                  </a:lnTo>
                  <a:lnTo>
                    <a:pt x="83" y="758"/>
                  </a:lnTo>
                  <a:lnTo>
                    <a:pt x="76" y="786"/>
                  </a:lnTo>
                  <a:lnTo>
                    <a:pt x="17" y="827"/>
                  </a:lnTo>
                  <a:lnTo>
                    <a:pt x="24" y="803"/>
                  </a:lnTo>
                  <a:lnTo>
                    <a:pt x="55" y="770"/>
                  </a:lnTo>
                  <a:lnTo>
                    <a:pt x="71" y="753"/>
                  </a:lnTo>
                  <a:lnTo>
                    <a:pt x="76" y="753"/>
                  </a:lnTo>
                  <a:lnTo>
                    <a:pt x="130" y="692"/>
                  </a:lnTo>
                  <a:lnTo>
                    <a:pt x="130" y="699"/>
                  </a:lnTo>
                  <a:lnTo>
                    <a:pt x="130" y="692"/>
                  </a:lnTo>
                  <a:lnTo>
                    <a:pt x="137" y="692"/>
                  </a:lnTo>
                  <a:lnTo>
                    <a:pt x="147" y="666"/>
                  </a:lnTo>
                  <a:lnTo>
                    <a:pt x="151" y="675"/>
                  </a:lnTo>
                  <a:lnTo>
                    <a:pt x="168" y="659"/>
                  </a:lnTo>
                  <a:lnTo>
                    <a:pt x="168" y="649"/>
                  </a:lnTo>
                  <a:lnTo>
                    <a:pt x="163" y="638"/>
                  </a:lnTo>
                  <a:lnTo>
                    <a:pt x="180" y="649"/>
                  </a:lnTo>
                  <a:lnTo>
                    <a:pt x="168" y="626"/>
                  </a:lnTo>
                  <a:lnTo>
                    <a:pt x="168" y="621"/>
                  </a:lnTo>
                  <a:lnTo>
                    <a:pt x="180" y="626"/>
                  </a:lnTo>
                  <a:lnTo>
                    <a:pt x="180" y="593"/>
                  </a:lnTo>
                  <a:lnTo>
                    <a:pt x="185" y="609"/>
                  </a:lnTo>
                  <a:lnTo>
                    <a:pt x="180" y="638"/>
                  </a:lnTo>
                  <a:lnTo>
                    <a:pt x="185" y="642"/>
                  </a:lnTo>
                  <a:lnTo>
                    <a:pt x="189" y="666"/>
                  </a:lnTo>
                  <a:lnTo>
                    <a:pt x="189" y="666"/>
                  </a:lnTo>
                  <a:lnTo>
                    <a:pt x="189" y="666"/>
                  </a:lnTo>
                  <a:close/>
                  <a:moveTo>
                    <a:pt x="475" y="621"/>
                  </a:moveTo>
                  <a:lnTo>
                    <a:pt x="475" y="605"/>
                  </a:lnTo>
                  <a:lnTo>
                    <a:pt x="475" y="621"/>
                  </a:lnTo>
                  <a:lnTo>
                    <a:pt x="475" y="621"/>
                  </a:lnTo>
                  <a:lnTo>
                    <a:pt x="475" y="621"/>
                  </a:lnTo>
                  <a:close/>
                  <a:moveTo>
                    <a:pt x="454" y="699"/>
                  </a:moveTo>
                  <a:lnTo>
                    <a:pt x="475" y="666"/>
                  </a:lnTo>
                  <a:lnTo>
                    <a:pt x="492" y="621"/>
                  </a:lnTo>
                  <a:lnTo>
                    <a:pt x="503" y="609"/>
                  </a:lnTo>
                  <a:lnTo>
                    <a:pt x="503" y="675"/>
                  </a:lnTo>
                  <a:lnTo>
                    <a:pt x="470" y="699"/>
                  </a:lnTo>
                  <a:lnTo>
                    <a:pt x="459" y="732"/>
                  </a:lnTo>
                  <a:lnTo>
                    <a:pt x="449" y="749"/>
                  </a:lnTo>
                  <a:lnTo>
                    <a:pt x="454" y="699"/>
                  </a:lnTo>
                  <a:lnTo>
                    <a:pt x="454" y="699"/>
                  </a:lnTo>
                  <a:lnTo>
                    <a:pt x="454" y="699"/>
                  </a:lnTo>
                  <a:close/>
                  <a:moveTo>
                    <a:pt x="449" y="675"/>
                  </a:moveTo>
                  <a:lnTo>
                    <a:pt x="433" y="732"/>
                  </a:lnTo>
                  <a:lnTo>
                    <a:pt x="449" y="753"/>
                  </a:lnTo>
                  <a:lnTo>
                    <a:pt x="437" y="770"/>
                  </a:lnTo>
                  <a:lnTo>
                    <a:pt x="421" y="770"/>
                  </a:lnTo>
                  <a:lnTo>
                    <a:pt x="416" y="753"/>
                  </a:lnTo>
                  <a:lnTo>
                    <a:pt x="395" y="737"/>
                  </a:lnTo>
                  <a:lnTo>
                    <a:pt x="383" y="716"/>
                  </a:lnTo>
                  <a:lnTo>
                    <a:pt x="383" y="704"/>
                  </a:lnTo>
                  <a:lnTo>
                    <a:pt x="400" y="704"/>
                  </a:lnTo>
                  <a:lnTo>
                    <a:pt x="416" y="699"/>
                  </a:lnTo>
                  <a:lnTo>
                    <a:pt x="416" y="659"/>
                  </a:lnTo>
                  <a:lnTo>
                    <a:pt x="421" y="649"/>
                  </a:lnTo>
                  <a:lnTo>
                    <a:pt x="421" y="638"/>
                  </a:lnTo>
                  <a:lnTo>
                    <a:pt x="437" y="626"/>
                  </a:lnTo>
                  <a:lnTo>
                    <a:pt x="459" y="638"/>
                  </a:lnTo>
                  <a:lnTo>
                    <a:pt x="459" y="642"/>
                  </a:lnTo>
                  <a:lnTo>
                    <a:pt x="449" y="675"/>
                  </a:lnTo>
                  <a:lnTo>
                    <a:pt x="449" y="675"/>
                  </a:lnTo>
                  <a:lnTo>
                    <a:pt x="449" y="675"/>
                  </a:lnTo>
                  <a:close/>
                  <a:moveTo>
                    <a:pt x="617" y="649"/>
                  </a:moveTo>
                  <a:lnTo>
                    <a:pt x="610" y="642"/>
                  </a:lnTo>
                  <a:lnTo>
                    <a:pt x="617" y="642"/>
                  </a:lnTo>
                  <a:lnTo>
                    <a:pt x="622" y="649"/>
                  </a:lnTo>
                  <a:lnTo>
                    <a:pt x="617" y="649"/>
                  </a:lnTo>
                  <a:lnTo>
                    <a:pt x="617" y="649"/>
                  </a:lnTo>
                  <a:lnTo>
                    <a:pt x="617" y="649"/>
                  </a:lnTo>
                  <a:close/>
                  <a:moveTo>
                    <a:pt x="395" y="675"/>
                  </a:moveTo>
                  <a:lnTo>
                    <a:pt x="383" y="666"/>
                  </a:lnTo>
                  <a:lnTo>
                    <a:pt x="400" y="649"/>
                  </a:lnTo>
                  <a:lnTo>
                    <a:pt x="407" y="659"/>
                  </a:lnTo>
                  <a:lnTo>
                    <a:pt x="395" y="675"/>
                  </a:lnTo>
                  <a:lnTo>
                    <a:pt x="395" y="675"/>
                  </a:lnTo>
                  <a:lnTo>
                    <a:pt x="395" y="675"/>
                  </a:lnTo>
                  <a:close/>
                  <a:moveTo>
                    <a:pt x="525" y="659"/>
                  </a:moveTo>
                  <a:lnTo>
                    <a:pt x="525" y="649"/>
                  </a:lnTo>
                  <a:lnTo>
                    <a:pt x="529" y="649"/>
                  </a:lnTo>
                  <a:lnTo>
                    <a:pt x="525" y="659"/>
                  </a:lnTo>
                  <a:lnTo>
                    <a:pt x="525" y="659"/>
                  </a:lnTo>
                  <a:lnTo>
                    <a:pt x="525" y="659"/>
                  </a:lnTo>
                  <a:close/>
                  <a:moveTo>
                    <a:pt x="513" y="659"/>
                  </a:moveTo>
                  <a:lnTo>
                    <a:pt x="513" y="649"/>
                  </a:lnTo>
                  <a:lnTo>
                    <a:pt x="525" y="659"/>
                  </a:lnTo>
                  <a:lnTo>
                    <a:pt x="513" y="659"/>
                  </a:lnTo>
                  <a:lnTo>
                    <a:pt x="513" y="659"/>
                  </a:lnTo>
                  <a:lnTo>
                    <a:pt x="513" y="659"/>
                  </a:lnTo>
                  <a:close/>
                  <a:moveTo>
                    <a:pt x="201" y="666"/>
                  </a:moveTo>
                  <a:lnTo>
                    <a:pt x="201" y="659"/>
                  </a:lnTo>
                  <a:lnTo>
                    <a:pt x="218" y="659"/>
                  </a:lnTo>
                  <a:lnTo>
                    <a:pt x="201" y="666"/>
                  </a:lnTo>
                  <a:lnTo>
                    <a:pt x="201" y="666"/>
                  </a:lnTo>
                  <a:lnTo>
                    <a:pt x="201" y="666"/>
                  </a:lnTo>
                  <a:close/>
                  <a:moveTo>
                    <a:pt x="610" y="716"/>
                  </a:moveTo>
                  <a:lnTo>
                    <a:pt x="610" y="704"/>
                  </a:lnTo>
                  <a:lnTo>
                    <a:pt x="600" y="692"/>
                  </a:lnTo>
                  <a:lnTo>
                    <a:pt x="610" y="666"/>
                  </a:lnTo>
                  <a:lnTo>
                    <a:pt x="617" y="704"/>
                  </a:lnTo>
                  <a:lnTo>
                    <a:pt x="610" y="716"/>
                  </a:lnTo>
                  <a:lnTo>
                    <a:pt x="610" y="716"/>
                  </a:lnTo>
                  <a:lnTo>
                    <a:pt x="610" y="716"/>
                  </a:lnTo>
                  <a:close/>
                  <a:moveTo>
                    <a:pt x="529" y="699"/>
                  </a:moveTo>
                  <a:lnTo>
                    <a:pt x="529" y="716"/>
                  </a:lnTo>
                  <a:lnTo>
                    <a:pt x="541" y="720"/>
                  </a:lnTo>
                  <a:lnTo>
                    <a:pt x="525" y="732"/>
                  </a:lnTo>
                  <a:lnTo>
                    <a:pt x="492" y="732"/>
                  </a:lnTo>
                  <a:lnTo>
                    <a:pt x="475" y="720"/>
                  </a:lnTo>
                  <a:lnTo>
                    <a:pt x="475" y="716"/>
                  </a:lnTo>
                  <a:lnTo>
                    <a:pt x="508" y="692"/>
                  </a:lnTo>
                  <a:lnTo>
                    <a:pt x="529" y="699"/>
                  </a:lnTo>
                  <a:lnTo>
                    <a:pt x="529" y="699"/>
                  </a:lnTo>
                  <a:lnTo>
                    <a:pt x="529" y="699"/>
                  </a:lnTo>
                  <a:close/>
                  <a:moveTo>
                    <a:pt x="584" y="704"/>
                  </a:moveTo>
                  <a:lnTo>
                    <a:pt x="579" y="692"/>
                  </a:lnTo>
                  <a:lnTo>
                    <a:pt x="584" y="704"/>
                  </a:lnTo>
                  <a:lnTo>
                    <a:pt x="584" y="704"/>
                  </a:lnTo>
                  <a:lnTo>
                    <a:pt x="584" y="704"/>
                  </a:lnTo>
                  <a:close/>
                  <a:moveTo>
                    <a:pt x="638" y="720"/>
                  </a:moveTo>
                  <a:lnTo>
                    <a:pt x="631" y="716"/>
                  </a:lnTo>
                  <a:lnTo>
                    <a:pt x="638" y="699"/>
                  </a:lnTo>
                  <a:lnTo>
                    <a:pt x="648" y="716"/>
                  </a:lnTo>
                  <a:lnTo>
                    <a:pt x="638" y="720"/>
                  </a:lnTo>
                  <a:lnTo>
                    <a:pt x="638" y="720"/>
                  </a:lnTo>
                  <a:lnTo>
                    <a:pt x="638" y="720"/>
                  </a:lnTo>
                  <a:close/>
                  <a:moveTo>
                    <a:pt x="454" y="898"/>
                  </a:moveTo>
                  <a:lnTo>
                    <a:pt x="449" y="881"/>
                  </a:lnTo>
                  <a:lnTo>
                    <a:pt x="437" y="886"/>
                  </a:lnTo>
                  <a:lnTo>
                    <a:pt x="433" y="881"/>
                  </a:lnTo>
                  <a:lnTo>
                    <a:pt x="437" y="881"/>
                  </a:lnTo>
                  <a:lnTo>
                    <a:pt x="433" y="864"/>
                  </a:lnTo>
                  <a:lnTo>
                    <a:pt x="421" y="886"/>
                  </a:lnTo>
                  <a:lnTo>
                    <a:pt x="407" y="886"/>
                  </a:lnTo>
                  <a:lnTo>
                    <a:pt x="416" y="864"/>
                  </a:lnTo>
                  <a:lnTo>
                    <a:pt x="400" y="864"/>
                  </a:lnTo>
                  <a:lnTo>
                    <a:pt x="378" y="886"/>
                  </a:lnTo>
                  <a:lnTo>
                    <a:pt x="383" y="886"/>
                  </a:lnTo>
                  <a:lnTo>
                    <a:pt x="378" y="898"/>
                  </a:lnTo>
                  <a:lnTo>
                    <a:pt x="362" y="926"/>
                  </a:lnTo>
                  <a:lnTo>
                    <a:pt x="352" y="921"/>
                  </a:lnTo>
                  <a:lnTo>
                    <a:pt x="345" y="914"/>
                  </a:lnTo>
                  <a:lnTo>
                    <a:pt x="369" y="848"/>
                  </a:lnTo>
                  <a:lnTo>
                    <a:pt x="421" y="831"/>
                  </a:lnTo>
                  <a:lnTo>
                    <a:pt x="421" y="810"/>
                  </a:lnTo>
                  <a:lnTo>
                    <a:pt x="449" y="810"/>
                  </a:lnTo>
                  <a:lnTo>
                    <a:pt x="454" y="794"/>
                  </a:lnTo>
                  <a:lnTo>
                    <a:pt x="475" y="803"/>
                  </a:lnTo>
                  <a:lnTo>
                    <a:pt x="487" y="810"/>
                  </a:lnTo>
                  <a:lnTo>
                    <a:pt x="487" y="831"/>
                  </a:lnTo>
                  <a:lnTo>
                    <a:pt x="470" y="848"/>
                  </a:lnTo>
                  <a:lnTo>
                    <a:pt x="492" y="831"/>
                  </a:lnTo>
                  <a:lnTo>
                    <a:pt x="508" y="831"/>
                  </a:lnTo>
                  <a:lnTo>
                    <a:pt x="513" y="815"/>
                  </a:lnTo>
                  <a:lnTo>
                    <a:pt x="525" y="803"/>
                  </a:lnTo>
                  <a:lnTo>
                    <a:pt x="546" y="810"/>
                  </a:lnTo>
                  <a:lnTo>
                    <a:pt x="555" y="777"/>
                  </a:lnTo>
                  <a:lnTo>
                    <a:pt x="567" y="786"/>
                  </a:lnTo>
                  <a:lnTo>
                    <a:pt x="584" y="777"/>
                  </a:lnTo>
                  <a:lnTo>
                    <a:pt x="600" y="777"/>
                  </a:lnTo>
                  <a:lnTo>
                    <a:pt x="593" y="732"/>
                  </a:lnTo>
                  <a:lnTo>
                    <a:pt x="593" y="716"/>
                  </a:lnTo>
                  <a:lnTo>
                    <a:pt x="610" y="732"/>
                  </a:lnTo>
                  <a:lnTo>
                    <a:pt x="631" y="737"/>
                  </a:lnTo>
                  <a:lnTo>
                    <a:pt x="638" y="753"/>
                  </a:lnTo>
                  <a:lnTo>
                    <a:pt x="648" y="753"/>
                  </a:lnTo>
                  <a:lnTo>
                    <a:pt x="648" y="770"/>
                  </a:lnTo>
                  <a:lnTo>
                    <a:pt x="664" y="786"/>
                  </a:lnTo>
                  <a:lnTo>
                    <a:pt x="638" y="803"/>
                  </a:lnTo>
                  <a:lnTo>
                    <a:pt x="648" y="810"/>
                  </a:lnTo>
                  <a:lnTo>
                    <a:pt x="664" y="810"/>
                  </a:lnTo>
                  <a:lnTo>
                    <a:pt x="655" y="831"/>
                  </a:lnTo>
                  <a:lnTo>
                    <a:pt x="669" y="831"/>
                  </a:lnTo>
                  <a:lnTo>
                    <a:pt x="664" y="860"/>
                  </a:lnTo>
                  <a:lnTo>
                    <a:pt x="669" y="869"/>
                  </a:lnTo>
                  <a:lnTo>
                    <a:pt x="676" y="898"/>
                  </a:lnTo>
                  <a:lnTo>
                    <a:pt x="655" y="926"/>
                  </a:lnTo>
                  <a:lnTo>
                    <a:pt x="664" y="938"/>
                  </a:lnTo>
                  <a:lnTo>
                    <a:pt x="655" y="926"/>
                  </a:lnTo>
                  <a:lnTo>
                    <a:pt x="648" y="926"/>
                  </a:lnTo>
                  <a:lnTo>
                    <a:pt x="655" y="938"/>
                  </a:lnTo>
                  <a:lnTo>
                    <a:pt x="648" y="975"/>
                  </a:lnTo>
                  <a:lnTo>
                    <a:pt x="638" y="926"/>
                  </a:lnTo>
                  <a:lnTo>
                    <a:pt x="622" y="914"/>
                  </a:lnTo>
                  <a:lnTo>
                    <a:pt x="622" y="898"/>
                  </a:lnTo>
                  <a:lnTo>
                    <a:pt x="610" y="902"/>
                  </a:lnTo>
                  <a:lnTo>
                    <a:pt x="610" y="914"/>
                  </a:lnTo>
                  <a:lnTo>
                    <a:pt x="600" y="921"/>
                  </a:lnTo>
                  <a:lnTo>
                    <a:pt x="593" y="938"/>
                  </a:lnTo>
                  <a:lnTo>
                    <a:pt x="593" y="954"/>
                  </a:lnTo>
                  <a:lnTo>
                    <a:pt x="610" y="959"/>
                  </a:lnTo>
                  <a:lnTo>
                    <a:pt x="617" y="992"/>
                  </a:lnTo>
                  <a:lnTo>
                    <a:pt x="593" y="1025"/>
                  </a:lnTo>
                  <a:lnTo>
                    <a:pt x="584" y="1025"/>
                  </a:lnTo>
                  <a:lnTo>
                    <a:pt x="579" y="1009"/>
                  </a:lnTo>
                  <a:lnTo>
                    <a:pt x="584" y="980"/>
                  </a:lnTo>
                  <a:lnTo>
                    <a:pt x="579" y="980"/>
                  </a:lnTo>
                  <a:lnTo>
                    <a:pt x="567" y="997"/>
                  </a:lnTo>
                  <a:lnTo>
                    <a:pt x="563" y="997"/>
                  </a:lnTo>
                  <a:lnTo>
                    <a:pt x="513" y="980"/>
                  </a:lnTo>
                  <a:lnTo>
                    <a:pt x="503" y="971"/>
                  </a:lnTo>
                  <a:lnTo>
                    <a:pt x="492" y="926"/>
                  </a:lnTo>
                  <a:lnTo>
                    <a:pt x="513" y="886"/>
                  </a:lnTo>
                  <a:lnTo>
                    <a:pt x="492" y="869"/>
                  </a:lnTo>
                  <a:lnTo>
                    <a:pt x="459" y="860"/>
                  </a:lnTo>
                  <a:lnTo>
                    <a:pt x="454" y="860"/>
                  </a:lnTo>
                  <a:lnTo>
                    <a:pt x="454" y="869"/>
                  </a:lnTo>
                  <a:lnTo>
                    <a:pt x="449" y="881"/>
                  </a:lnTo>
                  <a:lnTo>
                    <a:pt x="454" y="886"/>
                  </a:lnTo>
                  <a:lnTo>
                    <a:pt x="454" y="898"/>
                  </a:lnTo>
                  <a:lnTo>
                    <a:pt x="454" y="898"/>
                  </a:lnTo>
                  <a:lnTo>
                    <a:pt x="454" y="898"/>
                  </a:lnTo>
                  <a:close/>
                  <a:moveTo>
                    <a:pt x="470" y="770"/>
                  </a:moveTo>
                  <a:lnTo>
                    <a:pt x="454" y="758"/>
                  </a:lnTo>
                  <a:lnTo>
                    <a:pt x="470" y="753"/>
                  </a:lnTo>
                  <a:lnTo>
                    <a:pt x="475" y="758"/>
                  </a:lnTo>
                  <a:lnTo>
                    <a:pt x="470" y="770"/>
                  </a:lnTo>
                  <a:lnTo>
                    <a:pt x="470" y="770"/>
                  </a:lnTo>
                  <a:lnTo>
                    <a:pt x="470" y="770"/>
                  </a:lnTo>
                  <a:close/>
                  <a:moveTo>
                    <a:pt x="546" y="770"/>
                  </a:moveTo>
                  <a:lnTo>
                    <a:pt x="541" y="758"/>
                  </a:lnTo>
                  <a:lnTo>
                    <a:pt x="541" y="753"/>
                  </a:lnTo>
                  <a:lnTo>
                    <a:pt x="546" y="758"/>
                  </a:lnTo>
                  <a:lnTo>
                    <a:pt x="546" y="770"/>
                  </a:lnTo>
                  <a:lnTo>
                    <a:pt x="546" y="770"/>
                  </a:lnTo>
                  <a:lnTo>
                    <a:pt x="546" y="770"/>
                  </a:lnTo>
                  <a:close/>
                  <a:moveTo>
                    <a:pt x="7" y="864"/>
                  </a:moveTo>
                  <a:lnTo>
                    <a:pt x="0" y="843"/>
                  </a:lnTo>
                  <a:lnTo>
                    <a:pt x="7" y="843"/>
                  </a:lnTo>
                  <a:lnTo>
                    <a:pt x="17" y="860"/>
                  </a:lnTo>
                  <a:lnTo>
                    <a:pt x="7" y="864"/>
                  </a:lnTo>
                  <a:lnTo>
                    <a:pt x="7" y="864"/>
                  </a:lnTo>
                  <a:lnTo>
                    <a:pt x="7" y="864"/>
                  </a:lnTo>
                  <a:close/>
                  <a:moveTo>
                    <a:pt x="416" y="898"/>
                  </a:moveTo>
                  <a:lnTo>
                    <a:pt x="407" y="886"/>
                  </a:lnTo>
                  <a:lnTo>
                    <a:pt x="421" y="886"/>
                  </a:lnTo>
                  <a:lnTo>
                    <a:pt x="421" y="898"/>
                  </a:lnTo>
                  <a:lnTo>
                    <a:pt x="416" y="898"/>
                  </a:lnTo>
                  <a:lnTo>
                    <a:pt x="416" y="898"/>
                  </a:lnTo>
                  <a:lnTo>
                    <a:pt x="416" y="898"/>
                  </a:lnTo>
                  <a:close/>
                  <a:moveTo>
                    <a:pt x="617" y="926"/>
                  </a:moveTo>
                  <a:lnTo>
                    <a:pt x="610" y="914"/>
                  </a:lnTo>
                  <a:lnTo>
                    <a:pt x="617" y="902"/>
                  </a:lnTo>
                  <a:lnTo>
                    <a:pt x="622" y="914"/>
                  </a:lnTo>
                  <a:lnTo>
                    <a:pt x="617" y="926"/>
                  </a:lnTo>
                  <a:lnTo>
                    <a:pt x="617" y="926"/>
                  </a:lnTo>
                  <a:lnTo>
                    <a:pt x="617" y="926"/>
                  </a:lnTo>
                  <a:close/>
                  <a:moveTo>
                    <a:pt x="114" y="921"/>
                  </a:moveTo>
                  <a:lnTo>
                    <a:pt x="109" y="921"/>
                  </a:lnTo>
                  <a:lnTo>
                    <a:pt x="114" y="914"/>
                  </a:lnTo>
                  <a:lnTo>
                    <a:pt x="114" y="921"/>
                  </a:lnTo>
                  <a:lnTo>
                    <a:pt x="114" y="921"/>
                  </a:lnTo>
                  <a:lnTo>
                    <a:pt x="114" y="921"/>
                  </a:lnTo>
                  <a:close/>
                  <a:moveTo>
                    <a:pt x="352" y="959"/>
                  </a:moveTo>
                  <a:lnTo>
                    <a:pt x="340" y="942"/>
                  </a:lnTo>
                  <a:lnTo>
                    <a:pt x="362" y="938"/>
                  </a:lnTo>
                  <a:lnTo>
                    <a:pt x="369" y="954"/>
                  </a:lnTo>
                  <a:lnTo>
                    <a:pt x="369" y="959"/>
                  </a:lnTo>
                  <a:lnTo>
                    <a:pt x="352" y="959"/>
                  </a:lnTo>
                  <a:lnTo>
                    <a:pt x="352" y="959"/>
                  </a:lnTo>
                  <a:lnTo>
                    <a:pt x="352" y="959"/>
                  </a:lnTo>
                  <a:close/>
                  <a:moveTo>
                    <a:pt x="255" y="975"/>
                  </a:moveTo>
                  <a:lnTo>
                    <a:pt x="244" y="975"/>
                  </a:lnTo>
                  <a:lnTo>
                    <a:pt x="255" y="959"/>
                  </a:lnTo>
                  <a:lnTo>
                    <a:pt x="255" y="975"/>
                  </a:lnTo>
                  <a:lnTo>
                    <a:pt x="255" y="975"/>
                  </a:lnTo>
                  <a:lnTo>
                    <a:pt x="255" y="975"/>
                  </a:lnTo>
                  <a:close/>
                  <a:moveTo>
                    <a:pt x="345" y="992"/>
                  </a:moveTo>
                  <a:lnTo>
                    <a:pt x="340" y="980"/>
                  </a:lnTo>
                  <a:lnTo>
                    <a:pt x="352" y="992"/>
                  </a:lnTo>
                  <a:lnTo>
                    <a:pt x="345" y="992"/>
                  </a:lnTo>
                  <a:lnTo>
                    <a:pt x="345" y="992"/>
                  </a:lnTo>
                  <a:lnTo>
                    <a:pt x="345" y="992"/>
                  </a:lnTo>
                  <a:close/>
                  <a:moveTo>
                    <a:pt x="310" y="997"/>
                  </a:moveTo>
                  <a:lnTo>
                    <a:pt x="298" y="997"/>
                  </a:lnTo>
                  <a:lnTo>
                    <a:pt x="277" y="997"/>
                  </a:lnTo>
                  <a:lnTo>
                    <a:pt x="277" y="992"/>
                  </a:lnTo>
                  <a:lnTo>
                    <a:pt x="293" y="980"/>
                  </a:lnTo>
                  <a:lnTo>
                    <a:pt x="314" y="992"/>
                  </a:lnTo>
                  <a:lnTo>
                    <a:pt x="310" y="997"/>
                  </a:lnTo>
                  <a:lnTo>
                    <a:pt x="310" y="997"/>
                  </a:lnTo>
                  <a:lnTo>
                    <a:pt x="310" y="997"/>
                  </a:lnTo>
                  <a:close/>
                  <a:moveTo>
                    <a:pt x="277" y="1030"/>
                  </a:moveTo>
                  <a:lnTo>
                    <a:pt x="277" y="1025"/>
                  </a:lnTo>
                  <a:lnTo>
                    <a:pt x="277" y="1030"/>
                  </a:lnTo>
                  <a:lnTo>
                    <a:pt x="277" y="1030"/>
                  </a:lnTo>
                  <a:lnTo>
                    <a:pt x="277" y="1030"/>
                  </a:lnTo>
                  <a:close/>
                  <a:moveTo>
                    <a:pt x="206" y="1065"/>
                  </a:moveTo>
                  <a:lnTo>
                    <a:pt x="201" y="1053"/>
                  </a:lnTo>
                  <a:lnTo>
                    <a:pt x="234" y="1037"/>
                  </a:lnTo>
                  <a:lnTo>
                    <a:pt x="234" y="1053"/>
                  </a:lnTo>
                  <a:lnTo>
                    <a:pt x="218" y="1046"/>
                  </a:lnTo>
                  <a:lnTo>
                    <a:pt x="206" y="1065"/>
                  </a:lnTo>
                  <a:lnTo>
                    <a:pt x="206" y="1065"/>
                  </a:lnTo>
                  <a:lnTo>
                    <a:pt x="206" y="1065"/>
                  </a:lnTo>
                  <a:close/>
                </a:path>
              </a:pathLst>
            </a:custGeom>
            <a:solidFill>
              <a:schemeClr val="bg2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98" name="Freeform 542">
              <a:extLst>
                <a:ext uri="{FF2B5EF4-FFF2-40B4-BE49-F238E27FC236}">
                  <a16:creationId xmlns:a16="http://schemas.microsoft.com/office/drawing/2014/main" id="{6C8AA2B9-83D5-4894-99DD-B88069C2B9F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430159" y="2535039"/>
              <a:ext cx="27625" cy="7214"/>
            </a:xfrm>
            <a:custGeom>
              <a:avLst/>
              <a:gdLst>
                <a:gd name="T0" fmla="*/ 142 w 180"/>
                <a:gd name="T1" fmla="*/ 36 h 47"/>
                <a:gd name="T2" fmla="*/ 121 w 180"/>
                <a:gd name="T3" fmla="*/ 47 h 47"/>
                <a:gd name="T4" fmla="*/ 104 w 180"/>
                <a:gd name="T5" fmla="*/ 36 h 47"/>
                <a:gd name="T6" fmla="*/ 52 w 180"/>
                <a:gd name="T7" fmla="*/ 47 h 47"/>
                <a:gd name="T8" fmla="*/ 52 w 180"/>
                <a:gd name="T9" fmla="*/ 21 h 47"/>
                <a:gd name="T10" fmla="*/ 41 w 180"/>
                <a:gd name="T11" fmla="*/ 17 h 47"/>
                <a:gd name="T12" fmla="*/ 57 w 180"/>
                <a:gd name="T13" fmla="*/ 0 h 47"/>
                <a:gd name="T14" fmla="*/ 142 w 180"/>
                <a:gd name="T15" fmla="*/ 10 h 47"/>
                <a:gd name="T16" fmla="*/ 159 w 180"/>
                <a:gd name="T17" fmla="*/ 17 h 47"/>
                <a:gd name="T18" fmla="*/ 163 w 180"/>
                <a:gd name="T19" fmla="*/ 21 h 47"/>
                <a:gd name="T20" fmla="*/ 142 w 180"/>
                <a:gd name="T21" fmla="*/ 36 h 47"/>
                <a:gd name="T22" fmla="*/ 142 w 180"/>
                <a:gd name="T23" fmla="*/ 36 h 47"/>
                <a:gd name="T24" fmla="*/ 142 w 180"/>
                <a:gd name="T25" fmla="*/ 36 h 47"/>
                <a:gd name="T26" fmla="*/ 163 w 180"/>
                <a:gd name="T27" fmla="*/ 31 h 47"/>
                <a:gd name="T28" fmla="*/ 163 w 180"/>
                <a:gd name="T29" fmla="*/ 31 h 47"/>
                <a:gd name="T30" fmla="*/ 180 w 180"/>
                <a:gd name="T31" fmla="*/ 31 h 47"/>
                <a:gd name="T32" fmla="*/ 163 w 180"/>
                <a:gd name="T33" fmla="*/ 31 h 47"/>
                <a:gd name="T34" fmla="*/ 163 w 180"/>
                <a:gd name="T35" fmla="*/ 31 h 47"/>
                <a:gd name="T36" fmla="*/ 163 w 180"/>
                <a:gd name="T37" fmla="*/ 31 h 47"/>
                <a:gd name="T38" fmla="*/ 5 w 180"/>
                <a:gd name="T39" fmla="*/ 36 h 47"/>
                <a:gd name="T40" fmla="*/ 0 w 180"/>
                <a:gd name="T41" fmla="*/ 31 h 47"/>
                <a:gd name="T42" fmla="*/ 5 w 180"/>
                <a:gd name="T43" fmla="*/ 31 h 47"/>
                <a:gd name="T44" fmla="*/ 5 w 180"/>
                <a:gd name="T45" fmla="*/ 36 h 47"/>
                <a:gd name="T46" fmla="*/ 5 w 180"/>
                <a:gd name="T47" fmla="*/ 36 h 47"/>
                <a:gd name="T48" fmla="*/ 5 w 180"/>
                <a:gd name="T49" fmla="*/ 36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80" h="47">
                  <a:moveTo>
                    <a:pt x="142" y="36"/>
                  </a:moveTo>
                  <a:lnTo>
                    <a:pt x="121" y="47"/>
                  </a:lnTo>
                  <a:lnTo>
                    <a:pt x="104" y="36"/>
                  </a:lnTo>
                  <a:lnTo>
                    <a:pt x="52" y="47"/>
                  </a:lnTo>
                  <a:lnTo>
                    <a:pt x="52" y="21"/>
                  </a:lnTo>
                  <a:lnTo>
                    <a:pt x="41" y="17"/>
                  </a:lnTo>
                  <a:lnTo>
                    <a:pt x="57" y="0"/>
                  </a:lnTo>
                  <a:lnTo>
                    <a:pt x="142" y="10"/>
                  </a:lnTo>
                  <a:lnTo>
                    <a:pt x="159" y="17"/>
                  </a:lnTo>
                  <a:lnTo>
                    <a:pt x="163" y="21"/>
                  </a:lnTo>
                  <a:lnTo>
                    <a:pt x="142" y="36"/>
                  </a:lnTo>
                  <a:lnTo>
                    <a:pt x="142" y="36"/>
                  </a:lnTo>
                  <a:lnTo>
                    <a:pt x="142" y="36"/>
                  </a:lnTo>
                  <a:close/>
                  <a:moveTo>
                    <a:pt x="163" y="31"/>
                  </a:moveTo>
                  <a:lnTo>
                    <a:pt x="163" y="31"/>
                  </a:lnTo>
                  <a:lnTo>
                    <a:pt x="180" y="31"/>
                  </a:lnTo>
                  <a:lnTo>
                    <a:pt x="163" y="31"/>
                  </a:lnTo>
                  <a:lnTo>
                    <a:pt x="163" y="31"/>
                  </a:lnTo>
                  <a:lnTo>
                    <a:pt x="163" y="31"/>
                  </a:lnTo>
                  <a:close/>
                  <a:moveTo>
                    <a:pt x="5" y="36"/>
                  </a:moveTo>
                  <a:lnTo>
                    <a:pt x="0" y="31"/>
                  </a:lnTo>
                  <a:lnTo>
                    <a:pt x="5" y="31"/>
                  </a:lnTo>
                  <a:lnTo>
                    <a:pt x="5" y="36"/>
                  </a:lnTo>
                  <a:lnTo>
                    <a:pt x="5" y="36"/>
                  </a:lnTo>
                  <a:lnTo>
                    <a:pt x="5" y="36"/>
                  </a:lnTo>
                  <a:close/>
                </a:path>
              </a:pathLst>
            </a:custGeom>
            <a:solidFill>
              <a:schemeClr val="bg2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99" name="Freeform 543">
              <a:extLst>
                <a:ext uri="{FF2B5EF4-FFF2-40B4-BE49-F238E27FC236}">
                  <a16:creationId xmlns:a16="http://schemas.microsoft.com/office/drawing/2014/main" id="{2797FF8E-272A-46D1-86CC-08A18BE0B2CB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301965" y="1533964"/>
              <a:ext cx="3906397" cy="725864"/>
            </a:xfrm>
            <a:custGeom>
              <a:avLst/>
              <a:gdLst>
                <a:gd name="T0" fmla="*/ 24366 w 25453"/>
                <a:gd name="T1" fmla="*/ 2721 h 4729"/>
                <a:gd name="T2" fmla="*/ 23563 w 25453"/>
                <a:gd name="T3" fmla="*/ 3031 h 4729"/>
                <a:gd name="T4" fmla="*/ 23076 w 25453"/>
                <a:gd name="T5" fmla="*/ 3692 h 4729"/>
                <a:gd name="T6" fmla="*/ 23331 w 25453"/>
                <a:gd name="T7" fmla="*/ 2809 h 4729"/>
                <a:gd name="T8" fmla="*/ 22391 w 25453"/>
                <a:gd name="T9" fmla="*/ 2993 h 4729"/>
                <a:gd name="T10" fmla="*/ 22018 w 25453"/>
                <a:gd name="T11" fmla="*/ 3643 h 4729"/>
                <a:gd name="T12" fmla="*/ 21312 w 25453"/>
                <a:gd name="T13" fmla="*/ 4578 h 4729"/>
                <a:gd name="T14" fmla="*/ 20955 w 25453"/>
                <a:gd name="T15" fmla="*/ 3676 h 4729"/>
                <a:gd name="T16" fmla="*/ 19167 w 25453"/>
                <a:gd name="T17" fmla="*/ 3768 h 4729"/>
                <a:gd name="T18" fmla="*/ 18078 w 25453"/>
                <a:gd name="T19" fmla="*/ 3936 h 4729"/>
                <a:gd name="T20" fmla="*/ 17117 w 25453"/>
                <a:gd name="T21" fmla="*/ 3487 h 4729"/>
                <a:gd name="T22" fmla="*/ 16424 w 25453"/>
                <a:gd name="T23" fmla="*/ 3803 h 4729"/>
                <a:gd name="T24" fmla="*/ 15550 w 25453"/>
                <a:gd name="T25" fmla="*/ 3931 h 4729"/>
                <a:gd name="T26" fmla="*/ 15425 w 25453"/>
                <a:gd name="T27" fmla="*/ 4694 h 4729"/>
                <a:gd name="T28" fmla="*/ 14821 w 25453"/>
                <a:gd name="T29" fmla="*/ 4191 h 4729"/>
                <a:gd name="T30" fmla="*/ 14388 w 25453"/>
                <a:gd name="T31" fmla="*/ 3581 h 4729"/>
                <a:gd name="T32" fmla="*/ 14169 w 25453"/>
                <a:gd name="T33" fmla="*/ 2792 h 4729"/>
                <a:gd name="T34" fmla="*/ 14471 w 25453"/>
                <a:gd name="T35" fmla="*/ 1862 h 4729"/>
                <a:gd name="T36" fmla="*/ 14660 w 25453"/>
                <a:gd name="T37" fmla="*/ 2488 h 4729"/>
                <a:gd name="T38" fmla="*/ 15395 w 25453"/>
                <a:gd name="T39" fmla="*/ 2018 h 4729"/>
                <a:gd name="T40" fmla="*/ 16278 w 25453"/>
                <a:gd name="T41" fmla="*/ 1918 h 4729"/>
                <a:gd name="T42" fmla="*/ 16991 w 25453"/>
                <a:gd name="T43" fmla="*/ 1368 h 4729"/>
                <a:gd name="T44" fmla="*/ 17298 w 25453"/>
                <a:gd name="T45" fmla="*/ 2105 h 4729"/>
                <a:gd name="T46" fmla="*/ 17407 w 25453"/>
                <a:gd name="T47" fmla="*/ 1545 h 4729"/>
                <a:gd name="T48" fmla="*/ 17969 w 25453"/>
                <a:gd name="T49" fmla="*/ 1718 h 4729"/>
                <a:gd name="T50" fmla="*/ 18272 w 25453"/>
                <a:gd name="T51" fmla="*/ 1075 h 4729"/>
                <a:gd name="T52" fmla="*/ 19103 w 25453"/>
                <a:gd name="T53" fmla="*/ 891 h 4729"/>
                <a:gd name="T54" fmla="*/ 20065 w 25453"/>
                <a:gd name="T55" fmla="*/ 981 h 4729"/>
                <a:gd name="T56" fmla="*/ 20074 w 25453"/>
                <a:gd name="T57" fmla="*/ 1290 h 4729"/>
                <a:gd name="T58" fmla="*/ 21782 w 25453"/>
                <a:gd name="T59" fmla="*/ 1573 h 4729"/>
                <a:gd name="T60" fmla="*/ 22644 w 25453"/>
                <a:gd name="T61" fmla="*/ 1552 h 4729"/>
                <a:gd name="T62" fmla="*/ 24227 w 25453"/>
                <a:gd name="T63" fmla="*/ 1767 h 4729"/>
                <a:gd name="T64" fmla="*/ 25053 w 25453"/>
                <a:gd name="T65" fmla="*/ 2046 h 4729"/>
                <a:gd name="T66" fmla="*/ 25205 w 25453"/>
                <a:gd name="T67" fmla="*/ 2400 h 4729"/>
                <a:gd name="T68" fmla="*/ 16188 w 25453"/>
                <a:gd name="T69" fmla="*/ 5 h 4729"/>
                <a:gd name="T70" fmla="*/ 18557 w 25453"/>
                <a:gd name="T71" fmla="*/ 236 h 4729"/>
                <a:gd name="T72" fmla="*/ 16198 w 25453"/>
                <a:gd name="T73" fmla="*/ 116 h 4729"/>
                <a:gd name="T74" fmla="*/ 15593 w 25453"/>
                <a:gd name="T75" fmla="*/ 203 h 4729"/>
                <a:gd name="T76" fmla="*/ 15345 w 25453"/>
                <a:gd name="T77" fmla="*/ 236 h 4729"/>
                <a:gd name="T78" fmla="*/ 15933 w 25453"/>
                <a:gd name="T79" fmla="*/ 236 h 4729"/>
                <a:gd name="T80" fmla="*/ 18650 w 25453"/>
                <a:gd name="T81" fmla="*/ 404 h 4729"/>
                <a:gd name="T82" fmla="*/ 16252 w 25453"/>
                <a:gd name="T83" fmla="*/ 322 h 4729"/>
                <a:gd name="T84" fmla="*/ 19221 w 25453"/>
                <a:gd name="T85" fmla="*/ 598 h 4729"/>
                <a:gd name="T86" fmla="*/ 23093 w 25453"/>
                <a:gd name="T87" fmla="*/ 758 h 4729"/>
                <a:gd name="T88" fmla="*/ 16727 w 25453"/>
                <a:gd name="T89" fmla="*/ 832 h 4729"/>
                <a:gd name="T90" fmla="*/ 18978 w 25453"/>
                <a:gd name="T91" fmla="*/ 815 h 4729"/>
                <a:gd name="T92" fmla="*/ 18898 w 25453"/>
                <a:gd name="T93" fmla="*/ 886 h 4729"/>
                <a:gd name="T94" fmla="*/ 22046 w 25453"/>
                <a:gd name="T95" fmla="*/ 931 h 4729"/>
                <a:gd name="T96" fmla="*/ 16257 w 25453"/>
                <a:gd name="T97" fmla="*/ 947 h 4729"/>
                <a:gd name="T98" fmla="*/ 17700 w 25453"/>
                <a:gd name="T99" fmla="*/ 1129 h 4729"/>
                <a:gd name="T100" fmla="*/ 18125 w 25453"/>
                <a:gd name="T101" fmla="*/ 1195 h 4729"/>
                <a:gd name="T102" fmla="*/ 20700 w 25453"/>
                <a:gd name="T103" fmla="*/ 1363 h 4729"/>
                <a:gd name="T104" fmla="*/ 17133 w 25453"/>
                <a:gd name="T105" fmla="*/ 1314 h 4729"/>
                <a:gd name="T106" fmla="*/ 15858 w 25453"/>
                <a:gd name="T107" fmla="*/ 1363 h 4729"/>
                <a:gd name="T108" fmla="*/ 17693 w 25453"/>
                <a:gd name="T109" fmla="*/ 1392 h 4729"/>
                <a:gd name="T110" fmla="*/ 21775 w 25453"/>
                <a:gd name="T111" fmla="*/ 1552 h 4729"/>
                <a:gd name="T112" fmla="*/ 16257 w 25453"/>
                <a:gd name="T113" fmla="*/ 1696 h 4729"/>
                <a:gd name="T114" fmla="*/ 15534 w 25453"/>
                <a:gd name="T115" fmla="*/ 1923 h 4729"/>
                <a:gd name="T116" fmla="*/ 0 w 25453"/>
                <a:gd name="T117" fmla="*/ 2400 h 4729"/>
                <a:gd name="T118" fmla="*/ 13590 w 25453"/>
                <a:gd name="T119" fmla="*/ 3421 h 4729"/>
                <a:gd name="T120" fmla="*/ 22169 w 25453"/>
                <a:gd name="T121" fmla="*/ 3659 h 4729"/>
                <a:gd name="T122" fmla="*/ 23001 w 25453"/>
                <a:gd name="T123" fmla="*/ 3903 h 4729"/>
                <a:gd name="T124" fmla="*/ 22483 w 25453"/>
                <a:gd name="T125" fmla="*/ 4373 h 47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5453" h="4729">
                  <a:moveTo>
                    <a:pt x="24735" y="2360"/>
                  </a:moveTo>
                  <a:lnTo>
                    <a:pt x="24706" y="2388"/>
                  </a:lnTo>
                  <a:lnTo>
                    <a:pt x="24638" y="2421"/>
                  </a:lnTo>
                  <a:lnTo>
                    <a:pt x="24654" y="2405"/>
                  </a:lnTo>
                  <a:lnTo>
                    <a:pt x="24572" y="2405"/>
                  </a:lnTo>
                  <a:lnTo>
                    <a:pt x="24562" y="2384"/>
                  </a:lnTo>
                  <a:lnTo>
                    <a:pt x="24517" y="2360"/>
                  </a:lnTo>
                  <a:lnTo>
                    <a:pt x="24479" y="2367"/>
                  </a:lnTo>
                  <a:lnTo>
                    <a:pt x="24529" y="2367"/>
                  </a:lnTo>
                  <a:lnTo>
                    <a:pt x="24550" y="2388"/>
                  </a:lnTo>
                  <a:lnTo>
                    <a:pt x="24529" y="2400"/>
                  </a:lnTo>
                  <a:lnTo>
                    <a:pt x="24508" y="2384"/>
                  </a:lnTo>
                  <a:lnTo>
                    <a:pt x="24491" y="2388"/>
                  </a:lnTo>
                  <a:lnTo>
                    <a:pt x="24465" y="2377"/>
                  </a:lnTo>
                  <a:lnTo>
                    <a:pt x="24442" y="2400"/>
                  </a:lnTo>
                  <a:lnTo>
                    <a:pt x="24352" y="2405"/>
                  </a:lnTo>
                  <a:lnTo>
                    <a:pt x="24437" y="2400"/>
                  </a:lnTo>
                  <a:lnTo>
                    <a:pt x="24465" y="2384"/>
                  </a:lnTo>
                  <a:lnTo>
                    <a:pt x="24491" y="2405"/>
                  </a:lnTo>
                  <a:lnTo>
                    <a:pt x="24465" y="2417"/>
                  </a:lnTo>
                  <a:lnTo>
                    <a:pt x="24465" y="2421"/>
                  </a:lnTo>
                  <a:lnTo>
                    <a:pt x="24491" y="2405"/>
                  </a:lnTo>
                  <a:lnTo>
                    <a:pt x="24513" y="2421"/>
                  </a:lnTo>
                  <a:lnTo>
                    <a:pt x="24529" y="2405"/>
                  </a:lnTo>
                  <a:lnTo>
                    <a:pt x="24567" y="2400"/>
                  </a:lnTo>
                  <a:lnTo>
                    <a:pt x="24550" y="2421"/>
                  </a:lnTo>
                  <a:lnTo>
                    <a:pt x="24572" y="2445"/>
                  </a:lnTo>
                  <a:lnTo>
                    <a:pt x="24605" y="2462"/>
                  </a:lnTo>
                  <a:lnTo>
                    <a:pt x="24621" y="2445"/>
                  </a:lnTo>
                  <a:lnTo>
                    <a:pt x="24626" y="2455"/>
                  </a:lnTo>
                  <a:lnTo>
                    <a:pt x="24638" y="2478"/>
                  </a:lnTo>
                  <a:lnTo>
                    <a:pt x="24626" y="2495"/>
                  </a:lnTo>
                  <a:lnTo>
                    <a:pt x="24642" y="2495"/>
                  </a:lnTo>
                  <a:lnTo>
                    <a:pt x="24654" y="2528"/>
                  </a:lnTo>
                  <a:lnTo>
                    <a:pt x="24642" y="2528"/>
                  </a:lnTo>
                  <a:lnTo>
                    <a:pt x="24621" y="2532"/>
                  </a:lnTo>
                  <a:lnTo>
                    <a:pt x="24654" y="2532"/>
                  </a:lnTo>
                  <a:lnTo>
                    <a:pt x="24654" y="2549"/>
                  </a:lnTo>
                  <a:lnTo>
                    <a:pt x="24642" y="2556"/>
                  </a:lnTo>
                  <a:lnTo>
                    <a:pt x="24659" y="2549"/>
                  </a:lnTo>
                  <a:lnTo>
                    <a:pt x="24654" y="2532"/>
                  </a:lnTo>
                  <a:lnTo>
                    <a:pt x="24668" y="2566"/>
                  </a:lnTo>
                  <a:lnTo>
                    <a:pt x="24659" y="2556"/>
                  </a:lnTo>
                  <a:lnTo>
                    <a:pt x="24659" y="2566"/>
                  </a:lnTo>
                  <a:lnTo>
                    <a:pt x="24697" y="2582"/>
                  </a:lnTo>
                  <a:lnTo>
                    <a:pt x="24697" y="2599"/>
                  </a:lnTo>
                  <a:lnTo>
                    <a:pt x="24680" y="2606"/>
                  </a:lnTo>
                  <a:lnTo>
                    <a:pt x="24706" y="2622"/>
                  </a:lnTo>
                  <a:lnTo>
                    <a:pt x="24706" y="2643"/>
                  </a:lnTo>
                  <a:lnTo>
                    <a:pt x="24676" y="2660"/>
                  </a:lnTo>
                  <a:lnTo>
                    <a:pt x="24680" y="2677"/>
                  </a:lnTo>
                  <a:lnTo>
                    <a:pt x="24676" y="2681"/>
                  </a:lnTo>
                  <a:lnTo>
                    <a:pt x="24600" y="2655"/>
                  </a:lnTo>
                  <a:lnTo>
                    <a:pt x="24550" y="2643"/>
                  </a:lnTo>
                  <a:lnTo>
                    <a:pt x="24550" y="2627"/>
                  </a:lnTo>
                  <a:lnTo>
                    <a:pt x="24562" y="2622"/>
                  </a:lnTo>
                  <a:lnTo>
                    <a:pt x="24546" y="2639"/>
                  </a:lnTo>
                  <a:lnTo>
                    <a:pt x="24529" y="2610"/>
                  </a:lnTo>
                  <a:lnTo>
                    <a:pt x="24529" y="2639"/>
                  </a:lnTo>
                  <a:lnTo>
                    <a:pt x="24550" y="2643"/>
                  </a:lnTo>
                  <a:lnTo>
                    <a:pt x="24508" y="2655"/>
                  </a:lnTo>
                  <a:lnTo>
                    <a:pt x="24479" y="2677"/>
                  </a:lnTo>
                  <a:lnTo>
                    <a:pt x="24373" y="2721"/>
                  </a:lnTo>
                  <a:lnTo>
                    <a:pt x="24357" y="2717"/>
                  </a:lnTo>
                  <a:lnTo>
                    <a:pt x="24366" y="2721"/>
                  </a:lnTo>
                  <a:lnTo>
                    <a:pt x="24357" y="2733"/>
                  </a:lnTo>
                  <a:lnTo>
                    <a:pt x="24328" y="2733"/>
                  </a:lnTo>
                  <a:lnTo>
                    <a:pt x="24319" y="2738"/>
                  </a:lnTo>
                  <a:lnTo>
                    <a:pt x="24302" y="2750"/>
                  </a:lnTo>
                  <a:lnTo>
                    <a:pt x="24290" y="2738"/>
                  </a:lnTo>
                  <a:lnTo>
                    <a:pt x="24281" y="2766"/>
                  </a:lnTo>
                  <a:lnTo>
                    <a:pt x="24276" y="2766"/>
                  </a:lnTo>
                  <a:lnTo>
                    <a:pt x="24260" y="2776"/>
                  </a:lnTo>
                  <a:lnTo>
                    <a:pt x="24243" y="2771"/>
                  </a:lnTo>
                  <a:lnTo>
                    <a:pt x="24227" y="2776"/>
                  </a:lnTo>
                  <a:lnTo>
                    <a:pt x="24243" y="2788"/>
                  </a:lnTo>
                  <a:lnTo>
                    <a:pt x="24227" y="2788"/>
                  </a:lnTo>
                  <a:lnTo>
                    <a:pt x="24239" y="2792"/>
                  </a:lnTo>
                  <a:lnTo>
                    <a:pt x="24222" y="2804"/>
                  </a:lnTo>
                  <a:lnTo>
                    <a:pt x="24205" y="2792"/>
                  </a:lnTo>
                  <a:lnTo>
                    <a:pt x="24205" y="2809"/>
                  </a:lnTo>
                  <a:lnTo>
                    <a:pt x="24210" y="2821"/>
                  </a:lnTo>
                  <a:lnTo>
                    <a:pt x="24194" y="2821"/>
                  </a:lnTo>
                  <a:lnTo>
                    <a:pt x="24184" y="2809"/>
                  </a:lnTo>
                  <a:lnTo>
                    <a:pt x="24189" y="2828"/>
                  </a:lnTo>
                  <a:lnTo>
                    <a:pt x="24184" y="2844"/>
                  </a:lnTo>
                  <a:lnTo>
                    <a:pt x="24172" y="2828"/>
                  </a:lnTo>
                  <a:lnTo>
                    <a:pt x="24172" y="2844"/>
                  </a:lnTo>
                  <a:lnTo>
                    <a:pt x="24151" y="2844"/>
                  </a:lnTo>
                  <a:lnTo>
                    <a:pt x="24151" y="2849"/>
                  </a:lnTo>
                  <a:lnTo>
                    <a:pt x="24135" y="2849"/>
                  </a:lnTo>
                  <a:lnTo>
                    <a:pt x="24135" y="2866"/>
                  </a:lnTo>
                  <a:lnTo>
                    <a:pt x="24080" y="2887"/>
                  </a:lnTo>
                  <a:lnTo>
                    <a:pt x="24080" y="2899"/>
                  </a:lnTo>
                  <a:lnTo>
                    <a:pt x="24076" y="2903"/>
                  </a:lnTo>
                  <a:lnTo>
                    <a:pt x="24064" y="2936"/>
                  </a:lnTo>
                  <a:lnTo>
                    <a:pt x="24059" y="2936"/>
                  </a:lnTo>
                  <a:lnTo>
                    <a:pt x="24033" y="2920"/>
                  </a:lnTo>
                  <a:lnTo>
                    <a:pt x="24021" y="2887"/>
                  </a:lnTo>
                  <a:lnTo>
                    <a:pt x="23979" y="2866"/>
                  </a:lnTo>
                  <a:lnTo>
                    <a:pt x="23979" y="2877"/>
                  </a:lnTo>
                  <a:lnTo>
                    <a:pt x="23913" y="2866"/>
                  </a:lnTo>
                  <a:lnTo>
                    <a:pt x="23832" y="2899"/>
                  </a:lnTo>
                  <a:lnTo>
                    <a:pt x="23761" y="2953"/>
                  </a:lnTo>
                  <a:lnTo>
                    <a:pt x="23773" y="2887"/>
                  </a:lnTo>
                  <a:lnTo>
                    <a:pt x="23778" y="2882"/>
                  </a:lnTo>
                  <a:lnTo>
                    <a:pt x="23757" y="2882"/>
                  </a:lnTo>
                  <a:lnTo>
                    <a:pt x="23702" y="2920"/>
                  </a:lnTo>
                  <a:lnTo>
                    <a:pt x="23686" y="2915"/>
                  </a:lnTo>
                  <a:lnTo>
                    <a:pt x="23702" y="2932"/>
                  </a:lnTo>
                  <a:lnTo>
                    <a:pt x="23681" y="2953"/>
                  </a:lnTo>
                  <a:lnTo>
                    <a:pt x="23665" y="2936"/>
                  </a:lnTo>
                  <a:lnTo>
                    <a:pt x="23648" y="2920"/>
                  </a:lnTo>
                  <a:lnTo>
                    <a:pt x="23643" y="2920"/>
                  </a:lnTo>
                  <a:lnTo>
                    <a:pt x="23643" y="2932"/>
                  </a:lnTo>
                  <a:lnTo>
                    <a:pt x="23627" y="2936"/>
                  </a:lnTo>
                  <a:lnTo>
                    <a:pt x="23627" y="2943"/>
                  </a:lnTo>
                  <a:lnTo>
                    <a:pt x="23617" y="2943"/>
                  </a:lnTo>
                  <a:lnTo>
                    <a:pt x="23627" y="2936"/>
                  </a:lnTo>
                  <a:lnTo>
                    <a:pt x="23617" y="2932"/>
                  </a:lnTo>
                  <a:lnTo>
                    <a:pt x="23596" y="2932"/>
                  </a:lnTo>
                  <a:lnTo>
                    <a:pt x="23601" y="2936"/>
                  </a:lnTo>
                  <a:lnTo>
                    <a:pt x="23596" y="2943"/>
                  </a:lnTo>
                  <a:lnTo>
                    <a:pt x="23572" y="2953"/>
                  </a:lnTo>
                  <a:lnTo>
                    <a:pt x="23572" y="2972"/>
                  </a:lnTo>
                  <a:lnTo>
                    <a:pt x="23558" y="2977"/>
                  </a:lnTo>
                  <a:lnTo>
                    <a:pt x="23572" y="2998"/>
                  </a:lnTo>
                  <a:lnTo>
                    <a:pt x="23563" y="3010"/>
                  </a:lnTo>
                  <a:lnTo>
                    <a:pt x="23546" y="3010"/>
                  </a:lnTo>
                  <a:lnTo>
                    <a:pt x="23563" y="3031"/>
                  </a:lnTo>
                  <a:lnTo>
                    <a:pt x="23546" y="3026"/>
                  </a:lnTo>
                  <a:lnTo>
                    <a:pt x="23542" y="3026"/>
                  </a:lnTo>
                  <a:lnTo>
                    <a:pt x="23546" y="3043"/>
                  </a:lnTo>
                  <a:lnTo>
                    <a:pt x="23504" y="3071"/>
                  </a:lnTo>
                  <a:lnTo>
                    <a:pt x="23487" y="3099"/>
                  </a:lnTo>
                  <a:lnTo>
                    <a:pt x="23471" y="3137"/>
                  </a:lnTo>
                  <a:lnTo>
                    <a:pt x="23487" y="3158"/>
                  </a:lnTo>
                  <a:lnTo>
                    <a:pt x="23504" y="3170"/>
                  </a:lnTo>
                  <a:lnTo>
                    <a:pt x="23504" y="3175"/>
                  </a:lnTo>
                  <a:lnTo>
                    <a:pt x="23520" y="3154"/>
                  </a:lnTo>
                  <a:lnTo>
                    <a:pt x="23563" y="3158"/>
                  </a:lnTo>
                  <a:lnTo>
                    <a:pt x="23563" y="3170"/>
                  </a:lnTo>
                  <a:lnTo>
                    <a:pt x="23558" y="3192"/>
                  </a:lnTo>
                  <a:lnTo>
                    <a:pt x="23525" y="3208"/>
                  </a:lnTo>
                  <a:lnTo>
                    <a:pt x="23535" y="3236"/>
                  </a:lnTo>
                  <a:lnTo>
                    <a:pt x="23535" y="3269"/>
                  </a:lnTo>
                  <a:lnTo>
                    <a:pt x="23542" y="3281"/>
                  </a:lnTo>
                  <a:lnTo>
                    <a:pt x="23563" y="3269"/>
                  </a:lnTo>
                  <a:lnTo>
                    <a:pt x="23572" y="3326"/>
                  </a:lnTo>
                  <a:lnTo>
                    <a:pt x="23546" y="3347"/>
                  </a:lnTo>
                  <a:lnTo>
                    <a:pt x="23525" y="3336"/>
                  </a:lnTo>
                  <a:lnTo>
                    <a:pt x="23525" y="3319"/>
                  </a:lnTo>
                  <a:lnTo>
                    <a:pt x="23558" y="3293"/>
                  </a:lnTo>
                  <a:lnTo>
                    <a:pt x="23546" y="3293"/>
                  </a:lnTo>
                  <a:lnTo>
                    <a:pt x="23542" y="3303"/>
                  </a:lnTo>
                  <a:lnTo>
                    <a:pt x="23525" y="3303"/>
                  </a:lnTo>
                  <a:lnTo>
                    <a:pt x="23504" y="3310"/>
                  </a:lnTo>
                  <a:lnTo>
                    <a:pt x="23520" y="3326"/>
                  </a:lnTo>
                  <a:lnTo>
                    <a:pt x="23483" y="3343"/>
                  </a:lnTo>
                  <a:lnTo>
                    <a:pt x="23454" y="3397"/>
                  </a:lnTo>
                  <a:lnTo>
                    <a:pt x="23466" y="3437"/>
                  </a:lnTo>
                  <a:lnTo>
                    <a:pt x="23487" y="3458"/>
                  </a:lnTo>
                  <a:lnTo>
                    <a:pt x="23487" y="3475"/>
                  </a:lnTo>
                  <a:lnTo>
                    <a:pt x="23454" y="3503"/>
                  </a:lnTo>
                  <a:lnTo>
                    <a:pt x="23428" y="3503"/>
                  </a:lnTo>
                  <a:lnTo>
                    <a:pt x="23416" y="3491"/>
                  </a:lnTo>
                  <a:lnTo>
                    <a:pt x="23383" y="3503"/>
                  </a:lnTo>
                  <a:lnTo>
                    <a:pt x="23341" y="3541"/>
                  </a:lnTo>
                  <a:lnTo>
                    <a:pt x="23324" y="3581"/>
                  </a:lnTo>
                  <a:lnTo>
                    <a:pt x="23331" y="3586"/>
                  </a:lnTo>
                  <a:lnTo>
                    <a:pt x="23331" y="3603"/>
                  </a:lnTo>
                  <a:lnTo>
                    <a:pt x="23324" y="3598"/>
                  </a:lnTo>
                  <a:lnTo>
                    <a:pt x="23341" y="3619"/>
                  </a:lnTo>
                  <a:lnTo>
                    <a:pt x="23341" y="3636"/>
                  </a:lnTo>
                  <a:lnTo>
                    <a:pt x="23308" y="3619"/>
                  </a:lnTo>
                  <a:lnTo>
                    <a:pt x="23270" y="3643"/>
                  </a:lnTo>
                  <a:lnTo>
                    <a:pt x="23249" y="3659"/>
                  </a:lnTo>
                  <a:lnTo>
                    <a:pt x="23239" y="3643"/>
                  </a:lnTo>
                  <a:lnTo>
                    <a:pt x="23223" y="3643"/>
                  </a:lnTo>
                  <a:lnTo>
                    <a:pt x="23223" y="3659"/>
                  </a:lnTo>
                  <a:lnTo>
                    <a:pt x="23239" y="3659"/>
                  </a:lnTo>
                  <a:lnTo>
                    <a:pt x="23232" y="3680"/>
                  </a:lnTo>
                  <a:lnTo>
                    <a:pt x="23223" y="3680"/>
                  </a:lnTo>
                  <a:lnTo>
                    <a:pt x="23232" y="3692"/>
                  </a:lnTo>
                  <a:lnTo>
                    <a:pt x="23232" y="3714"/>
                  </a:lnTo>
                  <a:lnTo>
                    <a:pt x="23218" y="3730"/>
                  </a:lnTo>
                  <a:lnTo>
                    <a:pt x="23218" y="3751"/>
                  </a:lnTo>
                  <a:lnTo>
                    <a:pt x="23105" y="3846"/>
                  </a:lnTo>
                  <a:lnTo>
                    <a:pt x="23109" y="3836"/>
                  </a:lnTo>
                  <a:lnTo>
                    <a:pt x="23093" y="3808"/>
                  </a:lnTo>
                  <a:lnTo>
                    <a:pt x="23093" y="3751"/>
                  </a:lnTo>
                  <a:lnTo>
                    <a:pt x="23076" y="3692"/>
                  </a:lnTo>
                  <a:lnTo>
                    <a:pt x="23088" y="3697"/>
                  </a:lnTo>
                  <a:lnTo>
                    <a:pt x="23088" y="3692"/>
                  </a:lnTo>
                  <a:lnTo>
                    <a:pt x="23076" y="3692"/>
                  </a:lnTo>
                  <a:lnTo>
                    <a:pt x="23060" y="3669"/>
                  </a:lnTo>
                  <a:lnTo>
                    <a:pt x="23022" y="3421"/>
                  </a:lnTo>
                  <a:lnTo>
                    <a:pt x="23034" y="3359"/>
                  </a:lnTo>
                  <a:lnTo>
                    <a:pt x="23055" y="3281"/>
                  </a:lnTo>
                  <a:lnTo>
                    <a:pt x="23088" y="3253"/>
                  </a:lnTo>
                  <a:lnTo>
                    <a:pt x="23093" y="3236"/>
                  </a:lnTo>
                  <a:lnTo>
                    <a:pt x="23105" y="3236"/>
                  </a:lnTo>
                  <a:lnTo>
                    <a:pt x="23126" y="3208"/>
                  </a:lnTo>
                  <a:lnTo>
                    <a:pt x="23126" y="3182"/>
                  </a:lnTo>
                  <a:lnTo>
                    <a:pt x="23109" y="3175"/>
                  </a:lnTo>
                  <a:lnTo>
                    <a:pt x="23126" y="3158"/>
                  </a:lnTo>
                  <a:lnTo>
                    <a:pt x="23142" y="3170"/>
                  </a:lnTo>
                  <a:lnTo>
                    <a:pt x="23157" y="3170"/>
                  </a:lnTo>
                  <a:lnTo>
                    <a:pt x="23168" y="3142"/>
                  </a:lnTo>
                  <a:lnTo>
                    <a:pt x="23218" y="3142"/>
                  </a:lnTo>
                  <a:lnTo>
                    <a:pt x="23320" y="3059"/>
                  </a:lnTo>
                  <a:lnTo>
                    <a:pt x="23324" y="3031"/>
                  </a:lnTo>
                  <a:lnTo>
                    <a:pt x="23362" y="2998"/>
                  </a:lnTo>
                  <a:lnTo>
                    <a:pt x="23374" y="2977"/>
                  </a:lnTo>
                  <a:lnTo>
                    <a:pt x="23395" y="2972"/>
                  </a:lnTo>
                  <a:lnTo>
                    <a:pt x="23438" y="2920"/>
                  </a:lnTo>
                  <a:lnTo>
                    <a:pt x="23466" y="2915"/>
                  </a:lnTo>
                  <a:lnTo>
                    <a:pt x="23471" y="2903"/>
                  </a:lnTo>
                  <a:lnTo>
                    <a:pt x="23471" y="2882"/>
                  </a:lnTo>
                  <a:lnTo>
                    <a:pt x="23535" y="2861"/>
                  </a:lnTo>
                  <a:lnTo>
                    <a:pt x="23542" y="2849"/>
                  </a:lnTo>
                  <a:lnTo>
                    <a:pt x="23596" y="2832"/>
                  </a:lnTo>
                  <a:lnTo>
                    <a:pt x="23596" y="2828"/>
                  </a:lnTo>
                  <a:lnTo>
                    <a:pt x="23579" y="2821"/>
                  </a:lnTo>
                  <a:lnTo>
                    <a:pt x="23617" y="2788"/>
                  </a:lnTo>
                  <a:lnTo>
                    <a:pt x="23617" y="2776"/>
                  </a:lnTo>
                  <a:lnTo>
                    <a:pt x="23601" y="2771"/>
                  </a:lnTo>
                  <a:lnTo>
                    <a:pt x="23610" y="2755"/>
                  </a:lnTo>
                  <a:lnTo>
                    <a:pt x="23617" y="2750"/>
                  </a:lnTo>
                  <a:lnTo>
                    <a:pt x="23627" y="2681"/>
                  </a:lnTo>
                  <a:lnTo>
                    <a:pt x="23655" y="2660"/>
                  </a:lnTo>
                  <a:lnTo>
                    <a:pt x="23698" y="2665"/>
                  </a:lnTo>
                  <a:lnTo>
                    <a:pt x="23709" y="2677"/>
                  </a:lnTo>
                  <a:lnTo>
                    <a:pt x="23698" y="2660"/>
                  </a:lnTo>
                  <a:lnTo>
                    <a:pt x="23735" y="2660"/>
                  </a:lnTo>
                  <a:lnTo>
                    <a:pt x="23686" y="2655"/>
                  </a:lnTo>
                  <a:lnTo>
                    <a:pt x="23643" y="2639"/>
                  </a:lnTo>
                  <a:lnTo>
                    <a:pt x="23563" y="2655"/>
                  </a:lnTo>
                  <a:lnTo>
                    <a:pt x="23558" y="2660"/>
                  </a:lnTo>
                  <a:lnTo>
                    <a:pt x="23572" y="2677"/>
                  </a:lnTo>
                  <a:lnTo>
                    <a:pt x="23558" y="2681"/>
                  </a:lnTo>
                  <a:lnTo>
                    <a:pt x="23558" y="2710"/>
                  </a:lnTo>
                  <a:lnTo>
                    <a:pt x="23542" y="2733"/>
                  </a:lnTo>
                  <a:lnTo>
                    <a:pt x="23572" y="2738"/>
                  </a:lnTo>
                  <a:lnTo>
                    <a:pt x="23563" y="2750"/>
                  </a:lnTo>
                  <a:lnTo>
                    <a:pt x="23546" y="2766"/>
                  </a:lnTo>
                  <a:lnTo>
                    <a:pt x="23535" y="2750"/>
                  </a:lnTo>
                  <a:lnTo>
                    <a:pt x="23525" y="2750"/>
                  </a:lnTo>
                  <a:lnTo>
                    <a:pt x="23535" y="2755"/>
                  </a:lnTo>
                  <a:lnTo>
                    <a:pt x="23504" y="2750"/>
                  </a:lnTo>
                  <a:lnTo>
                    <a:pt x="23400" y="2832"/>
                  </a:lnTo>
                  <a:lnTo>
                    <a:pt x="23395" y="2849"/>
                  </a:lnTo>
                  <a:lnTo>
                    <a:pt x="23362" y="2849"/>
                  </a:lnTo>
                  <a:lnTo>
                    <a:pt x="23346" y="2866"/>
                  </a:lnTo>
                  <a:lnTo>
                    <a:pt x="23357" y="2849"/>
                  </a:lnTo>
                  <a:lnTo>
                    <a:pt x="23346" y="2844"/>
                  </a:lnTo>
                  <a:lnTo>
                    <a:pt x="23362" y="2821"/>
                  </a:lnTo>
                  <a:lnTo>
                    <a:pt x="23346" y="2821"/>
                  </a:lnTo>
                  <a:lnTo>
                    <a:pt x="23324" y="2828"/>
                  </a:lnTo>
                  <a:lnTo>
                    <a:pt x="23331" y="2809"/>
                  </a:lnTo>
                  <a:lnTo>
                    <a:pt x="23331" y="2792"/>
                  </a:lnTo>
                  <a:lnTo>
                    <a:pt x="23324" y="2792"/>
                  </a:lnTo>
                  <a:lnTo>
                    <a:pt x="23362" y="2738"/>
                  </a:lnTo>
                  <a:lnTo>
                    <a:pt x="23362" y="2717"/>
                  </a:lnTo>
                  <a:lnTo>
                    <a:pt x="23303" y="2750"/>
                  </a:lnTo>
                  <a:lnTo>
                    <a:pt x="23294" y="2721"/>
                  </a:lnTo>
                  <a:lnTo>
                    <a:pt x="23287" y="2721"/>
                  </a:lnTo>
                  <a:lnTo>
                    <a:pt x="23202" y="2738"/>
                  </a:lnTo>
                  <a:lnTo>
                    <a:pt x="23164" y="2733"/>
                  </a:lnTo>
                  <a:lnTo>
                    <a:pt x="23109" y="2766"/>
                  </a:lnTo>
                  <a:lnTo>
                    <a:pt x="23105" y="2804"/>
                  </a:lnTo>
                  <a:lnTo>
                    <a:pt x="23060" y="2821"/>
                  </a:lnTo>
                  <a:lnTo>
                    <a:pt x="23055" y="2832"/>
                  </a:lnTo>
                  <a:lnTo>
                    <a:pt x="23050" y="2849"/>
                  </a:lnTo>
                  <a:lnTo>
                    <a:pt x="22984" y="2887"/>
                  </a:lnTo>
                  <a:lnTo>
                    <a:pt x="22963" y="2915"/>
                  </a:lnTo>
                  <a:lnTo>
                    <a:pt x="22946" y="2936"/>
                  </a:lnTo>
                  <a:lnTo>
                    <a:pt x="22930" y="2943"/>
                  </a:lnTo>
                  <a:lnTo>
                    <a:pt x="22942" y="2972"/>
                  </a:lnTo>
                  <a:lnTo>
                    <a:pt x="22925" y="2988"/>
                  </a:lnTo>
                  <a:lnTo>
                    <a:pt x="22925" y="2993"/>
                  </a:lnTo>
                  <a:lnTo>
                    <a:pt x="22953" y="2993"/>
                  </a:lnTo>
                  <a:lnTo>
                    <a:pt x="22946" y="2977"/>
                  </a:lnTo>
                  <a:lnTo>
                    <a:pt x="22984" y="2988"/>
                  </a:lnTo>
                  <a:lnTo>
                    <a:pt x="23001" y="2998"/>
                  </a:lnTo>
                  <a:lnTo>
                    <a:pt x="22996" y="3014"/>
                  </a:lnTo>
                  <a:lnTo>
                    <a:pt x="22968" y="3026"/>
                  </a:lnTo>
                  <a:lnTo>
                    <a:pt x="22946" y="3014"/>
                  </a:lnTo>
                  <a:lnTo>
                    <a:pt x="22942" y="3014"/>
                  </a:lnTo>
                  <a:lnTo>
                    <a:pt x="22930" y="3031"/>
                  </a:lnTo>
                  <a:lnTo>
                    <a:pt x="22916" y="3031"/>
                  </a:lnTo>
                  <a:lnTo>
                    <a:pt x="22899" y="3014"/>
                  </a:lnTo>
                  <a:lnTo>
                    <a:pt x="22871" y="3010"/>
                  </a:lnTo>
                  <a:lnTo>
                    <a:pt x="22861" y="3026"/>
                  </a:lnTo>
                  <a:lnTo>
                    <a:pt x="22845" y="3031"/>
                  </a:lnTo>
                  <a:lnTo>
                    <a:pt x="22840" y="3047"/>
                  </a:lnTo>
                  <a:lnTo>
                    <a:pt x="22802" y="3031"/>
                  </a:lnTo>
                  <a:lnTo>
                    <a:pt x="22786" y="3043"/>
                  </a:lnTo>
                  <a:lnTo>
                    <a:pt x="22779" y="3047"/>
                  </a:lnTo>
                  <a:lnTo>
                    <a:pt x="22731" y="3059"/>
                  </a:lnTo>
                  <a:lnTo>
                    <a:pt x="22710" y="3026"/>
                  </a:lnTo>
                  <a:lnTo>
                    <a:pt x="22791" y="3014"/>
                  </a:lnTo>
                  <a:lnTo>
                    <a:pt x="22765" y="3010"/>
                  </a:lnTo>
                  <a:lnTo>
                    <a:pt x="22748" y="2988"/>
                  </a:lnTo>
                  <a:lnTo>
                    <a:pt x="22731" y="2977"/>
                  </a:lnTo>
                  <a:lnTo>
                    <a:pt x="22698" y="2977"/>
                  </a:lnTo>
                  <a:lnTo>
                    <a:pt x="22698" y="2988"/>
                  </a:lnTo>
                  <a:lnTo>
                    <a:pt x="22682" y="2993"/>
                  </a:lnTo>
                  <a:lnTo>
                    <a:pt x="22682" y="2988"/>
                  </a:lnTo>
                  <a:lnTo>
                    <a:pt x="22665" y="2988"/>
                  </a:lnTo>
                  <a:lnTo>
                    <a:pt x="22682" y="2977"/>
                  </a:lnTo>
                  <a:lnTo>
                    <a:pt x="22606" y="2953"/>
                  </a:lnTo>
                  <a:lnTo>
                    <a:pt x="22568" y="2972"/>
                  </a:lnTo>
                  <a:lnTo>
                    <a:pt x="22576" y="2993"/>
                  </a:lnTo>
                  <a:lnTo>
                    <a:pt x="22559" y="2993"/>
                  </a:lnTo>
                  <a:lnTo>
                    <a:pt x="22552" y="2977"/>
                  </a:lnTo>
                  <a:lnTo>
                    <a:pt x="22547" y="2988"/>
                  </a:lnTo>
                  <a:lnTo>
                    <a:pt x="22547" y="2998"/>
                  </a:lnTo>
                  <a:lnTo>
                    <a:pt x="22559" y="2998"/>
                  </a:lnTo>
                  <a:lnTo>
                    <a:pt x="22559" y="3010"/>
                  </a:lnTo>
                  <a:lnTo>
                    <a:pt x="22521" y="3010"/>
                  </a:lnTo>
                  <a:lnTo>
                    <a:pt x="22521" y="2993"/>
                  </a:lnTo>
                  <a:lnTo>
                    <a:pt x="22505" y="2993"/>
                  </a:lnTo>
                  <a:lnTo>
                    <a:pt x="22462" y="3010"/>
                  </a:lnTo>
                  <a:lnTo>
                    <a:pt x="22391" y="2993"/>
                  </a:lnTo>
                  <a:lnTo>
                    <a:pt x="22375" y="2993"/>
                  </a:lnTo>
                  <a:lnTo>
                    <a:pt x="22375" y="3014"/>
                  </a:lnTo>
                  <a:lnTo>
                    <a:pt x="22354" y="3026"/>
                  </a:lnTo>
                  <a:lnTo>
                    <a:pt x="22337" y="3010"/>
                  </a:lnTo>
                  <a:lnTo>
                    <a:pt x="22342" y="2993"/>
                  </a:lnTo>
                  <a:lnTo>
                    <a:pt x="22207" y="2993"/>
                  </a:lnTo>
                  <a:lnTo>
                    <a:pt x="22160" y="2998"/>
                  </a:lnTo>
                  <a:lnTo>
                    <a:pt x="22084" y="3031"/>
                  </a:lnTo>
                  <a:lnTo>
                    <a:pt x="22051" y="3071"/>
                  </a:lnTo>
                  <a:lnTo>
                    <a:pt x="21980" y="3121"/>
                  </a:lnTo>
                  <a:lnTo>
                    <a:pt x="21964" y="3158"/>
                  </a:lnTo>
                  <a:lnTo>
                    <a:pt x="21938" y="3175"/>
                  </a:lnTo>
                  <a:lnTo>
                    <a:pt x="21900" y="3215"/>
                  </a:lnTo>
                  <a:lnTo>
                    <a:pt x="21872" y="3225"/>
                  </a:lnTo>
                  <a:lnTo>
                    <a:pt x="21857" y="3248"/>
                  </a:lnTo>
                  <a:lnTo>
                    <a:pt x="21834" y="3248"/>
                  </a:lnTo>
                  <a:lnTo>
                    <a:pt x="21803" y="3293"/>
                  </a:lnTo>
                  <a:lnTo>
                    <a:pt x="21803" y="3303"/>
                  </a:lnTo>
                  <a:lnTo>
                    <a:pt x="21775" y="3336"/>
                  </a:lnTo>
                  <a:lnTo>
                    <a:pt x="21683" y="3397"/>
                  </a:lnTo>
                  <a:lnTo>
                    <a:pt x="21668" y="3421"/>
                  </a:lnTo>
                  <a:lnTo>
                    <a:pt x="21619" y="3437"/>
                  </a:lnTo>
                  <a:lnTo>
                    <a:pt x="21598" y="3458"/>
                  </a:lnTo>
                  <a:lnTo>
                    <a:pt x="21602" y="3475"/>
                  </a:lnTo>
                  <a:lnTo>
                    <a:pt x="21635" y="3491"/>
                  </a:lnTo>
                  <a:lnTo>
                    <a:pt x="21711" y="3487"/>
                  </a:lnTo>
                  <a:lnTo>
                    <a:pt x="21711" y="3491"/>
                  </a:lnTo>
                  <a:lnTo>
                    <a:pt x="21706" y="3508"/>
                  </a:lnTo>
                  <a:lnTo>
                    <a:pt x="21711" y="3532"/>
                  </a:lnTo>
                  <a:lnTo>
                    <a:pt x="21694" y="3558"/>
                  </a:lnTo>
                  <a:lnTo>
                    <a:pt x="21706" y="3569"/>
                  </a:lnTo>
                  <a:lnTo>
                    <a:pt x="21737" y="3565"/>
                  </a:lnTo>
                  <a:lnTo>
                    <a:pt x="21744" y="3548"/>
                  </a:lnTo>
                  <a:lnTo>
                    <a:pt x="21728" y="3532"/>
                  </a:lnTo>
                  <a:lnTo>
                    <a:pt x="21737" y="3532"/>
                  </a:lnTo>
                  <a:lnTo>
                    <a:pt x="21775" y="3515"/>
                  </a:lnTo>
                  <a:lnTo>
                    <a:pt x="21744" y="3541"/>
                  </a:lnTo>
                  <a:lnTo>
                    <a:pt x="21744" y="3548"/>
                  </a:lnTo>
                  <a:lnTo>
                    <a:pt x="21765" y="3558"/>
                  </a:lnTo>
                  <a:lnTo>
                    <a:pt x="21782" y="3558"/>
                  </a:lnTo>
                  <a:lnTo>
                    <a:pt x="21765" y="3565"/>
                  </a:lnTo>
                  <a:lnTo>
                    <a:pt x="21758" y="3581"/>
                  </a:lnTo>
                  <a:lnTo>
                    <a:pt x="21737" y="3586"/>
                  </a:lnTo>
                  <a:lnTo>
                    <a:pt x="21744" y="3598"/>
                  </a:lnTo>
                  <a:lnTo>
                    <a:pt x="21791" y="3598"/>
                  </a:lnTo>
                  <a:lnTo>
                    <a:pt x="21813" y="3581"/>
                  </a:lnTo>
                  <a:lnTo>
                    <a:pt x="21820" y="3565"/>
                  </a:lnTo>
                  <a:lnTo>
                    <a:pt x="21834" y="3548"/>
                  </a:lnTo>
                  <a:lnTo>
                    <a:pt x="21834" y="3569"/>
                  </a:lnTo>
                  <a:lnTo>
                    <a:pt x="21813" y="3598"/>
                  </a:lnTo>
                  <a:lnTo>
                    <a:pt x="21829" y="3598"/>
                  </a:lnTo>
                  <a:lnTo>
                    <a:pt x="21834" y="3581"/>
                  </a:lnTo>
                  <a:lnTo>
                    <a:pt x="21850" y="3548"/>
                  </a:lnTo>
                  <a:lnTo>
                    <a:pt x="21846" y="3525"/>
                  </a:lnTo>
                  <a:lnTo>
                    <a:pt x="21834" y="3525"/>
                  </a:lnTo>
                  <a:lnTo>
                    <a:pt x="21888" y="3532"/>
                  </a:lnTo>
                  <a:lnTo>
                    <a:pt x="21909" y="3515"/>
                  </a:lnTo>
                  <a:lnTo>
                    <a:pt x="21954" y="3548"/>
                  </a:lnTo>
                  <a:lnTo>
                    <a:pt x="21954" y="3565"/>
                  </a:lnTo>
                  <a:lnTo>
                    <a:pt x="21976" y="3586"/>
                  </a:lnTo>
                  <a:lnTo>
                    <a:pt x="22009" y="3598"/>
                  </a:lnTo>
                  <a:lnTo>
                    <a:pt x="21997" y="3603"/>
                  </a:lnTo>
                  <a:lnTo>
                    <a:pt x="22035" y="3619"/>
                  </a:lnTo>
                  <a:lnTo>
                    <a:pt x="22035" y="3636"/>
                  </a:lnTo>
                  <a:lnTo>
                    <a:pt x="22018" y="3643"/>
                  </a:lnTo>
                  <a:lnTo>
                    <a:pt x="22018" y="3652"/>
                  </a:lnTo>
                  <a:lnTo>
                    <a:pt x="21980" y="3636"/>
                  </a:lnTo>
                  <a:lnTo>
                    <a:pt x="22018" y="3669"/>
                  </a:lnTo>
                  <a:lnTo>
                    <a:pt x="22030" y="3680"/>
                  </a:lnTo>
                  <a:lnTo>
                    <a:pt x="22013" y="3709"/>
                  </a:lnTo>
                  <a:lnTo>
                    <a:pt x="22046" y="3725"/>
                  </a:lnTo>
                  <a:lnTo>
                    <a:pt x="22030" y="3747"/>
                  </a:lnTo>
                  <a:lnTo>
                    <a:pt x="22035" y="3751"/>
                  </a:lnTo>
                  <a:lnTo>
                    <a:pt x="21997" y="3780"/>
                  </a:lnTo>
                  <a:lnTo>
                    <a:pt x="21997" y="3791"/>
                  </a:lnTo>
                  <a:lnTo>
                    <a:pt x="21992" y="3803"/>
                  </a:lnTo>
                  <a:lnTo>
                    <a:pt x="21997" y="3803"/>
                  </a:lnTo>
                  <a:lnTo>
                    <a:pt x="21997" y="3808"/>
                  </a:lnTo>
                  <a:lnTo>
                    <a:pt x="21980" y="3808"/>
                  </a:lnTo>
                  <a:lnTo>
                    <a:pt x="21980" y="3846"/>
                  </a:lnTo>
                  <a:lnTo>
                    <a:pt x="21976" y="3858"/>
                  </a:lnTo>
                  <a:lnTo>
                    <a:pt x="21964" y="3862"/>
                  </a:lnTo>
                  <a:lnTo>
                    <a:pt x="21964" y="3919"/>
                  </a:lnTo>
                  <a:lnTo>
                    <a:pt x="21976" y="3931"/>
                  </a:lnTo>
                  <a:lnTo>
                    <a:pt x="21980" y="3931"/>
                  </a:lnTo>
                  <a:lnTo>
                    <a:pt x="21959" y="3947"/>
                  </a:lnTo>
                  <a:lnTo>
                    <a:pt x="21976" y="3973"/>
                  </a:lnTo>
                  <a:lnTo>
                    <a:pt x="21959" y="4006"/>
                  </a:lnTo>
                  <a:lnTo>
                    <a:pt x="21959" y="4030"/>
                  </a:lnTo>
                  <a:lnTo>
                    <a:pt x="21954" y="4047"/>
                  </a:lnTo>
                  <a:lnTo>
                    <a:pt x="21942" y="4080"/>
                  </a:lnTo>
                  <a:lnTo>
                    <a:pt x="21883" y="4141"/>
                  </a:lnTo>
                  <a:lnTo>
                    <a:pt x="21867" y="4174"/>
                  </a:lnTo>
                  <a:lnTo>
                    <a:pt x="21834" y="4207"/>
                  </a:lnTo>
                  <a:lnTo>
                    <a:pt x="21820" y="4252"/>
                  </a:lnTo>
                  <a:lnTo>
                    <a:pt x="21796" y="4285"/>
                  </a:lnTo>
                  <a:lnTo>
                    <a:pt x="21683" y="4413"/>
                  </a:lnTo>
                  <a:lnTo>
                    <a:pt x="21668" y="4434"/>
                  </a:lnTo>
                  <a:lnTo>
                    <a:pt x="21640" y="4451"/>
                  </a:lnTo>
                  <a:lnTo>
                    <a:pt x="21631" y="4474"/>
                  </a:lnTo>
                  <a:lnTo>
                    <a:pt x="21614" y="4484"/>
                  </a:lnTo>
                  <a:lnTo>
                    <a:pt x="21619" y="4491"/>
                  </a:lnTo>
                  <a:lnTo>
                    <a:pt x="21619" y="4500"/>
                  </a:lnTo>
                  <a:lnTo>
                    <a:pt x="21586" y="4524"/>
                  </a:lnTo>
                  <a:lnTo>
                    <a:pt x="21527" y="4562"/>
                  </a:lnTo>
                  <a:lnTo>
                    <a:pt x="21505" y="4578"/>
                  </a:lnTo>
                  <a:lnTo>
                    <a:pt x="21456" y="4595"/>
                  </a:lnTo>
                  <a:lnTo>
                    <a:pt x="21442" y="4595"/>
                  </a:lnTo>
                  <a:lnTo>
                    <a:pt x="21442" y="4583"/>
                  </a:lnTo>
                  <a:lnTo>
                    <a:pt x="21435" y="4595"/>
                  </a:lnTo>
                  <a:lnTo>
                    <a:pt x="21425" y="4578"/>
                  </a:lnTo>
                  <a:lnTo>
                    <a:pt x="21413" y="4583"/>
                  </a:lnTo>
                  <a:lnTo>
                    <a:pt x="21404" y="4578"/>
                  </a:lnTo>
                  <a:lnTo>
                    <a:pt x="21397" y="4583"/>
                  </a:lnTo>
                  <a:lnTo>
                    <a:pt x="21397" y="4545"/>
                  </a:lnTo>
                  <a:lnTo>
                    <a:pt x="21371" y="4562"/>
                  </a:lnTo>
                  <a:lnTo>
                    <a:pt x="21366" y="4562"/>
                  </a:lnTo>
                  <a:lnTo>
                    <a:pt x="21380" y="4540"/>
                  </a:lnTo>
                  <a:lnTo>
                    <a:pt x="21359" y="4540"/>
                  </a:lnTo>
                  <a:lnTo>
                    <a:pt x="21333" y="4578"/>
                  </a:lnTo>
                  <a:lnTo>
                    <a:pt x="21317" y="4583"/>
                  </a:lnTo>
                  <a:lnTo>
                    <a:pt x="21317" y="4611"/>
                  </a:lnTo>
                  <a:lnTo>
                    <a:pt x="21312" y="4602"/>
                  </a:lnTo>
                  <a:lnTo>
                    <a:pt x="21279" y="4595"/>
                  </a:lnTo>
                  <a:lnTo>
                    <a:pt x="21295" y="4611"/>
                  </a:lnTo>
                  <a:lnTo>
                    <a:pt x="21279" y="4635"/>
                  </a:lnTo>
                  <a:lnTo>
                    <a:pt x="21274" y="4618"/>
                  </a:lnTo>
                  <a:lnTo>
                    <a:pt x="21274" y="4602"/>
                  </a:lnTo>
                  <a:lnTo>
                    <a:pt x="21262" y="4595"/>
                  </a:lnTo>
                  <a:lnTo>
                    <a:pt x="21312" y="4578"/>
                  </a:lnTo>
                  <a:lnTo>
                    <a:pt x="21312" y="4562"/>
                  </a:lnTo>
                  <a:lnTo>
                    <a:pt x="21328" y="4540"/>
                  </a:lnTo>
                  <a:lnTo>
                    <a:pt x="21317" y="4524"/>
                  </a:lnTo>
                  <a:lnTo>
                    <a:pt x="21328" y="4474"/>
                  </a:lnTo>
                  <a:lnTo>
                    <a:pt x="21312" y="4417"/>
                  </a:lnTo>
                  <a:lnTo>
                    <a:pt x="21295" y="4401"/>
                  </a:lnTo>
                  <a:lnTo>
                    <a:pt x="21333" y="4396"/>
                  </a:lnTo>
                  <a:lnTo>
                    <a:pt x="21366" y="4363"/>
                  </a:lnTo>
                  <a:lnTo>
                    <a:pt x="21371" y="4373"/>
                  </a:lnTo>
                  <a:lnTo>
                    <a:pt x="21435" y="4389"/>
                  </a:lnTo>
                  <a:lnTo>
                    <a:pt x="21451" y="4380"/>
                  </a:lnTo>
                  <a:lnTo>
                    <a:pt x="21451" y="4356"/>
                  </a:lnTo>
                  <a:lnTo>
                    <a:pt x="21472" y="4340"/>
                  </a:lnTo>
                  <a:lnTo>
                    <a:pt x="21472" y="4318"/>
                  </a:lnTo>
                  <a:lnTo>
                    <a:pt x="21505" y="4278"/>
                  </a:lnTo>
                  <a:lnTo>
                    <a:pt x="21510" y="4269"/>
                  </a:lnTo>
                  <a:lnTo>
                    <a:pt x="21505" y="4262"/>
                  </a:lnTo>
                  <a:lnTo>
                    <a:pt x="21510" y="4245"/>
                  </a:lnTo>
                  <a:lnTo>
                    <a:pt x="21522" y="4207"/>
                  </a:lnTo>
                  <a:lnTo>
                    <a:pt x="21527" y="4207"/>
                  </a:lnTo>
                  <a:lnTo>
                    <a:pt x="21527" y="4179"/>
                  </a:lnTo>
                  <a:lnTo>
                    <a:pt x="21548" y="4167"/>
                  </a:lnTo>
                  <a:lnTo>
                    <a:pt x="21565" y="4151"/>
                  </a:lnTo>
                  <a:lnTo>
                    <a:pt x="21548" y="4117"/>
                  </a:lnTo>
                  <a:lnTo>
                    <a:pt x="21565" y="4096"/>
                  </a:lnTo>
                  <a:lnTo>
                    <a:pt x="21543" y="4084"/>
                  </a:lnTo>
                  <a:lnTo>
                    <a:pt x="21494" y="4096"/>
                  </a:lnTo>
                  <a:lnTo>
                    <a:pt x="21479" y="4117"/>
                  </a:lnTo>
                  <a:lnTo>
                    <a:pt x="21451" y="4113"/>
                  </a:lnTo>
                  <a:lnTo>
                    <a:pt x="21418" y="4134"/>
                  </a:lnTo>
                  <a:lnTo>
                    <a:pt x="21413" y="4151"/>
                  </a:lnTo>
                  <a:lnTo>
                    <a:pt x="21305" y="4151"/>
                  </a:lnTo>
                  <a:lnTo>
                    <a:pt x="21295" y="4125"/>
                  </a:lnTo>
                  <a:lnTo>
                    <a:pt x="21279" y="4113"/>
                  </a:lnTo>
                  <a:lnTo>
                    <a:pt x="21291" y="4096"/>
                  </a:lnTo>
                  <a:lnTo>
                    <a:pt x="21274" y="4063"/>
                  </a:lnTo>
                  <a:lnTo>
                    <a:pt x="21279" y="4040"/>
                  </a:lnTo>
                  <a:lnTo>
                    <a:pt x="21253" y="4040"/>
                  </a:lnTo>
                  <a:lnTo>
                    <a:pt x="21224" y="4023"/>
                  </a:lnTo>
                  <a:lnTo>
                    <a:pt x="21208" y="4006"/>
                  </a:lnTo>
                  <a:lnTo>
                    <a:pt x="21203" y="4002"/>
                  </a:lnTo>
                  <a:lnTo>
                    <a:pt x="21198" y="3990"/>
                  </a:lnTo>
                  <a:lnTo>
                    <a:pt x="21170" y="4002"/>
                  </a:lnTo>
                  <a:lnTo>
                    <a:pt x="21149" y="3973"/>
                  </a:lnTo>
                  <a:lnTo>
                    <a:pt x="21078" y="3973"/>
                  </a:lnTo>
                  <a:lnTo>
                    <a:pt x="21057" y="3952"/>
                  </a:lnTo>
                  <a:lnTo>
                    <a:pt x="21057" y="3931"/>
                  </a:lnTo>
                  <a:lnTo>
                    <a:pt x="21064" y="3914"/>
                  </a:lnTo>
                  <a:lnTo>
                    <a:pt x="21047" y="3903"/>
                  </a:lnTo>
                  <a:lnTo>
                    <a:pt x="21040" y="3891"/>
                  </a:lnTo>
                  <a:lnTo>
                    <a:pt x="21047" y="3879"/>
                  </a:lnTo>
                  <a:lnTo>
                    <a:pt x="21040" y="3862"/>
                  </a:lnTo>
                  <a:lnTo>
                    <a:pt x="21019" y="3836"/>
                  </a:lnTo>
                  <a:lnTo>
                    <a:pt x="21019" y="3808"/>
                  </a:lnTo>
                  <a:lnTo>
                    <a:pt x="21009" y="3820"/>
                  </a:lnTo>
                  <a:lnTo>
                    <a:pt x="21019" y="3803"/>
                  </a:lnTo>
                  <a:lnTo>
                    <a:pt x="21009" y="3803"/>
                  </a:lnTo>
                  <a:lnTo>
                    <a:pt x="21002" y="3768"/>
                  </a:lnTo>
                  <a:lnTo>
                    <a:pt x="20981" y="3747"/>
                  </a:lnTo>
                  <a:lnTo>
                    <a:pt x="20993" y="3730"/>
                  </a:lnTo>
                  <a:lnTo>
                    <a:pt x="20972" y="3730"/>
                  </a:lnTo>
                  <a:lnTo>
                    <a:pt x="20981" y="3709"/>
                  </a:lnTo>
                  <a:lnTo>
                    <a:pt x="20965" y="3692"/>
                  </a:lnTo>
                  <a:lnTo>
                    <a:pt x="20950" y="3692"/>
                  </a:lnTo>
                  <a:lnTo>
                    <a:pt x="20955" y="3676"/>
                  </a:lnTo>
                  <a:lnTo>
                    <a:pt x="20927" y="3659"/>
                  </a:lnTo>
                  <a:lnTo>
                    <a:pt x="20934" y="3652"/>
                  </a:lnTo>
                  <a:lnTo>
                    <a:pt x="20927" y="3643"/>
                  </a:lnTo>
                  <a:lnTo>
                    <a:pt x="20896" y="3624"/>
                  </a:lnTo>
                  <a:lnTo>
                    <a:pt x="20875" y="3636"/>
                  </a:lnTo>
                  <a:lnTo>
                    <a:pt x="20846" y="3624"/>
                  </a:lnTo>
                  <a:lnTo>
                    <a:pt x="20830" y="3614"/>
                  </a:lnTo>
                  <a:lnTo>
                    <a:pt x="20820" y="3614"/>
                  </a:lnTo>
                  <a:lnTo>
                    <a:pt x="20787" y="3598"/>
                  </a:lnTo>
                  <a:lnTo>
                    <a:pt x="20587" y="3619"/>
                  </a:lnTo>
                  <a:lnTo>
                    <a:pt x="20535" y="3669"/>
                  </a:lnTo>
                  <a:lnTo>
                    <a:pt x="20539" y="3692"/>
                  </a:lnTo>
                  <a:lnTo>
                    <a:pt x="20561" y="3680"/>
                  </a:lnTo>
                  <a:lnTo>
                    <a:pt x="20577" y="3692"/>
                  </a:lnTo>
                  <a:lnTo>
                    <a:pt x="20577" y="3714"/>
                  </a:lnTo>
                  <a:lnTo>
                    <a:pt x="20587" y="3730"/>
                  </a:lnTo>
                  <a:lnTo>
                    <a:pt x="20577" y="3751"/>
                  </a:lnTo>
                  <a:lnTo>
                    <a:pt x="20539" y="3780"/>
                  </a:lnTo>
                  <a:lnTo>
                    <a:pt x="20518" y="3836"/>
                  </a:lnTo>
                  <a:lnTo>
                    <a:pt x="20502" y="3846"/>
                  </a:lnTo>
                  <a:lnTo>
                    <a:pt x="20497" y="3862"/>
                  </a:lnTo>
                  <a:lnTo>
                    <a:pt x="20468" y="3895"/>
                  </a:lnTo>
                  <a:lnTo>
                    <a:pt x="20485" y="3903"/>
                  </a:lnTo>
                  <a:lnTo>
                    <a:pt x="20485" y="3931"/>
                  </a:lnTo>
                  <a:lnTo>
                    <a:pt x="20468" y="3936"/>
                  </a:lnTo>
                  <a:lnTo>
                    <a:pt x="20431" y="3947"/>
                  </a:lnTo>
                  <a:lnTo>
                    <a:pt x="20388" y="3985"/>
                  </a:lnTo>
                  <a:lnTo>
                    <a:pt x="20301" y="3952"/>
                  </a:lnTo>
                  <a:lnTo>
                    <a:pt x="20291" y="3947"/>
                  </a:lnTo>
                  <a:lnTo>
                    <a:pt x="20270" y="3936"/>
                  </a:lnTo>
                  <a:lnTo>
                    <a:pt x="20232" y="3947"/>
                  </a:lnTo>
                  <a:lnTo>
                    <a:pt x="20209" y="3947"/>
                  </a:lnTo>
                  <a:lnTo>
                    <a:pt x="20171" y="3914"/>
                  </a:lnTo>
                  <a:lnTo>
                    <a:pt x="20128" y="3903"/>
                  </a:lnTo>
                  <a:lnTo>
                    <a:pt x="20053" y="3952"/>
                  </a:lnTo>
                  <a:lnTo>
                    <a:pt x="20048" y="3973"/>
                  </a:lnTo>
                  <a:lnTo>
                    <a:pt x="19923" y="4002"/>
                  </a:lnTo>
                  <a:lnTo>
                    <a:pt x="19885" y="4014"/>
                  </a:lnTo>
                  <a:lnTo>
                    <a:pt x="19800" y="4006"/>
                  </a:lnTo>
                  <a:lnTo>
                    <a:pt x="19779" y="3990"/>
                  </a:lnTo>
                  <a:lnTo>
                    <a:pt x="19729" y="4002"/>
                  </a:lnTo>
                  <a:lnTo>
                    <a:pt x="19687" y="3969"/>
                  </a:lnTo>
                  <a:lnTo>
                    <a:pt x="19691" y="3947"/>
                  </a:lnTo>
                  <a:lnTo>
                    <a:pt x="19628" y="3936"/>
                  </a:lnTo>
                  <a:lnTo>
                    <a:pt x="19620" y="3919"/>
                  </a:lnTo>
                  <a:lnTo>
                    <a:pt x="19599" y="3903"/>
                  </a:lnTo>
                  <a:lnTo>
                    <a:pt x="19566" y="3903"/>
                  </a:lnTo>
                  <a:lnTo>
                    <a:pt x="19552" y="3895"/>
                  </a:lnTo>
                  <a:lnTo>
                    <a:pt x="19507" y="3891"/>
                  </a:lnTo>
                  <a:lnTo>
                    <a:pt x="19439" y="3903"/>
                  </a:lnTo>
                  <a:lnTo>
                    <a:pt x="19410" y="3919"/>
                  </a:lnTo>
                  <a:lnTo>
                    <a:pt x="19401" y="3919"/>
                  </a:lnTo>
                  <a:lnTo>
                    <a:pt x="19389" y="3919"/>
                  </a:lnTo>
                  <a:lnTo>
                    <a:pt x="19356" y="3919"/>
                  </a:lnTo>
                  <a:lnTo>
                    <a:pt x="19351" y="3903"/>
                  </a:lnTo>
                  <a:lnTo>
                    <a:pt x="19335" y="3903"/>
                  </a:lnTo>
                  <a:lnTo>
                    <a:pt x="19292" y="3879"/>
                  </a:lnTo>
                  <a:lnTo>
                    <a:pt x="19297" y="3862"/>
                  </a:lnTo>
                  <a:lnTo>
                    <a:pt x="19280" y="3858"/>
                  </a:lnTo>
                  <a:lnTo>
                    <a:pt x="19292" y="3841"/>
                  </a:lnTo>
                  <a:lnTo>
                    <a:pt x="19280" y="3825"/>
                  </a:lnTo>
                  <a:lnTo>
                    <a:pt x="19280" y="3808"/>
                  </a:lnTo>
                  <a:lnTo>
                    <a:pt x="19243" y="3791"/>
                  </a:lnTo>
                  <a:lnTo>
                    <a:pt x="19226" y="3803"/>
                  </a:lnTo>
                  <a:lnTo>
                    <a:pt x="19167" y="3768"/>
                  </a:lnTo>
                  <a:lnTo>
                    <a:pt x="19129" y="3768"/>
                  </a:lnTo>
                  <a:lnTo>
                    <a:pt x="19049" y="3730"/>
                  </a:lnTo>
                  <a:lnTo>
                    <a:pt x="19032" y="3763"/>
                  </a:lnTo>
                  <a:lnTo>
                    <a:pt x="19011" y="3768"/>
                  </a:lnTo>
                  <a:lnTo>
                    <a:pt x="19006" y="3791"/>
                  </a:lnTo>
                  <a:lnTo>
                    <a:pt x="18990" y="3791"/>
                  </a:lnTo>
                  <a:lnTo>
                    <a:pt x="18973" y="3841"/>
                  </a:lnTo>
                  <a:lnTo>
                    <a:pt x="18990" y="3858"/>
                  </a:lnTo>
                  <a:lnTo>
                    <a:pt x="18990" y="3862"/>
                  </a:lnTo>
                  <a:lnTo>
                    <a:pt x="18990" y="3874"/>
                  </a:lnTo>
                  <a:lnTo>
                    <a:pt x="19011" y="3891"/>
                  </a:lnTo>
                  <a:lnTo>
                    <a:pt x="19011" y="3903"/>
                  </a:lnTo>
                  <a:lnTo>
                    <a:pt x="18994" y="3931"/>
                  </a:lnTo>
                  <a:lnTo>
                    <a:pt x="18969" y="3936"/>
                  </a:lnTo>
                  <a:lnTo>
                    <a:pt x="18940" y="3957"/>
                  </a:lnTo>
                  <a:lnTo>
                    <a:pt x="18919" y="3947"/>
                  </a:lnTo>
                  <a:lnTo>
                    <a:pt x="18886" y="3952"/>
                  </a:lnTo>
                  <a:lnTo>
                    <a:pt x="18848" y="3936"/>
                  </a:lnTo>
                  <a:lnTo>
                    <a:pt x="18843" y="3947"/>
                  </a:lnTo>
                  <a:lnTo>
                    <a:pt x="18834" y="3936"/>
                  </a:lnTo>
                  <a:lnTo>
                    <a:pt x="18810" y="3947"/>
                  </a:lnTo>
                  <a:lnTo>
                    <a:pt x="18780" y="3936"/>
                  </a:lnTo>
                  <a:lnTo>
                    <a:pt x="18772" y="3931"/>
                  </a:lnTo>
                  <a:lnTo>
                    <a:pt x="18751" y="3936"/>
                  </a:lnTo>
                  <a:lnTo>
                    <a:pt x="18735" y="3914"/>
                  </a:lnTo>
                  <a:lnTo>
                    <a:pt x="18725" y="3879"/>
                  </a:lnTo>
                  <a:lnTo>
                    <a:pt x="18645" y="3879"/>
                  </a:lnTo>
                  <a:lnTo>
                    <a:pt x="18633" y="3874"/>
                  </a:lnTo>
                  <a:lnTo>
                    <a:pt x="18633" y="3858"/>
                  </a:lnTo>
                  <a:lnTo>
                    <a:pt x="18628" y="3858"/>
                  </a:lnTo>
                  <a:lnTo>
                    <a:pt x="18612" y="3874"/>
                  </a:lnTo>
                  <a:lnTo>
                    <a:pt x="18591" y="3858"/>
                  </a:lnTo>
                  <a:lnTo>
                    <a:pt x="18579" y="3862"/>
                  </a:lnTo>
                  <a:lnTo>
                    <a:pt x="18546" y="3874"/>
                  </a:lnTo>
                  <a:lnTo>
                    <a:pt x="18524" y="3891"/>
                  </a:lnTo>
                  <a:lnTo>
                    <a:pt x="18494" y="3895"/>
                  </a:lnTo>
                  <a:lnTo>
                    <a:pt x="18482" y="3914"/>
                  </a:lnTo>
                  <a:lnTo>
                    <a:pt x="18432" y="3931"/>
                  </a:lnTo>
                  <a:lnTo>
                    <a:pt x="18428" y="3936"/>
                  </a:lnTo>
                  <a:lnTo>
                    <a:pt x="18402" y="3947"/>
                  </a:lnTo>
                  <a:lnTo>
                    <a:pt x="18411" y="3957"/>
                  </a:lnTo>
                  <a:lnTo>
                    <a:pt x="18380" y="3973"/>
                  </a:lnTo>
                  <a:lnTo>
                    <a:pt x="18373" y="3969"/>
                  </a:lnTo>
                  <a:lnTo>
                    <a:pt x="18373" y="3985"/>
                  </a:lnTo>
                  <a:lnTo>
                    <a:pt x="18357" y="3985"/>
                  </a:lnTo>
                  <a:lnTo>
                    <a:pt x="18347" y="3973"/>
                  </a:lnTo>
                  <a:lnTo>
                    <a:pt x="18347" y="3990"/>
                  </a:lnTo>
                  <a:lnTo>
                    <a:pt x="18305" y="3985"/>
                  </a:lnTo>
                  <a:lnTo>
                    <a:pt x="18293" y="3990"/>
                  </a:lnTo>
                  <a:lnTo>
                    <a:pt x="18293" y="4006"/>
                  </a:lnTo>
                  <a:lnTo>
                    <a:pt x="18276" y="4014"/>
                  </a:lnTo>
                  <a:lnTo>
                    <a:pt x="18239" y="4023"/>
                  </a:lnTo>
                  <a:lnTo>
                    <a:pt x="18239" y="4006"/>
                  </a:lnTo>
                  <a:lnTo>
                    <a:pt x="18213" y="4002"/>
                  </a:lnTo>
                  <a:lnTo>
                    <a:pt x="18213" y="3985"/>
                  </a:lnTo>
                  <a:lnTo>
                    <a:pt x="18184" y="3973"/>
                  </a:lnTo>
                  <a:lnTo>
                    <a:pt x="18201" y="3957"/>
                  </a:lnTo>
                  <a:lnTo>
                    <a:pt x="18201" y="3952"/>
                  </a:lnTo>
                  <a:lnTo>
                    <a:pt x="18184" y="3952"/>
                  </a:lnTo>
                  <a:lnTo>
                    <a:pt x="18163" y="3985"/>
                  </a:lnTo>
                  <a:lnTo>
                    <a:pt x="18125" y="3973"/>
                  </a:lnTo>
                  <a:lnTo>
                    <a:pt x="18092" y="3973"/>
                  </a:lnTo>
                  <a:lnTo>
                    <a:pt x="18087" y="3947"/>
                  </a:lnTo>
                  <a:lnTo>
                    <a:pt x="18078" y="3947"/>
                  </a:lnTo>
                  <a:lnTo>
                    <a:pt x="18078" y="3936"/>
                  </a:lnTo>
                  <a:lnTo>
                    <a:pt x="18078" y="3931"/>
                  </a:lnTo>
                  <a:lnTo>
                    <a:pt x="18033" y="3914"/>
                  </a:lnTo>
                  <a:lnTo>
                    <a:pt x="18002" y="3858"/>
                  </a:lnTo>
                  <a:lnTo>
                    <a:pt x="17969" y="3841"/>
                  </a:lnTo>
                  <a:lnTo>
                    <a:pt x="17915" y="3846"/>
                  </a:lnTo>
                  <a:lnTo>
                    <a:pt x="17915" y="3858"/>
                  </a:lnTo>
                  <a:lnTo>
                    <a:pt x="17898" y="3862"/>
                  </a:lnTo>
                  <a:lnTo>
                    <a:pt x="17835" y="3862"/>
                  </a:lnTo>
                  <a:lnTo>
                    <a:pt x="17823" y="3841"/>
                  </a:lnTo>
                  <a:lnTo>
                    <a:pt x="17802" y="3846"/>
                  </a:lnTo>
                  <a:lnTo>
                    <a:pt x="17806" y="3825"/>
                  </a:lnTo>
                  <a:lnTo>
                    <a:pt x="17780" y="3808"/>
                  </a:lnTo>
                  <a:lnTo>
                    <a:pt x="17769" y="3820"/>
                  </a:lnTo>
                  <a:lnTo>
                    <a:pt x="17752" y="3825"/>
                  </a:lnTo>
                  <a:lnTo>
                    <a:pt x="17764" y="3841"/>
                  </a:lnTo>
                  <a:lnTo>
                    <a:pt x="17731" y="3858"/>
                  </a:lnTo>
                  <a:lnTo>
                    <a:pt x="17731" y="3862"/>
                  </a:lnTo>
                  <a:lnTo>
                    <a:pt x="17575" y="3619"/>
                  </a:lnTo>
                  <a:lnTo>
                    <a:pt x="17483" y="3548"/>
                  </a:lnTo>
                  <a:lnTo>
                    <a:pt x="17478" y="3532"/>
                  </a:lnTo>
                  <a:lnTo>
                    <a:pt x="17495" y="3532"/>
                  </a:lnTo>
                  <a:lnTo>
                    <a:pt x="17511" y="3525"/>
                  </a:lnTo>
                  <a:lnTo>
                    <a:pt x="17499" y="3508"/>
                  </a:lnTo>
                  <a:lnTo>
                    <a:pt x="17478" y="3515"/>
                  </a:lnTo>
                  <a:lnTo>
                    <a:pt x="17461" y="3515"/>
                  </a:lnTo>
                  <a:lnTo>
                    <a:pt x="17461" y="3525"/>
                  </a:lnTo>
                  <a:lnTo>
                    <a:pt x="17407" y="3541"/>
                  </a:lnTo>
                  <a:lnTo>
                    <a:pt x="17402" y="3541"/>
                  </a:lnTo>
                  <a:lnTo>
                    <a:pt x="17407" y="3548"/>
                  </a:lnTo>
                  <a:lnTo>
                    <a:pt x="17374" y="3569"/>
                  </a:lnTo>
                  <a:lnTo>
                    <a:pt x="17360" y="3565"/>
                  </a:lnTo>
                  <a:lnTo>
                    <a:pt x="17353" y="3581"/>
                  </a:lnTo>
                  <a:lnTo>
                    <a:pt x="17336" y="3581"/>
                  </a:lnTo>
                  <a:lnTo>
                    <a:pt x="17336" y="3603"/>
                  </a:lnTo>
                  <a:lnTo>
                    <a:pt x="17322" y="3586"/>
                  </a:lnTo>
                  <a:lnTo>
                    <a:pt x="17298" y="3586"/>
                  </a:lnTo>
                  <a:lnTo>
                    <a:pt x="17284" y="3586"/>
                  </a:lnTo>
                  <a:lnTo>
                    <a:pt x="17268" y="3603"/>
                  </a:lnTo>
                  <a:lnTo>
                    <a:pt x="17251" y="3586"/>
                  </a:lnTo>
                  <a:lnTo>
                    <a:pt x="17268" y="3565"/>
                  </a:lnTo>
                  <a:lnTo>
                    <a:pt x="17284" y="3565"/>
                  </a:lnTo>
                  <a:lnTo>
                    <a:pt x="17294" y="3541"/>
                  </a:lnTo>
                  <a:lnTo>
                    <a:pt x="17251" y="3558"/>
                  </a:lnTo>
                  <a:lnTo>
                    <a:pt x="17239" y="3548"/>
                  </a:lnTo>
                  <a:lnTo>
                    <a:pt x="17230" y="3541"/>
                  </a:lnTo>
                  <a:lnTo>
                    <a:pt x="17209" y="3532"/>
                  </a:lnTo>
                  <a:lnTo>
                    <a:pt x="17197" y="3548"/>
                  </a:lnTo>
                  <a:lnTo>
                    <a:pt x="17213" y="3541"/>
                  </a:lnTo>
                  <a:lnTo>
                    <a:pt x="17213" y="3558"/>
                  </a:lnTo>
                  <a:lnTo>
                    <a:pt x="17197" y="3558"/>
                  </a:lnTo>
                  <a:lnTo>
                    <a:pt x="17192" y="3558"/>
                  </a:lnTo>
                  <a:lnTo>
                    <a:pt x="17197" y="3532"/>
                  </a:lnTo>
                  <a:lnTo>
                    <a:pt x="17185" y="3532"/>
                  </a:lnTo>
                  <a:lnTo>
                    <a:pt x="17192" y="3525"/>
                  </a:lnTo>
                  <a:lnTo>
                    <a:pt x="17176" y="3515"/>
                  </a:lnTo>
                  <a:lnTo>
                    <a:pt x="17171" y="3508"/>
                  </a:lnTo>
                  <a:lnTo>
                    <a:pt x="17176" y="3541"/>
                  </a:lnTo>
                  <a:lnTo>
                    <a:pt x="17143" y="3525"/>
                  </a:lnTo>
                  <a:lnTo>
                    <a:pt x="17138" y="3541"/>
                  </a:lnTo>
                  <a:lnTo>
                    <a:pt x="17121" y="3532"/>
                  </a:lnTo>
                  <a:lnTo>
                    <a:pt x="17105" y="3541"/>
                  </a:lnTo>
                  <a:lnTo>
                    <a:pt x="17088" y="3515"/>
                  </a:lnTo>
                  <a:lnTo>
                    <a:pt x="17105" y="3515"/>
                  </a:lnTo>
                  <a:lnTo>
                    <a:pt x="17105" y="3491"/>
                  </a:lnTo>
                  <a:lnTo>
                    <a:pt x="17117" y="3487"/>
                  </a:lnTo>
                  <a:lnTo>
                    <a:pt x="17100" y="3470"/>
                  </a:lnTo>
                  <a:lnTo>
                    <a:pt x="17088" y="3447"/>
                  </a:lnTo>
                  <a:lnTo>
                    <a:pt x="17083" y="3421"/>
                  </a:lnTo>
                  <a:lnTo>
                    <a:pt x="17062" y="3421"/>
                  </a:lnTo>
                  <a:lnTo>
                    <a:pt x="17046" y="3437"/>
                  </a:lnTo>
                  <a:lnTo>
                    <a:pt x="16996" y="3414"/>
                  </a:lnTo>
                  <a:lnTo>
                    <a:pt x="16975" y="3414"/>
                  </a:lnTo>
                  <a:lnTo>
                    <a:pt x="16970" y="3421"/>
                  </a:lnTo>
                  <a:lnTo>
                    <a:pt x="16954" y="3404"/>
                  </a:lnTo>
                  <a:lnTo>
                    <a:pt x="16954" y="3421"/>
                  </a:lnTo>
                  <a:lnTo>
                    <a:pt x="16937" y="3414"/>
                  </a:lnTo>
                  <a:lnTo>
                    <a:pt x="16928" y="3430"/>
                  </a:lnTo>
                  <a:lnTo>
                    <a:pt x="16899" y="3430"/>
                  </a:lnTo>
                  <a:lnTo>
                    <a:pt x="16906" y="3447"/>
                  </a:lnTo>
                  <a:lnTo>
                    <a:pt x="16899" y="3454"/>
                  </a:lnTo>
                  <a:lnTo>
                    <a:pt x="16883" y="3454"/>
                  </a:lnTo>
                  <a:lnTo>
                    <a:pt x="16852" y="3470"/>
                  </a:lnTo>
                  <a:lnTo>
                    <a:pt x="16743" y="3491"/>
                  </a:lnTo>
                  <a:lnTo>
                    <a:pt x="16743" y="3475"/>
                  </a:lnTo>
                  <a:lnTo>
                    <a:pt x="16727" y="3491"/>
                  </a:lnTo>
                  <a:lnTo>
                    <a:pt x="16706" y="3487"/>
                  </a:lnTo>
                  <a:lnTo>
                    <a:pt x="16689" y="3503"/>
                  </a:lnTo>
                  <a:lnTo>
                    <a:pt x="16689" y="3515"/>
                  </a:lnTo>
                  <a:lnTo>
                    <a:pt x="16668" y="3508"/>
                  </a:lnTo>
                  <a:lnTo>
                    <a:pt x="16604" y="3515"/>
                  </a:lnTo>
                  <a:lnTo>
                    <a:pt x="16604" y="3525"/>
                  </a:lnTo>
                  <a:lnTo>
                    <a:pt x="16597" y="3532"/>
                  </a:lnTo>
                  <a:lnTo>
                    <a:pt x="16580" y="3525"/>
                  </a:lnTo>
                  <a:lnTo>
                    <a:pt x="16543" y="3532"/>
                  </a:lnTo>
                  <a:lnTo>
                    <a:pt x="16543" y="3541"/>
                  </a:lnTo>
                  <a:lnTo>
                    <a:pt x="16505" y="3548"/>
                  </a:lnTo>
                  <a:lnTo>
                    <a:pt x="16505" y="3565"/>
                  </a:lnTo>
                  <a:lnTo>
                    <a:pt x="16491" y="3548"/>
                  </a:lnTo>
                  <a:lnTo>
                    <a:pt x="16467" y="3548"/>
                  </a:lnTo>
                  <a:lnTo>
                    <a:pt x="16467" y="3558"/>
                  </a:lnTo>
                  <a:lnTo>
                    <a:pt x="16420" y="3541"/>
                  </a:lnTo>
                  <a:lnTo>
                    <a:pt x="16398" y="3558"/>
                  </a:lnTo>
                  <a:lnTo>
                    <a:pt x="16398" y="3565"/>
                  </a:lnTo>
                  <a:lnTo>
                    <a:pt x="16415" y="3569"/>
                  </a:lnTo>
                  <a:lnTo>
                    <a:pt x="16398" y="3586"/>
                  </a:lnTo>
                  <a:lnTo>
                    <a:pt x="16387" y="3586"/>
                  </a:lnTo>
                  <a:lnTo>
                    <a:pt x="16424" y="3586"/>
                  </a:lnTo>
                  <a:lnTo>
                    <a:pt x="16436" y="3598"/>
                  </a:lnTo>
                  <a:lnTo>
                    <a:pt x="16420" y="3603"/>
                  </a:lnTo>
                  <a:lnTo>
                    <a:pt x="16415" y="3598"/>
                  </a:lnTo>
                  <a:lnTo>
                    <a:pt x="16403" y="3619"/>
                  </a:lnTo>
                  <a:lnTo>
                    <a:pt x="16474" y="3636"/>
                  </a:lnTo>
                  <a:lnTo>
                    <a:pt x="16474" y="3652"/>
                  </a:lnTo>
                  <a:lnTo>
                    <a:pt x="16458" y="3652"/>
                  </a:lnTo>
                  <a:lnTo>
                    <a:pt x="16424" y="3643"/>
                  </a:lnTo>
                  <a:lnTo>
                    <a:pt x="16398" y="3652"/>
                  </a:lnTo>
                  <a:lnTo>
                    <a:pt x="16370" y="3680"/>
                  </a:lnTo>
                  <a:lnTo>
                    <a:pt x="16382" y="3680"/>
                  </a:lnTo>
                  <a:lnTo>
                    <a:pt x="16382" y="3692"/>
                  </a:lnTo>
                  <a:lnTo>
                    <a:pt x="16387" y="3697"/>
                  </a:lnTo>
                  <a:lnTo>
                    <a:pt x="16398" y="3714"/>
                  </a:lnTo>
                  <a:lnTo>
                    <a:pt x="16370" y="3730"/>
                  </a:lnTo>
                  <a:lnTo>
                    <a:pt x="16361" y="3730"/>
                  </a:lnTo>
                  <a:lnTo>
                    <a:pt x="16316" y="3747"/>
                  </a:lnTo>
                  <a:lnTo>
                    <a:pt x="16328" y="3751"/>
                  </a:lnTo>
                  <a:lnTo>
                    <a:pt x="16361" y="3763"/>
                  </a:lnTo>
                  <a:lnTo>
                    <a:pt x="16349" y="3780"/>
                  </a:lnTo>
                  <a:lnTo>
                    <a:pt x="16387" y="3787"/>
                  </a:lnTo>
                  <a:lnTo>
                    <a:pt x="16387" y="3791"/>
                  </a:lnTo>
                  <a:lnTo>
                    <a:pt x="16424" y="3803"/>
                  </a:lnTo>
                  <a:lnTo>
                    <a:pt x="16441" y="3820"/>
                  </a:lnTo>
                  <a:lnTo>
                    <a:pt x="16436" y="3820"/>
                  </a:lnTo>
                  <a:lnTo>
                    <a:pt x="16420" y="3862"/>
                  </a:lnTo>
                  <a:lnTo>
                    <a:pt x="16370" y="3874"/>
                  </a:lnTo>
                  <a:lnTo>
                    <a:pt x="16344" y="3874"/>
                  </a:lnTo>
                  <a:lnTo>
                    <a:pt x="16328" y="3858"/>
                  </a:lnTo>
                  <a:lnTo>
                    <a:pt x="16311" y="3879"/>
                  </a:lnTo>
                  <a:lnTo>
                    <a:pt x="16290" y="3891"/>
                  </a:lnTo>
                  <a:lnTo>
                    <a:pt x="16295" y="3879"/>
                  </a:lnTo>
                  <a:lnTo>
                    <a:pt x="16290" y="3874"/>
                  </a:lnTo>
                  <a:lnTo>
                    <a:pt x="16252" y="3874"/>
                  </a:lnTo>
                  <a:lnTo>
                    <a:pt x="16226" y="3858"/>
                  </a:lnTo>
                  <a:lnTo>
                    <a:pt x="16219" y="3846"/>
                  </a:lnTo>
                  <a:lnTo>
                    <a:pt x="16226" y="3836"/>
                  </a:lnTo>
                  <a:lnTo>
                    <a:pt x="16202" y="3825"/>
                  </a:lnTo>
                  <a:lnTo>
                    <a:pt x="16198" y="3836"/>
                  </a:lnTo>
                  <a:lnTo>
                    <a:pt x="16165" y="3836"/>
                  </a:lnTo>
                  <a:lnTo>
                    <a:pt x="16165" y="3846"/>
                  </a:lnTo>
                  <a:lnTo>
                    <a:pt x="16150" y="3858"/>
                  </a:lnTo>
                  <a:lnTo>
                    <a:pt x="16117" y="3836"/>
                  </a:lnTo>
                  <a:lnTo>
                    <a:pt x="16096" y="3836"/>
                  </a:lnTo>
                  <a:lnTo>
                    <a:pt x="16089" y="3836"/>
                  </a:lnTo>
                  <a:lnTo>
                    <a:pt x="16096" y="3841"/>
                  </a:lnTo>
                  <a:lnTo>
                    <a:pt x="16080" y="3836"/>
                  </a:lnTo>
                  <a:lnTo>
                    <a:pt x="16063" y="3846"/>
                  </a:lnTo>
                  <a:lnTo>
                    <a:pt x="16058" y="3846"/>
                  </a:lnTo>
                  <a:lnTo>
                    <a:pt x="16047" y="3862"/>
                  </a:lnTo>
                  <a:lnTo>
                    <a:pt x="16021" y="3891"/>
                  </a:lnTo>
                  <a:lnTo>
                    <a:pt x="15950" y="3836"/>
                  </a:lnTo>
                  <a:lnTo>
                    <a:pt x="15938" y="3841"/>
                  </a:lnTo>
                  <a:lnTo>
                    <a:pt x="15938" y="3846"/>
                  </a:lnTo>
                  <a:lnTo>
                    <a:pt x="15950" y="3846"/>
                  </a:lnTo>
                  <a:lnTo>
                    <a:pt x="15950" y="3879"/>
                  </a:lnTo>
                  <a:lnTo>
                    <a:pt x="15938" y="3891"/>
                  </a:lnTo>
                  <a:lnTo>
                    <a:pt x="15933" y="3874"/>
                  </a:lnTo>
                  <a:lnTo>
                    <a:pt x="15938" y="3858"/>
                  </a:lnTo>
                  <a:lnTo>
                    <a:pt x="15928" y="3846"/>
                  </a:lnTo>
                  <a:lnTo>
                    <a:pt x="15900" y="3825"/>
                  </a:lnTo>
                  <a:lnTo>
                    <a:pt x="15879" y="3820"/>
                  </a:lnTo>
                  <a:lnTo>
                    <a:pt x="15879" y="3803"/>
                  </a:lnTo>
                  <a:lnTo>
                    <a:pt x="15862" y="3791"/>
                  </a:lnTo>
                  <a:lnTo>
                    <a:pt x="15803" y="3791"/>
                  </a:lnTo>
                  <a:lnTo>
                    <a:pt x="15787" y="3768"/>
                  </a:lnTo>
                  <a:lnTo>
                    <a:pt x="15772" y="3780"/>
                  </a:lnTo>
                  <a:lnTo>
                    <a:pt x="15756" y="3780"/>
                  </a:lnTo>
                  <a:lnTo>
                    <a:pt x="15749" y="3787"/>
                  </a:lnTo>
                  <a:lnTo>
                    <a:pt x="15749" y="3791"/>
                  </a:lnTo>
                  <a:lnTo>
                    <a:pt x="15739" y="3791"/>
                  </a:lnTo>
                  <a:lnTo>
                    <a:pt x="15711" y="3791"/>
                  </a:lnTo>
                  <a:lnTo>
                    <a:pt x="15711" y="3787"/>
                  </a:lnTo>
                  <a:lnTo>
                    <a:pt x="15718" y="3787"/>
                  </a:lnTo>
                  <a:lnTo>
                    <a:pt x="15718" y="3780"/>
                  </a:lnTo>
                  <a:lnTo>
                    <a:pt x="15680" y="3768"/>
                  </a:lnTo>
                  <a:lnTo>
                    <a:pt x="15680" y="3787"/>
                  </a:lnTo>
                  <a:lnTo>
                    <a:pt x="15664" y="3780"/>
                  </a:lnTo>
                  <a:lnTo>
                    <a:pt x="15664" y="3791"/>
                  </a:lnTo>
                  <a:lnTo>
                    <a:pt x="15647" y="3803"/>
                  </a:lnTo>
                  <a:lnTo>
                    <a:pt x="15647" y="3808"/>
                  </a:lnTo>
                  <a:lnTo>
                    <a:pt x="15609" y="3836"/>
                  </a:lnTo>
                  <a:lnTo>
                    <a:pt x="15588" y="3825"/>
                  </a:lnTo>
                  <a:lnTo>
                    <a:pt x="15576" y="3841"/>
                  </a:lnTo>
                  <a:lnTo>
                    <a:pt x="15576" y="3858"/>
                  </a:lnTo>
                  <a:lnTo>
                    <a:pt x="15534" y="3879"/>
                  </a:lnTo>
                  <a:lnTo>
                    <a:pt x="15534" y="3914"/>
                  </a:lnTo>
                  <a:lnTo>
                    <a:pt x="15550" y="3931"/>
                  </a:lnTo>
                  <a:lnTo>
                    <a:pt x="15539" y="3947"/>
                  </a:lnTo>
                  <a:lnTo>
                    <a:pt x="15508" y="3952"/>
                  </a:lnTo>
                  <a:lnTo>
                    <a:pt x="15501" y="3947"/>
                  </a:lnTo>
                  <a:lnTo>
                    <a:pt x="15480" y="3914"/>
                  </a:lnTo>
                  <a:lnTo>
                    <a:pt x="15454" y="3891"/>
                  </a:lnTo>
                  <a:lnTo>
                    <a:pt x="15447" y="3895"/>
                  </a:lnTo>
                  <a:lnTo>
                    <a:pt x="15432" y="3903"/>
                  </a:lnTo>
                  <a:lnTo>
                    <a:pt x="15432" y="3931"/>
                  </a:lnTo>
                  <a:lnTo>
                    <a:pt x="15409" y="3952"/>
                  </a:lnTo>
                  <a:lnTo>
                    <a:pt x="15395" y="4002"/>
                  </a:lnTo>
                  <a:lnTo>
                    <a:pt x="15416" y="4014"/>
                  </a:lnTo>
                  <a:lnTo>
                    <a:pt x="15395" y="4030"/>
                  </a:lnTo>
                  <a:lnTo>
                    <a:pt x="15378" y="4080"/>
                  </a:lnTo>
                  <a:lnTo>
                    <a:pt x="15416" y="4096"/>
                  </a:lnTo>
                  <a:lnTo>
                    <a:pt x="15425" y="4134"/>
                  </a:lnTo>
                  <a:lnTo>
                    <a:pt x="15442" y="4151"/>
                  </a:lnTo>
                  <a:lnTo>
                    <a:pt x="15442" y="4134"/>
                  </a:lnTo>
                  <a:lnTo>
                    <a:pt x="15496" y="4151"/>
                  </a:lnTo>
                  <a:lnTo>
                    <a:pt x="15555" y="4228"/>
                  </a:lnTo>
                  <a:lnTo>
                    <a:pt x="15534" y="4236"/>
                  </a:lnTo>
                  <a:lnTo>
                    <a:pt x="15517" y="4236"/>
                  </a:lnTo>
                  <a:lnTo>
                    <a:pt x="15517" y="4252"/>
                  </a:lnTo>
                  <a:lnTo>
                    <a:pt x="15560" y="4269"/>
                  </a:lnTo>
                  <a:lnTo>
                    <a:pt x="15572" y="4278"/>
                  </a:lnTo>
                  <a:lnTo>
                    <a:pt x="15560" y="4278"/>
                  </a:lnTo>
                  <a:lnTo>
                    <a:pt x="15550" y="4290"/>
                  </a:lnTo>
                  <a:lnTo>
                    <a:pt x="15522" y="4290"/>
                  </a:lnTo>
                  <a:lnTo>
                    <a:pt x="15534" y="4302"/>
                  </a:lnTo>
                  <a:lnTo>
                    <a:pt x="15534" y="4318"/>
                  </a:lnTo>
                  <a:lnTo>
                    <a:pt x="15522" y="4306"/>
                  </a:lnTo>
                  <a:lnTo>
                    <a:pt x="15496" y="4323"/>
                  </a:lnTo>
                  <a:lnTo>
                    <a:pt x="15470" y="4335"/>
                  </a:lnTo>
                  <a:lnTo>
                    <a:pt x="15447" y="4323"/>
                  </a:lnTo>
                  <a:lnTo>
                    <a:pt x="15454" y="4340"/>
                  </a:lnTo>
                  <a:lnTo>
                    <a:pt x="15442" y="4323"/>
                  </a:lnTo>
                  <a:lnTo>
                    <a:pt x="15447" y="4340"/>
                  </a:lnTo>
                  <a:lnTo>
                    <a:pt x="15447" y="4356"/>
                  </a:lnTo>
                  <a:lnTo>
                    <a:pt x="15416" y="4413"/>
                  </a:lnTo>
                  <a:lnTo>
                    <a:pt x="15416" y="4401"/>
                  </a:lnTo>
                  <a:lnTo>
                    <a:pt x="15395" y="4417"/>
                  </a:lnTo>
                  <a:lnTo>
                    <a:pt x="15387" y="4434"/>
                  </a:lnTo>
                  <a:lnTo>
                    <a:pt x="15395" y="4446"/>
                  </a:lnTo>
                  <a:lnTo>
                    <a:pt x="15416" y="4451"/>
                  </a:lnTo>
                  <a:lnTo>
                    <a:pt x="15432" y="4484"/>
                  </a:lnTo>
                  <a:lnTo>
                    <a:pt x="15447" y="4500"/>
                  </a:lnTo>
                  <a:lnTo>
                    <a:pt x="15442" y="4512"/>
                  </a:lnTo>
                  <a:lnTo>
                    <a:pt x="15442" y="4524"/>
                  </a:lnTo>
                  <a:lnTo>
                    <a:pt x="15447" y="4491"/>
                  </a:lnTo>
                  <a:lnTo>
                    <a:pt x="15463" y="4491"/>
                  </a:lnTo>
                  <a:lnTo>
                    <a:pt x="15447" y="4528"/>
                  </a:lnTo>
                  <a:lnTo>
                    <a:pt x="15447" y="4540"/>
                  </a:lnTo>
                  <a:lnTo>
                    <a:pt x="15454" y="4545"/>
                  </a:lnTo>
                  <a:lnTo>
                    <a:pt x="15447" y="4557"/>
                  </a:lnTo>
                  <a:lnTo>
                    <a:pt x="15442" y="4566"/>
                  </a:lnTo>
                  <a:lnTo>
                    <a:pt x="15463" y="4578"/>
                  </a:lnTo>
                  <a:lnTo>
                    <a:pt x="15463" y="4602"/>
                  </a:lnTo>
                  <a:lnTo>
                    <a:pt x="15484" y="4623"/>
                  </a:lnTo>
                  <a:lnTo>
                    <a:pt x="15508" y="4668"/>
                  </a:lnTo>
                  <a:lnTo>
                    <a:pt x="15522" y="4673"/>
                  </a:lnTo>
                  <a:lnTo>
                    <a:pt x="15508" y="4689"/>
                  </a:lnTo>
                  <a:lnTo>
                    <a:pt x="15484" y="4706"/>
                  </a:lnTo>
                  <a:lnTo>
                    <a:pt x="15480" y="4722"/>
                  </a:lnTo>
                  <a:lnTo>
                    <a:pt x="15463" y="4729"/>
                  </a:lnTo>
                  <a:lnTo>
                    <a:pt x="15432" y="4710"/>
                  </a:lnTo>
                  <a:lnTo>
                    <a:pt x="15425" y="4694"/>
                  </a:lnTo>
                  <a:lnTo>
                    <a:pt x="15395" y="4668"/>
                  </a:lnTo>
                  <a:lnTo>
                    <a:pt x="15387" y="4673"/>
                  </a:lnTo>
                  <a:lnTo>
                    <a:pt x="15371" y="4668"/>
                  </a:lnTo>
                  <a:lnTo>
                    <a:pt x="15319" y="4639"/>
                  </a:lnTo>
                  <a:lnTo>
                    <a:pt x="15324" y="4611"/>
                  </a:lnTo>
                  <a:lnTo>
                    <a:pt x="15291" y="4611"/>
                  </a:lnTo>
                  <a:lnTo>
                    <a:pt x="15286" y="4595"/>
                  </a:lnTo>
                  <a:lnTo>
                    <a:pt x="15269" y="4583"/>
                  </a:lnTo>
                  <a:lnTo>
                    <a:pt x="15253" y="4602"/>
                  </a:lnTo>
                  <a:lnTo>
                    <a:pt x="15236" y="4583"/>
                  </a:lnTo>
                  <a:lnTo>
                    <a:pt x="15194" y="4602"/>
                  </a:lnTo>
                  <a:lnTo>
                    <a:pt x="15182" y="4602"/>
                  </a:lnTo>
                  <a:lnTo>
                    <a:pt x="15182" y="4595"/>
                  </a:lnTo>
                  <a:lnTo>
                    <a:pt x="15144" y="4578"/>
                  </a:lnTo>
                  <a:lnTo>
                    <a:pt x="15123" y="4557"/>
                  </a:lnTo>
                  <a:lnTo>
                    <a:pt x="15031" y="4545"/>
                  </a:lnTo>
                  <a:lnTo>
                    <a:pt x="14967" y="4524"/>
                  </a:lnTo>
                  <a:lnTo>
                    <a:pt x="14941" y="4512"/>
                  </a:lnTo>
                  <a:lnTo>
                    <a:pt x="14924" y="4524"/>
                  </a:lnTo>
                  <a:lnTo>
                    <a:pt x="14924" y="4540"/>
                  </a:lnTo>
                  <a:lnTo>
                    <a:pt x="14832" y="4458"/>
                  </a:lnTo>
                  <a:lnTo>
                    <a:pt x="14795" y="4446"/>
                  </a:lnTo>
                  <a:lnTo>
                    <a:pt x="14766" y="4417"/>
                  </a:lnTo>
                  <a:lnTo>
                    <a:pt x="14766" y="4429"/>
                  </a:lnTo>
                  <a:lnTo>
                    <a:pt x="14745" y="4417"/>
                  </a:lnTo>
                  <a:lnTo>
                    <a:pt x="14724" y="4396"/>
                  </a:lnTo>
                  <a:lnTo>
                    <a:pt x="14686" y="4380"/>
                  </a:lnTo>
                  <a:lnTo>
                    <a:pt x="14707" y="4363"/>
                  </a:lnTo>
                  <a:lnTo>
                    <a:pt x="14691" y="4356"/>
                  </a:lnTo>
                  <a:lnTo>
                    <a:pt x="14686" y="4363"/>
                  </a:lnTo>
                  <a:lnTo>
                    <a:pt x="14698" y="4356"/>
                  </a:lnTo>
                  <a:lnTo>
                    <a:pt x="14714" y="4363"/>
                  </a:lnTo>
                  <a:lnTo>
                    <a:pt x="14714" y="4373"/>
                  </a:lnTo>
                  <a:lnTo>
                    <a:pt x="14745" y="4356"/>
                  </a:lnTo>
                  <a:lnTo>
                    <a:pt x="14761" y="4363"/>
                  </a:lnTo>
                  <a:lnTo>
                    <a:pt x="14761" y="4340"/>
                  </a:lnTo>
                  <a:lnTo>
                    <a:pt x="14752" y="4340"/>
                  </a:lnTo>
                  <a:lnTo>
                    <a:pt x="14752" y="4356"/>
                  </a:lnTo>
                  <a:lnTo>
                    <a:pt x="14752" y="4340"/>
                  </a:lnTo>
                  <a:lnTo>
                    <a:pt x="14761" y="4340"/>
                  </a:lnTo>
                  <a:lnTo>
                    <a:pt x="14752" y="4335"/>
                  </a:lnTo>
                  <a:lnTo>
                    <a:pt x="14766" y="4323"/>
                  </a:lnTo>
                  <a:lnTo>
                    <a:pt x="14778" y="4302"/>
                  </a:lnTo>
                  <a:lnTo>
                    <a:pt x="14783" y="4302"/>
                  </a:lnTo>
                  <a:lnTo>
                    <a:pt x="14783" y="4306"/>
                  </a:lnTo>
                  <a:lnTo>
                    <a:pt x="14795" y="4290"/>
                  </a:lnTo>
                  <a:lnTo>
                    <a:pt x="14816" y="4302"/>
                  </a:lnTo>
                  <a:lnTo>
                    <a:pt x="14821" y="4290"/>
                  </a:lnTo>
                  <a:lnTo>
                    <a:pt x="14783" y="4269"/>
                  </a:lnTo>
                  <a:lnTo>
                    <a:pt x="14778" y="4269"/>
                  </a:lnTo>
                  <a:lnTo>
                    <a:pt x="14761" y="4245"/>
                  </a:lnTo>
                  <a:lnTo>
                    <a:pt x="14783" y="4245"/>
                  </a:lnTo>
                  <a:lnTo>
                    <a:pt x="14799" y="4236"/>
                  </a:lnTo>
                  <a:lnTo>
                    <a:pt x="14821" y="4245"/>
                  </a:lnTo>
                  <a:lnTo>
                    <a:pt x="14816" y="4236"/>
                  </a:lnTo>
                  <a:lnTo>
                    <a:pt x="14804" y="4236"/>
                  </a:lnTo>
                  <a:lnTo>
                    <a:pt x="14804" y="4228"/>
                  </a:lnTo>
                  <a:lnTo>
                    <a:pt x="14854" y="4212"/>
                  </a:lnTo>
                  <a:lnTo>
                    <a:pt x="14870" y="4212"/>
                  </a:lnTo>
                  <a:lnTo>
                    <a:pt x="14870" y="4207"/>
                  </a:lnTo>
                  <a:lnTo>
                    <a:pt x="14870" y="4191"/>
                  </a:lnTo>
                  <a:lnTo>
                    <a:pt x="14854" y="4191"/>
                  </a:lnTo>
                  <a:lnTo>
                    <a:pt x="14821" y="4207"/>
                  </a:lnTo>
                  <a:lnTo>
                    <a:pt x="14816" y="4195"/>
                  </a:lnTo>
                  <a:lnTo>
                    <a:pt x="14821" y="4191"/>
                  </a:lnTo>
                  <a:lnTo>
                    <a:pt x="14832" y="4191"/>
                  </a:lnTo>
                  <a:lnTo>
                    <a:pt x="14799" y="4207"/>
                  </a:lnTo>
                  <a:lnTo>
                    <a:pt x="14799" y="4158"/>
                  </a:lnTo>
                  <a:lnTo>
                    <a:pt x="14832" y="4151"/>
                  </a:lnTo>
                  <a:lnTo>
                    <a:pt x="14837" y="4134"/>
                  </a:lnTo>
                  <a:lnTo>
                    <a:pt x="14908" y="4134"/>
                  </a:lnTo>
                  <a:lnTo>
                    <a:pt x="14908" y="4117"/>
                  </a:lnTo>
                  <a:lnTo>
                    <a:pt x="14924" y="4096"/>
                  </a:lnTo>
                  <a:lnTo>
                    <a:pt x="14908" y="4068"/>
                  </a:lnTo>
                  <a:lnTo>
                    <a:pt x="14903" y="4063"/>
                  </a:lnTo>
                  <a:lnTo>
                    <a:pt x="14908" y="4047"/>
                  </a:lnTo>
                  <a:lnTo>
                    <a:pt x="14924" y="4047"/>
                  </a:lnTo>
                  <a:lnTo>
                    <a:pt x="14924" y="4040"/>
                  </a:lnTo>
                  <a:lnTo>
                    <a:pt x="14908" y="4040"/>
                  </a:lnTo>
                  <a:lnTo>
                    <a:pt x="14903" y="4030"/>
                  </a:lnTo>
                  <a:lnTo>
                    <a:pt x="14913" y="4023"/>
                  </a:lnTo>
                  <a:lnTo>
                    <a:pt x="14929" y="4006"/>
                  </a:lnTo>
                  <a:lnTo>
                    <a:pt x="14924" y="3985"/>
                  </a:lnTo>
                  <a:lnTo>
                    <a:pt x="14929" y="3973"/>
                  </a:lnTo>
                  <a:lnTo>
                    <a:pt x="14908" y="3973"/>
                  </a:lnTo>
                  <a:lnTo>
                    <a:pt x="14891" y="3957"/>
                  </a:lnTo>
                  <a:lnTo>
                    <a:pt x="14870" y="3957"/>
                  </a:lnTo>
                  <a:lnTo>
                    <a:pt x="14858" y="3947"/>
                  </a:lnTo>
                  <a:lnTo>
                    <a:pt x="14849" y="3952"/>
                  </a:lnTo>
                  <a:lnTo>
                    <a:pt x="14799" y="3931"/>
                  </a:lnTo>
                  <a:lnTo>
                    <a:pt x="14795" y="3931"/>
                  </a:lnTo>
                  <a:lnTo>
                    <a:pt x="14783" y="3947"/>
                  </a:lnTo>
                  <a:lnTo>
                    <a:pt x="14761" y="3931"/>
                  </a:lnTo>
                  <a:lnTo>
                    <a:pt x="14745" y="3895"/>
                  </a:lnTo>
                  <a:lnTo>
                    <a:pt x="14686" y="3914"/>
                  </a:lnTo>
                  <a:lnTo>
                    <a:pt x="14660" y="3903"/>
                  </a:lnTo>
                  <a:lnTo>
                    <a:pt x="14653" y="3895"/>
                  </a:lnTo>
                  <a:lnTo>
                    <a:pt x="14615" y="3895"/>
                  </a:lnTo>
                  <a:lnTo>
                    <a:pt x="14601" y="3874"/>
                  </a:lnTo>
                  <a:lnTo>
                    <a:pt x="14606" y="3874"/>
                  </a:lnTo>
                  <a:lnTo>
                    <a:pt x="14589" y="3841"/>
                  </a:lnTo>
                  <a:lnTo>
                    <a:pt x="14601" y="3836"/>
                  </a:lnTo>
                  <a:lnTo>
                    <a:pt x="14584" y="3836"/>
                  </a:lnTo>
                  <a:lnTo>
                    <a:pt x="14577" y="3820"/>
                  </a:lnTo>
                  <a:lnTo>
                    <a:pt x="14551" y="3825"/>
                  </a:lnTo>
                  <a:lnTo>
                    <a:pt x="14530" y="3820"/>
                  </a:lnTo>
                  <a:lnTo>
                    <a:pt x="14509" y="3780"/>
                  </a:lnTo>
                  <a:lnTo>
                    <a:pt x="14530" y="3768"/>
                  </a:lnTo>
                  <a:lnTo>
                    <a:pt x="14530" y="3763"/>
                  </a:lnTo>
                  <a:lnTo>
                    <a:pt x="14509" y="3747"/>
                  </a:lnTo>
                  <a:lnTo>
                    <a:pt x="14509" y="3730"/>
                  </a:lnTo>
                  <a:lnTo>
                    <a:pt x="14492" y="3709"/>
                  </a:lnTo>
                  <a:lnTo>
                    <a:pt x="14443" y="3709"/>
                  </a:lnTo>
                  <a:lnTo>
                    <a:pt x="14421" y="3725"/>
                  </a:lnTo>
                  <a:lnTo>
                    <a:pt x="14384" y="3714"/>
                  </a:lnTo>
                  <a:lnTo>
                    <a:pt x="14374" y="3735"/>
                  </a:lnTo>
                  <a:lnTo>
                    <a:pt x="14346" y="3735"/>
                  </a:lnTo>
                  <a:lnTo>
                    <a:pt x="14329" y="3714"/>
                  </a:lnTo>
                  <a:lnTo>
                    <a:pt x="14329" y="3692"/>
                  </a:lnTo>
                  <a:lnTo>
                    <a:pt x="14320" y="3676"/>
                  </a:lnTo>
                  <a:lnTo>
                    <a:pt x="14329" y="3669"/>
                  </a:lnTo>
                  <a:lnTo>
                    <a:pt x="14308" y="3643"/>
                  </a:lnTo>
                  <a:lnTo>
                    <a:pt x="14320" y="3624"/>
                  </a:lnTo>
                  <a:lnTo>
                    <a:pt x="14374" y="3636"/>
                  </a:lnTo>
                  <a:lnTo>
                    <a:pt x="14405" y="3614"/>
                  </a:lnTo>
                  <a:lnTo>
                    <a:pt x="14417" y="3603"/>
                  </a:lnTo>
                  <a:lnTo>
                    <a:pt x="14388" y="3598"/>
                  </a:lnTo>
                  <a:lnTo>
                    <a:pt x="14388" y="3586"/>
                  </a:lnTo>
                  <a:lnTo>
                    <a:pt x="14400" y="3581"/>
                  </a:lnTo>
                  <a:lnTo>
                    <a:pt x="14388" y="3581"/>
                  </a:lnTo>
                  <a:lnTo>
                    <a:pt x="14367" y="3569"/>
                  </a:lnTo>
                  <a:lnTo>
                    <a:pt x="14346" y="3569"/>
                  </a:lnTo>
                  <a:lnTo>
                    <a:pt x="14350" y="3541"/>
                  </a:lnTo>
                  <a:lnTo>
                    <a:pt x="14313" y="3525"/>
                  </a:lnTo>
                  <a:lnTo>
                    <a:pt x="14308" y="3508"/>
                  </a:lnTo>
                  <a:lnTo>
                    <a:pt x="14298" y="3503"/>
                  </a:lnTo>
                  <a:lnTo>
                    <a:pt x="14298" y="3487"/>
                  </a:lnTo>
                  <a:lnTo>
                    <a:pt x="14275" y="3470"/>
                  </a:lnTo>
                  <a:lnTo>
                    <a:pt x="14291" y="3447"/>
                  </a:lnTo>
                  <a:lnTo>
                    <a:pt x="14275" y="3421"/>
                  </a:lnTo>
                  <a:lnTo>
                    <a:pt x="14282" y="3414"/>
                  </a:lnTo>
                  <a:lnTo>
                    <a:pt x="14282" y="3392"/>
                  </a:lnTo>
                  <a:lnTo>
                    <a:pt x="14275" y="3392"/>
                  </a:lnTo>
                  <a:lnTo>
                    <a:pt x="14254" y="3364"/>
                  </a:lnTo>
                  <a:lnTo>
                    <a:pt x="14237" y="3364"/>
                  </a:lnTo>
                  <a:lnTo>
                    <a:pt x="14211" y="3364"/>
                  </a:lnTo>
                  <a:lnTo>
                    <a:pt x="14185" y="3380"/>
                  </a:lnTo>
                  <a:lnTo>
                    <a:pt x="14173" y="3376"/>
                  </a:lnTo>
                  <a:lnTo>
                    <a:pt x="14185" y="3359"/>
                  </a:lnTo>
                  <a:lnTo>
                    <a:pt x="14173" y="3359"/>
                  </a:lnTo>
                  <a:lnTo>
                    <a:pt x="14152" y="3347"/>
                  </a:lnTo>
                  <a:lnTo>
                    <a:pt x="14131" y="3359"/>
                  </a:lnTo>
                  <a:lnTo>
                    <a:pt x="14119" y="3343"/>
                  </a:lnTo>
                  <a:lnTo>
                    <a:pt x="14098" y="3343"/>
                  </a:lnTo>
                  <a:lnTo>
                    <a:pt x="14093" y="3336"/>
                  </a:lnTo>
                  <a:lnTo>
                    <a:pt x="14098" y="3319"/>
                  </a:lnTo>
                  <a:lnTo>
                    <a:pt x="14076" y="3265"/>
                  </a:lnTo>
                  <a:lnTo>
                    <a:pt x="14060" y="3253"/>
                  </a:lnTo>
                  <a:lnTo>
                    <a:pt x="14065" y="3215"/>
                  </a:lnTo>
                  <a:lnTo>
                    <a:pt x="14043" y="3199"/>
                  </a:lnTo>
                  <a:lnTo>
                    <a:pt x="14043" y="3192"/>
                  </a:lnTo>
                  <a:lnTo>
                    <a:pt x="14039" y="3192"/>
                  </a:lnTo>
                  <a:lnTo>
                    <a:pt x="14043" y="3158"/>
                  </a:lnTo>
                  <a:lnTo>
                    <a:pt x="14065" y="3158"/>
                  </a:lnTo>
                  <a:lnTo>
                    <a:pt x="14043" y="3121"/>
                  </a:lnTo>
                  <a:lnTo>
                    <a:pt x="14043" y="3104"/>
                  </a:lnTo>
                  <a:lnTo>
                    <a:pt x="14039" y="3059"/>
                  </a:lnTo>
                  <a:lnTo>
                    <a:pt x="14065" y="3031"/>
                  </a:lnTo>
                  <a:lnTo>
                    <a:pt x="14076" y="3010"/>
                  </a:lnTo>
                  <a:lnTo>
                    <a:pt x="14093" y="3010"/>
                  </a:lnTo>
                  <a:lnTo>
                    <a:pt x="14093" y="2998"/>
                  </a:lnTo>
                  <a:lnTo>
                    <a:pt x="14081" y="2988"/>
                  </a:lnTo>
                  <a:lnTo>
                    <a:pt x="14081" y="2977"/>
                  </a:lnTo>
                  <a:lnTo>
                    <a:pt x="14076" y="2960"/>
                  </a:lnTo>
                  <a:lnTo>
                    <a:pt x="14081" y="2953"/>
                  </a:lnTo>
                  <a:lnTo>
                    <a:pt x="14102" y="2972"/>
                  </a:lnTo>
                  <a:lnTo>
                    <a:pt x="14114" y="2943"/>
                  </a:lnTo>
                  <a:lnTo>
                    <a:pt x="14136" y="2953"/>
                  </a:lnTo>
                  <a:lnTo>
                    <a:pt x="14157" y="2932"/>
                  </a:lnTo>
                  <a:lnTo>
                    <a:pt x="14228" y="2943"/>
                  </a:lnTo>
                  <a:lnTo>
                    <a:pt x="14237" y="2936"/>
                  </a:lnTo>
                  <a:lnTo>
                    <a:pt x="14211" y="2932"/>
                  </a:lnTo>
                  <a:lnTo>
                    <a:pt x="14211" y="2915"/>
                  </a:lnTo>
                  <a:lnTo>
                    <a:pt x="14199" y="2915"/>
                  </a:lnTo>
                  <a:lnTo>
                    <a:pt x="14152" y="2915"/>
                  </a:lnTo>
                  <a:lnTo>
                    <a:pt x="14119" y="2887"/>
                  </a:lnTo>
                  <a:lnTo>
                    <a:pt x="14114" y="2877"/>
                  </a:lnTo>
                  <a:lnTo>
                    <a:pt x="14131" y="2882"/>
                  </a:lnTo>
                  <a:lnTo>
                    <a:pt x="14131" y="2866"/>
                  </a:lnTo>
                  <a:lnTo>
                    <a:pt x="14119" y="2866"/>
                  </a:lnTo>
                  <a:lnTo>
                    <a:pt x="14131" y="2866"/>
                  </a:lnTo>
                  <a:lnTo>
                    <a:pt x="14131" y="2849"/>
                  </a:lnTo>
                  <a:lnTo>
                    <a:pt x="14093" y="2877"/>
                  </a:lnTo>
                  <a:lnTo>
                    <a:pt x="14065" y="2877"/>
                  </a:lnTo>
                  <a:lnTo>
                    <a:pt x="14169" y="2792"/>
                  </a:lnTo>
                  <a:lnTo>
                    <a:pt x="14308" y="2655"/>
                  </a:lnTo>
                  <a:lnTo>
                    <a:pt x="14329" y="2610"/>
                  </a:lnTo>
                  <a:lnTo>
                    <a:pt x="14308" y="2573"/>
                  </a:lnTo>
                  <a:lnTo>
                    <a:pt x="14223" y="2516"/>
                  </a:lnTo>
                  <a:lnTo>
                    <a:pt x="14261" y="2478"/>
                  </a:lnTo>
                  <a:lnTo>
                    <a:pt x="14261" y="2462"/>
                  </a:lnTo>
                  <a:lnTo>
                    <a:pt x="14223" y="2438"/>
                  </a:lnTo>
                  <a:lnTo>
                    <a:pt x="14228" y="2433"/>
                  </a:lnTo>
                  <a:lnTo>
                    <a:pt x="14223" y="2421"/>
                  </a:lnTo>
                  <a:lnTo>
                    <a:pt x="14237" y="2417"/>
                  </a:lnTo>
                  <a:lnTo>
                    <a:pt x="14228" y="2400"/>
                  </a:lnTo>
                  <a:lnTo>
                    <a:pt x="14206" y="2388"/>
                  </a:lnTo>
                  <a:lnTo>
                    <a:pt x="14190" y="2384"/>
                  </a:lnTo>
                  <a:lnTo>
                    <a:pt x="14190" y="2360"/>
                  </a:lnTo>
                  <a:lnTo>
                    <a:pt x="14211" y="2360"/>
                  </a:lnTo>
                  <a:lnTo>
                    <a:pt x="14206" y="2343"/>
                  </a:lnTo>
                  <a:lnTo>
                    <a:pt x="14190" y="2343"/>
                  </a:lnTo>
                  <a:lnTo>
                    <a:pt x="14199" y="2327"/>
                  </a:lnTo>
                  <a:lnTo>
                    <a:pt x="14206" y="2294"/>
                  </a:lnTo>
                  <a:lnTo>
                    <a:pt x="14228" y="2289"/>
                  </a:lnTo>
                  <a:lnTo>
                    <a:pt x="14211" y="2240"/>
                  </a:lnTo>
                  <a:lnTo>
                    <a:pt x="14152" y="2145"/>
                  </a:lnTo>
                  <a:lnTo>
                    <a:pt x="14157" y="2129"/>
                  </a:lnTo>
                  <a:lnTo>
                    <a:pt x="14211" y="2067"/>
                  </a:lnTo>
                  <a:lnTo>
                    <a:pt x="14223" y="2051"/>
                  </a:lnTo>
                  <a:lnTo>
                    <a:pt x="14199" y="2034"/>
                  </a:lnTo>
                  <a:lnTo>
                    <a:pt x="14173" y="2001"/>
                  </a:lnTo>
                  <a:lnTo>
                    <a:pt x="14131" y="1989"/>
                  </a:lnTo>
                  <a:lnTo>
                    <a:pt x="14114" y="1944"/>
                  </a:lnTo>
                  <a:lnTo>
                    <a:pt x="14136" y="1906"/>
                  </a:lnTo>
                  <a:lnTo>
                    <a:pt x="14102" y="1902"/>
                  </a:lnTo>
                  <a:lnTo>
                    <a:pt x="14147" y="1878"/>
                  </a:lnTo>
                  <a:lnTo>
                    <a:pt x="14169" y="1866"/>
                  </a:lnTo>
                  <a:lnTo>
                    <a:pt x="14169" y="1845"/>
                  </a:lnTo>
                  <a:lnTo>
                    <a:pt x="14228" y="1824"/>
                  </a:lnTo>
                  <a:lnTo>
                    <a:pt x="14228" y="1812"/>
                  </a:lnTo>
                  <a:lnTo>
                    <a:pt x="14228" y="1807"/>
                  </a:lnTo>
                  <a:lnTo>
                    <a:pt x="14261" y="1812"/>
                  </a:lnTo>
                  <a:lnTo>
                    <a:pt x="14282" y="1812"/>
                  </a:lnTo>
                  <a:lnTo>
                    <a:pt x="14282" y="1795"/>
                  </a:lnTo>
                  <a:lnTo>
                    <a:pt x="14282" y="1779"/>
                  </a:lnTo>
                  <a:lnTo>
                    <a:pt x="14346" y="1795"/>
                  </a:lnTo>
                  <a:lnTo>
                    <a:pt x="14336" y="1791"/>
                  </a:lnTo>
                  <a:lnTo>
                    <a:pt x="14336" y="1779"/>
                  </a:lnTo>
                  <a:lnTo>
                    <a:pt x="14367" y="1779"/>
                  </a:lnTo>
                  <a:lnTo>
                    <a:pt x="14350" y="1767"/>
                  </a:lnTo>
                  <a:lnTo>
                    <a:pt x="14400" y="1791"/>
                  </a:lnTo>
                  <a:lnTo>
                    <a:pt x="14438" y="1791"/>
                  </a:lnTo>
                  <a:lnTo>
                    <a:pt x="14438" y="1807"/>
                  </a:lnTo>
                  <a:lnTo>
                    <a:pt x="14421" y="1812"/>
                  </a:lnTo>
                  <a:lnTo>
                    <a:pt x="14362" y="1807"/>
                  </a:lnTo>
                  <a:lnTo>
                    <a:pt x="14388" y="1824"/>
                  </a:lnTo>
                  <a:lnTo>
                    <a:pt x="14374" y="1829"/>
                  </a:lnTo>
                  <a:lnTo>
                    <a:pt x="14426" y="1829"/>
                  </a:lnTo>
                  <a:lnTo>
                    <a:pt x="14417" y="1845"/>
                  </a:lnTo>
                  <a:lnTo>
                    <a:pt x="14426" y="1833"/>
                  </a:lnTo>
                  <a:lnTo>
                    <a:pt x="14471" y="1829"/>
                  </a:lnTo>
                  <a:lnTo>
                    <a:pt x="14443" y="1850"/>
                  </a:lnTo>
                  <a:lnTo>
                    <a:pt x="14459" y="1850"/>
                  </a:lnTo>
                  <a:lnTo>
                    <a:pt x="14471" y="1862"/>
                  </a:lnTo>
                  <a:lnTo>
                    <a:pt x="14426" y="1878"/>
                  </a:lnTo>
                  <a:lnTo>
                    <a:pt x="14426" y="1890"/>
                  </a:lnTo>
                  <a:lnTo>
                    <a:pt x="14426" y="1878"/>
                  </a:lnTo>
                  <a:lnTo>
                    <a:pt x="14459" y="1878"/>
                  </a:lnTo>
                  <a:lnTo>
                    <a:pt x="14471" y="1862"/>
                  </a:lnTo>
                  <a:lnTo>
                    <a:pt x="14471" y="1845"/>
                  </a:lnTo>
                  <a:lnTo>
                    <a:pt x="14480" y="1845"/>
                  </a:lnTo>
                  <a:lnTo>
                    <a:pt x="14639" y="1862"/>
                  </a:lnTo>
                  <a:lnTo>
                    <a:pt x="14761" y="1923"/>
                  </a:lnTo>
                  <a:lnTo>
                    <a:pt x="14804" y="1973"/>
                  </a:lnTo>
                  <a:lnTo>
                    <a:pt x="14821" y="1961"/>
                  </a:lnTo>
                  <a:lnTo>
                    <a:pt x="14887" y="2001"/>
                  </a:lnTo>
                  <a:lnTo>
                    <a:pt x="14908" y="2001"/>
                  </a:lnTo>
                  <a:lnTo>
                    <a:pt x="14903" y="1989"/>
                  </a:lnTo>
                  <a:lnTo>
                    <a:pt x="14908" y="1989"/>
                  </a:lnTo>
                  <a:lnTo>
                    <a:pt x="14946" y="2018"/>
                  </a:lnTo>
                  <a:lnTo>
                    <a:pt x="14946" y="2029"/>
                  </a:lnTo>
                  <a:lnTo>
                    <a:pt x="14955" y="2046"/>
                  </a:lnTo>
                  <a:lnTo>
                    <a:pt x="14993" y="2046"/>
                  </a:lnTo>
                  <a:lnTo>
                    <a:pt x="14993" y="2072"/>
                  </a:lnTo>
                  <a:lnTo>
                    <a:pt x="15000" y="2084"/>
                  </a:lnTo>
                  <a:lnTo>
                    <a:pt x="15000" y="2105"/>
                  </a:lnTo>
                  <a:lnTo>
                    <a:pt x="15017" y="2105"/>
                  </a:lnTo>
                  <a:lnTo>
                    <a:pt x="15017" y="2112"/>
                  </a:lnTo>
                  <a:lnTo>
                    <a:pt x="15010" y="2157"/>
                  </a:lnTo>
                  <a:lnTo>
                    <a:pt x="14962" y="2199"/>
                  </a:lnTo>
                  <a:lnTo>
                    <a:pt x="14924" y="2216"/>
                  </a:lnTo>
                  <a:lnTo>
                    <a:pt x="14821" y="2249"/>
                  </a:lnTo>
                  <a:lnTo>
                    <a:pt x="14606" y="2211"/>
                  </a:lnTo>
                  <a:lnTo>
                    <a:pt x="14563" y="2178"/>
                  </a:lnTo>
                  <a:lnTo>
                    <a:pt x="14530" y="2183"/>
                  </a:lnTo>
                  <a:lnTo>
                    <a:pt x="14525" y="2178"/>
                  </a:lnTo>
                  <a:lnTo>
                    <a:pt x="14530" y="2178"/>
                  </a:lnTo>
                  <a:lnTo>
                    <a:pt x="14492" y="2166"/>
                  </a:lnTo>
                  <a:lnTo>
                    <a:pt x="14471" y="2157"/>
                  </a:lnTo>
                  <a:lnTo>
                    <a:pt x="14476" y="2162"/>
                  </a:lnTo>
                  <a:lnTo>
                    <a:pt x="14471" y="2166"/>
                  </a:lnTo>
                  <a:lnTo>
                    <a:pt x="14443" y="2157"/>
                  </a:lnTo>
                  <a:lnTo>
                    <a:pt x="14405" y="2121"/>
                  </a:lnTo>
                  <a:lnTo>
                    <a:pt x="14350" y="2112"/>
                  </a:lnTo>
                  <a:lnTo>
                    <a:pt x="14374" y="2112"/>
                  </a:lnTo>
                  <a:lnTo>
                    <a:pt x="14400" y="2129"/>
                  </a:lnTo>
                  <a:lnTo>
                    <a:pt x="14400" y="2145"/>
                  </a:lnTo>
                  <a:lnTo>
                    <a:pt x="14421" y="2162"/>
                  </a:lnTo>
                  <a:lnTo>
                    <a:pt x="14417" y="2166"/>
                  </a:lnTo>
                  <a:lnTo>
                    <a:pt x="14454" y="2178"/>
                  </a:lnTo>
                  <a:lnTo>
                    <a:pt x="14421" y="2183"/>
                  </a:lnTo>
                  <a:lnTo>
                    <a:pt x="14443" y="2178"/>
                  </a:lnTo>
                  <a:lnTo>
                    <a:pt x="14471" y="2195"/>
                  </a:lnTo>
                  <a:lnTo>
                    <a:pt x="14421" y="2195"/>
                  </a:lnTo>
                  <a:lnTo>
                    <a:pt x="14480" y="2199"/>
                  </a:lnTo>
                  <a:lnTo>
                    <a:pt x="14454" y="2216"/>
                  </a:lnTo>
                  <a:lnTo>
                    <a:pt x="14509" y="2223"/>
                  </a:lnTo>
                  <a:lnTo>
                    <a:pt x="14563" y="2266"/>
                  </a:lnTo>
                  <a:lnTo>
                    <a:pt x="14568" y="2289"/>
                  </a:lnTo>
                  <a:lnTo>
                    <a:pt x="14547" y="2273"/>
                  </a:lnTo>
                  <a:lnTo>
                    <a:pt x="14551" y="2306"/>
                  </a:lnTo>
                  <a:lnTo>
                    <a:pt x="14547" y="2322"/>
                  </a:lnTo>
                  <a:lnTo>
                    <a:pt x="14530" y="2327"/>
                  </a:lnTo>
                  <a:lnTo>
                    <a:pt x="14547" y="2343"/>
                  </a:lnTo>
                  <a:lnTo>
                    <a:pt x="14568" y="2388"/>
                  </a:lnTo>
                  <a:lnTo>
                    <a:pt x="14568" y="2417"/>
                  </a:lnTo>
                  <a:lnTo>
                    <a:pt x="14551" y="2421"/>
                  </a:lnTo>
                  <a:lnTo>
                    <a:pt x="14589" y="2445"/>
                  </a:lnTo>
                  <a:lnTo>
                    <a:pt x="14606" y="2438"/>
                  </a:lnTo>
                  <a:lnTo>
                    <a:pt x="14622" y="2445"/>
                  </a:lnTo>
                  <a:lnTo>
                    <a:pt x="14639" y="2462"/>
                  </a:lnTo>
                  <a:lnTo>
                    <a:pt x="14643" y="2462"/>
                  </a:lnTo>
                  <a:lnTo>
                    <a:pt x="14660" y="2471"/>
                  </a:lnTo>
                  <a:lnTo>
                    <a:pt x="14660" y="2488"/>
                  </a:lnTo>
                  <a:lnTo>
                    <a:pt x="14740" y="2511"/>
                  </a:lnTo>
                  <a:lnTo>
                    <a:pt x="14783" y="2488"/>
                  </a:lnTo>
                  <a:lnTo>
                    <a:pt x="14783" y="2471"/>
                  </a:lnTo>
                  <a:lnTo>
                    <a:pt x="14778" y="2462"/>
                  </a:lnTo>
                  <a:lnTo>
                    <a:pt x="14778" y="2445"/>
                  </a:lnTo>
                  <a:lnTo>
                    <a:pt x="14766" y="2438"/>
                  </a:lnTo>
                  <a:lnTo>
                    <a:pt x="14728" y="2445"/>
                  </a:lnTo>
                  <a:lnTo>
                    <a:pt x="14724" y="2438"/>
                  </a:lnTo>
                  <a:lnTo>
                    <a:pt x="14691" y="2405"/>
                  </a:lnTo>
                  <a:lnTo>
                    <a:pt x="14676" y="2400"/>
                  </a:lnTo>
                  <a:lnTo>
                    <a:pt x="14669" y="2377"/>
                  </a:lnTo>
                  <a:lnTo>
                    <a:pt x="14698" y="2377"/>
                  </a:lnTo>
                  <a:lnTo>
                    <a:pt x="14698" y="2351"/>
                  </a:lnTo>
                  <a:lnTo>
                    <a:pt x="14714" y="2343"/>
                  </a:lnTo>
                  <a:lnTo>
                    <a:pt x="14761" y="2367"/>
                  </a:lnTo>
                  <a:lnTo>
                    <a:pt x="14778" y="2384"/>
                  </a:lnTo>
                  <a:lnTo>
                    <a:pt x="14804" y="2384"/>
                  </a:lnTo>
                  <a:lnTo>
                    <a:pt x="14783" y="2400"/>
                  </a:lnTo>
                  <a:lnTo>
                    <a:pt x="14783" y="2417"/>
                  </a:lnTo>
                  <a:lnTo>
                    <a:pt x="14816" y="2388"/>
                  </a:lnTo>
                  <a:lnTo>
                    <a:pt x="14891" y="2421"/>
                  </a:lnTo>
                  <a:lnTo>
                    <a:pt x="14913" y="2417"/>
                  </a:lnTo>
                  <a:lnTo>
                    <a:pt x="14908" y="2417"/>
                  </a:lnTo>
                  <a:lnTo>
                    <a:pt x="14908" y="2405"/>
                  </a:lnTo>
                  <a:lnTo>
                    <a:pt x="14955" y="2421"/>
                  </a:lnTo>
                  <a:lnTo>
                    <a:pt x="14946" y="2377"/>
                  </a:lnTo>
                  <a:lnTo>
                    <a:pt x="14903" y="2327"/>
                  </a:lnTo>
                  <a:lnTo>
                    <a:pt x="14903" y="2306"/>
                  </a:lnTo>
                  <a:lnTo>
                    <a:pt x="14946" y="2277"/>
                  </a:lnTo>
                  <a:lnTo>
                    <a:pt x="14967" y="2256"/>
                  </a:lnTo>
                  <a:lnTo>
                    <a:pt x="15021" y="2240"/>
                  </a:lnTo>
                  <a:lnTo>
                    <a:pt x="15069" y="2195"/>
                  </a:lnTo>
                  <a:lnTo>
                    <a:pt x="15106" y="2211"/>
                  </a:lnTo>
                  <a:lnTo>
                    <a:pt x="15156" y="2199"/>
                  </a:lnTo>
                  <a:lnTo>
                    <a:pt x="15177" y="2223"/>
                  </a:lnTo>
                  <a:lnTo>
                    <a:pt x="15156" y="2240"/>
                  </a:lnTo>
                  <a:lnTo>
                    <a:pt x="15156" y="2249"/>
                  </a:lnTo>
                  <a:lnTo>
                    <a:pt x="15172" y="2256"/>
                  </a:lnTo>
                  <a:lnTo>
                    <a:pt x="15172" y="2249"/>
                  </a:lnTo>
                  <a:lnTo>
                    <a:pt x="15156" y="2240"/>
                  </a:lnTo>
                  <a:lnTo>
                    <a:pt x="15194" y="2232"/>
                  </a:lnTo>
                  <a:lnTo>
                    <a:pt x="15198" y="2240"/>
                  </a:lnTo>
                  <a:lnTo>
                    <a:pt x="15198" y="2249"/>
                  </a:lnTo>
                  <a:lnTo>
                    <a:pt x="15215" y="2266"/>
                  </a:lnTo>
                  <a:lnTo>
                    <a:pt x="15210" y="2232"/>
                  </a:lnTo>
                  <a:lnTo>
                    <a:pt x="15232" y="2166"/>
                  </a:lnTo>
                  <a:lnTo>
                    <a:pt x="15227" y="2162"/>
                  </a:lnTo>
                  <a:lnTo>
                    <a:pt x="15236" y="2145"/>
                  </a:lnTo>
                  <a:lnTo>
                    <a:pt x="15210" y="2112"/>
                  </a:lnTo>
                  <a:lnTo>
                    <a:pt x="15182" y="2105"/>
                  </a:lnTo>
                  <a:lnTo>
                    <a:pt x="15182" y="2100"/>
                  </a:lnTo>
                  <a:lnTo>
                    <a:pt x="15210" y="2051"/>
                  </a:lnTo>
                  <a:lnTo>
                    <a:pt x="15210" y="2029"/>
                  </a:lnTo>
                  <a:lnTo>
                    <a:pt x="15215" y="2018"/>
                  </a:lnTo>
                  <a:lnTo>
                    <a:pt x="15210" y="2018"/>
                  </a:lnTo>
                  <a:lnTo>
                    <a:pt x="15215" y="1977"/>
                  </a:lnTo>
                  <a:lnTo>
                    <a:pt x="15156" y="1940"/>
                  </a:lnTo>
                  <a:lnTo>
                    <a:pt x="15156" y="1923"/>
                  </a:lnTo>
                  <a:lnTo>
                    <a:pt x="15210" y="1940"/>
                  </a:lnTo>
                  <a:lnTo>
                    <a:pt x="15291" y="1940"/>
                  </a:lnTo>
                  <a:lnTo>
                    <a:pt x="15333" y="1944"/>
                  </a:lnTo>
                  <a:lnTo>
                    <a:pt x="15340" y="1973"/>
                  </a:lnTo>
                  <a:lnTo>
                    <a:pt x="15378" y="1994"/>
                  </a:lnTo>
                  <a:lnTo>
                    <a:pt x="15378" y="2013"/>
                  </a:lnTo>
                  <a:lnTo>
                    <a:pt x="15395" y="2018"/>
                  </a:lnTo>
                  <a:lnTo>
                    <a:pt x="15395" y="2034"/>
                  </a:lnTo>
                  <a:lnTo>
                    <a:pt x="15302" y="2046"/>
                  </a:lnTo>
                  <a:lnTo>
                    <a:pt x="15291" y="2051"/>
                  </a:lnTo>
                  <a:lnTo>
                    <a:pt x="15291" y="2055"/>
                  </a:lnTo>
                  <a:lnTo>
                    <a:pt x="15269" y="2067"/>
                  </a:lnTo>
                  <a:lnTo>
                    <a:pt x="15265" y="2088"/>
                  </a:lnTo>
                  <a:lnTo>
                    <a:pt x="15319" y="2112"/>
                  </a:lnTo>
                  <a:lnTo>
                    <a:pt x="15324" y="2145"/>
                  </a:lnTo>
                  <a:lnTo>
                    <a:pt x="15340" y="2157"/>
                  </a:lnTo>
                  <a:lnTo>
                    <a:pt x="15387" y="2157"/>
                  </a:lnTo>
                  <a:lnTo>
                    <a:pt x="15371" y="2162"/>
                  </a:lnTo>
                  <a:lnTo>
                    <a:pt x="15463" y="2138"/>
                  </a:lnTo>
                  <a:lnTo>
                    <a:pt x="15463" y="2121"/>
                  </a:lnTo>
                  <a:lnTo>
                    <a:pt x="15454" y="2105"/>
                  </a:lnTo>
                  <a:lnTo>
                    <a:pt x="15480" y="2072"/>
                  </a:lnTo>
                  <a:lnTo>
                    <a:pt x="15470" y="2055"/>
                  </a:lnTo>
                  <a:lnTo>
                    <a:pt x="15480" y="2051"/>
                  </a:lnTo>
                  <a:lnTo>
                    <a:pt x="15534" y="2046"/>
                  </a:lnTo>
                  <a:lnTo>
                    <a:pt x="15555" y="2055"/>
                  </a:lnTo>
                  <a:lnTo>
                    <a:pt x="15522" y="2018"/>
                  </a:lnTo>
                  <a:lnTo>
                    <a:pt x="15572" y="2029"/>
                  </a:lnTo>
                  <a:lnTo>
                    <a:pt x="15626" y="1994"/>
                  </a:lnTo>
                  <a:lnTo>
                    <a:pt x="15609" y="2013"/>
                  </a:lnTo>
                  <a:lnTo>
                    <a:pt x="15614" y="2001"/>
                  </a:lnTo>
                  <a:lnTo>
                    <a:pt x="15680" y="1961"/>
                  </a:lnTo>
                  <a:lnTo>
                    <a:pt x="15697" y="1961"/>
                  </a:lnTo>
                  <a:lnTo>
                    <a:pt x="15765" y="1940"/>
                  </a:lnTo>
                  <a:lnTo>
                    <a:pt x="15787" y="1944"/>
                  </a:lnTo>
                  <a:lnTo>
                    <a:pt x="15772" y="1961"/>
                  </a:lnTo>
                  <a:lnTo>
                    <a:pt x="15777" y="1973"/>
                  </a:lnTo>
                  <a:lnTo>
                    <a:pt x="15810" y="1956"/>
                  </a:lnTo>
                  <a:lnTo>
                    <a:pt x="15794" y="1940"/>
                  </a:lnTo>
                  <a:lnTo>
                    <a:pt x="15810" y="1935"/>
                  </a:lnTo>
                  <a:lnTo>
                    <a:pt x="15777" y="1935"/>
                  </a:lnTo>
                  <a:lnTo>
                    <a:pt x="15886" y="1890"/>
                  </a:lnTo>
                  <a:lnTo>
                    <a:pt x="15938" y="1885"/>
                  </a:lnTo>
                  <a:lnTo>
                    <a:pt x="15874" y="1902"/>
                  </a:lnTo>
                  <a:lnTo>
                    <a:pt x="15900" y="1902"/>
                  </a:lnTo>
                  <a:lnTo>
                    <a:pt x="15879" y="1935"/>
                  </a:lnTo>
                  <a:lnTo>
                    <a:pt x="15895" y="1961"/>
                  </a:lnTo>
                  <a:lnTo>
                    <a:pt x="15886" y="1973"/>
                  </a:lnTo>
                  <a:lnTo>
                    <a:pt x="15874" y="1956"/>
                  </a:lnTo>
                  <a:lnTo>
                    <a:pt x="15879" y="1973"/>
                  </a:lnTo>
                  <a:lnTo>
                    <a:pt x="15862" y="1961"/>
                  </a:lnTo>
                  <a:lnTo>
                    <a:pt x="15848" y="1977"/>
                  </a:lnTo>
                  <a:lnTo>
                    <a:pt x="15917" y="1989"/>
                  </a:lnTo>
                  <a:lnTo>
                    <a:pt x="15933" y="1973"/>
                  </a:lnTo>
                  <a:lnTo>
                    <a:pt x="15954" y="1989"/>
                  </a:lnTo>
                  <a:lnTo>
                    <a:pt x="15966" y="1977"/>
                  </a:lnTo>
                  <a:lnTo>
                    <a:pt x="15966" y="1973"/>
                  </a:lnTo>
                  <a:lnTo>
                    <a:pt x="15966" y="1961"/>
                  </a:lnTo>
                  <a:lnTo>
                    <a:pt x="15992" y="1940"/>
                  </a:lnTo>
                  <a:lnTo>
                    <a:pt x="16042" y="1923"/>
                  </a:lnTo>
                  <a:lnTo>
                    <a:pt x="16134" y="1940"/>
                  </a:lnTo>
                  <a:lnTo>
                    <a:pt x="16155" y="1918"/>
                  </a:lnTo>
                  <a:lnTo>
                    <a:pt x="16181" y="1918"/>
                  </a:lnTo>
                  <a:lnTo>
                    <a:pt x="16181" y="1906"/>
                  </a:lnTo>
                  <a:lnTo>
                    <a:pt x="16198" y="1902"/>
                  </a:lnTo>
                  <a:lnTo>
                    <a:pt x="16209" y="1918"/>
                  </a:lnTo>
                  <a:lnTo>
                    <a:pt x="16202" y="1906"/>
                  </a:lnTo>
                  <a:lnTo>
                    <a:pt x="16202" y="1902"/>
                  </a:lnTo>
                  <a:lnTo>
                    <a:pt x="16240" y="1885"/>
                  </a:lnTo>
                  <a:lnTo>
                    <a:pt x="16273" y="1885"/>
                  </a:lnTo>
                  <a:lnTo>
                    <a:pt x="16240" y="1890"/>
                  </a:lnTo>
                  <a:lnTo>
                    <a:pt x="16278" y="1918"/>
                  </a:lnTo>
                  <a:lnTo>
                    <a:pt x="16257" y="1935"/>
                  </a:lnTo>
                  <a:lnTo>
                    <a:pt x="16257" y="1956"/>
                  </a:lnTo>
                  <a:lnTo>
                    <a:pt x="16311" y="1961"/>
                  </a:lnTo>
                  <a:lnTo>
                    <a:pt x="16316" y="1956"/>
                  </a:lnTo>
                  <a:lnTo>
                    <a:pt x="16306" y="1935"/>
                  </a:lnTo>
                  <a:lnTo>
                    <a:pt x="16311" y="1923"/>
                  </a:lnTo>
                  <a:lnTo>
                    <a:pt x="16361" y="1923"/>
                  </a:lnTo>
                  <a:lnTo>
                    <a:pt x="16387" y="1902"/>
                  </a:lnTo>
                  <a:lnTo>
                    <a:pt x="16387" y="1866"/>
                  </a:lnTo>
                  <a:lnTo>
                    <a:pt x="16365" y="1866"/>
                  </a:lnTo>
                  <a:lnTo>
                    <a:pt x="16361" y="1845"/>
                  </a:lnTo>
                  <a:lnTo>
                    <a:pt x="16332" y="1812"/>
                  </a:lnTo>
                  <a:lnTo>
                    <a:pt x="16344" y="1795"/>
                  </a:lnTo>
                  <a:lnTo>
                    <a:pt x="16365" y="1795"/>
                  </a:lnTo>
                  <a:lnTo>
                    <a:pt x="16370" y="1779"/>
                  </a:lnTo>
                  <a:lnTo>
                    <a:pt x="16382" y="1774"/>
                  </a:lnTo>
                  <a:lnTo>
                    <a:pt x="16543" y="1795"/>
                  </a:lnTo>
                  <a:lnTo>
                    <a:pt x="16613" y="1812"/>
                  </a:lnTo>
                  <a:lnTo>
                    <a:pt x="16672" y="1845"/>
                  </a:lnTo>
                  <a:lnTo>
                    <a:pt x="16656" y="1850"/>
                  </a:lnTo>
                  <a:lnTo>
                    <a:pt x="16656" y="1866"/>
                  </a:lnTo>
                  <a:lnTo>
                    <a:pt x="16684" y="1850"/>
                  </a:lnTo>
                  <a:lnTo>
                    <a:pt x="16739" y="1866"/>
                  </a:lnTo>
                  <a:lnTo>
                    <a:pt x="16722" y="1878"/>
                  </a:lnTo>
                  <a:lnTo>
                    <a:pt x="16819" y="1906"/>
                  </a:lnTo>
                  <a:lnTo>
                    <a:pt x="16814" y="1906"/>
                  </a:lnTo>
                  <a:lnTo>
                    <a:pt x="16831" y="1923"/>
                  </a:lnTo>
                  <a:lnTo>
                    <a:pt x="16899" y="1956"/>
                  </a:lnTo>
                  <a:lnTo>
                    <a:pt x="16906" y="1973"/>
                  </a:lnTo>
                  <a:lnTo>
                    <a:pt x="16899" y="1977"/>
                  </a:lnTo>
                  <a:lnTo>
                    <a:pt x="16906" y="1989"/>
                  </a:lnTo>
                  <a:lnTo>
                    <a:pt x="16916" y="1977"/>
                  </a:lnTo>
                  <a:lnTo>
                    <a:pt x="16958" y="1902"/>
                  </a:lnTo>
                  <a:lnTo>
                    <a:pt x="16954" y="1902"/>
                  </a:lnTo>
                  <a:lnTo>
                    <a:pt x="16970" y="1890"/>
                  </a:lnTo>
                  <a:lnTo>
                    <a:pt x="16937" y="1902"/>
                  </a:lnTo>
                  <a:lnTo>
                    <a:pt x="16916" y="1885"/>
                  </a:lnTo>
                  <a:lnTo>
                    <a:pt x="16890" y="1850"/>
                  </a:lnTo>
                  <a:lnTo>
                    <a:pt x="16890" y="1812"/>
                  </a:lnTo>
                  <a:lnTo>
                    <a:pt x="16883" y="1824"/>
                  </a:lnTo>
                  <a:lnTo>
                    <a:pt x="16814" y="1795"/>
                  </a:lnTo>
                  <a:lnTo>
                    <a:pt x="16814" y="1824"/>
                  </a:lnTo>
                  <a:lnTo>
                    <a:pt x="16798" y="1812"/>
                  </a:lnTo>
                  <a:lnTo>
                    <a:pt x="16798" y="1791"/>
                  </a:lnTo>
                  <a:lnTo>
                    <a:pt x="16807" y="1758"/>
                  </a:lnTo>
                  <a:lnTo>
                    <a:pt x="16814" y="1751"/>
                  </a:lnTo>
                  <a:lnTo>
                    <a:pt x="16814" y="1767"/>
                  </a:lnTo>
                  <a:lnTo>
                    <a:pt x="16831" y="1758"/>
                  </a:lnTo>
                  <a:lnTo>
                    <a:pt x="16835" y="1739"/>
                  </a:lnTo>
                  <a:lnTo>
                    <a:pt x="16819" y="1734"/>
                  </a:lnTo>
                  <a:lnTo>
                    <a:pt x="16835" y="1663"/>
                  </a:lnTo>
                  <a:lnTo>
                    <a:pt x="16819" y="1647"/>
                  </a:lnTo>
                  <a:lnTo>
                    <a:pt x="16793" y="1663"/>
                  </a:lnTo>
                  <a:lnTo>
                    <a:pt x="16793" y="1640"/>
                  </a:lnTo>
                  <a:lnTo>
                    <a:pt x="16807" y="1614"/>
                  </a:lnTo>
                  <a:lnTo>
                    <a:pt x="16798" y="1630"/>
                  </a:lnTo>
                  <a:lnTo>
                    <a:pt x="16793" y="1623"/>
                  </a:lnTo>
                  <a:lnTo>
                    <a:pt x="16807" y="1590"/>
                  </a:lnTo>
                  <a:lnTo>
                    <a:pt x="16883" y="1557"/>
                  </a:lnTo>
                  <a:lnTo>
                    <a:pt x="16916" y="1519"/>
                  </a:lnTo>
                  <a:lnTo>
                    <a:pt x="16954" y="1401"/>
                  </a:lnTo>
                  <a:lnTo>
                    <a:pt x="16970" y="1384"/>
                  </a:lnTo>
                  <a:lnTo>
                    <a:pt x="16975" y="1368"/>
                  </a:lnTo>
                  <a:lnTo>
                    <a:pt x="17013" y="1363"/>
                  </a:lnTo>
                  <a:lnTo>
                    <a:pt x="16991" y="1368"/>
                  </a:lnTo>
                  <a:lnTo>
                    <a:pt x="16996" y="1375"/>
                  </a:lnTo>
                  <a:lnTo>
                    <a:pt x="17138" y="1368"/>
                  </a:lnTo>
                  <a:lnTo>
                    <a:pt x="17171" y="1384"/>
                  </a:lnTo>
                  <a:lnTo>
                    <a:pt x="17154" y="1384"/>
                  </a:lnTo>
                  <a:lnTo>
                    <a:pt x="17223" y="1401"/>
                  </a:lnTo>
                  <a:lnTo>
                    <a:pt x="17213" y="1418"/>
                  </a:lnTo>
                  <a:lnTo>
                    <a:pt x="17230" y="1458"/>
                  </a:lnTo>
                  <a:lnTo>
                    <a:pt x="17197" y="1503"/>
                  </a:lnTo>
                  <a:lnTo>
                    <a:pt x="17192" y="1512"/>
                  </a:lnTo>
                  <a:lnTo>
                    <a:pt x="17192" y="1536"/>
                  </a:lnTo>
                  <a:lnTo>
                    <a:pt x="17154" y="1569"/>
                  </a:lnTo>
                  <a:lnTo>
                    <a:pt x="17171" y="1590"/>
                  </a:lnTo>
                  <a:lnTo>
                    <a:pt x="17209" y="1614"/>
                  </a:lnTo>
                  <a:lnTo>
                    <a:pt x="17209" y="1623"/>
                  </a:lnTo>
                  <a:lnTo>
                    <a:pt x="17223" y="1647"/>
                  </a:lnTo>
                  <a:lnTo>
                    <a:pt x="17213" y="1680"/>
                  </a:lnTo>
                  <a:lnTo>
                    <a:pt x="17223" y="1701"/>
                  </a:lnTo>
                  <a:lnTo>
                    <a:pt x="17192" y="1722"/>
                  </a:lnTo>
                  <a:lnTo>
                    <a:pt x="17209" y="1734"/>
                  </a:lnTo>
                  <a:lnTo>
                    <a:pt x="17197" y="1751"/>
                  </a:lnTo>
                  <a:lnTo>
                    <a:pt x="17213" y="1774"/>
                  </a:lnTo>
                  <a:lnTo>
                    <a:pt x="17197" y="1807"/>
                  </a:lnTo>
                  <a:lnTo>
                    <a:pt x="17209" y="1829"/>
                  </a:lnTo>
                  <a:lnTo>
                    <a:pt x="17197" y="1866"/>
                  </a:lnTo>
                  <a:lnTo>
                    <a:pt x="17209" y="1890"/>
                  </a:lnTo>
                  <a:lnTo>
                    <a:pt x="17213" y="1906"/>
                  </a:lnTo>
                  <a:lnTo>
                    <a:pt x="17268" y="1940"/>
                  </a:lnTo>
                  <a:lnTo>
                    <a:pt x="17284" y="1956"/>
                  </a:lnTo>
                  <a:lnTo>
                    <a:pt x="17268" y="1944"/>
                  </a:lnTo>
                  <a:lnTo>
                    <a:pt x="17246" y="1989"/>
                  </a:lnTo>
                  <a:lnTo>
                    <a:pt x="17239" y="1994"/>
                  </a:lnTo>
                  <a:lnTo>
                    <a:pt x="17251" y="2029"/>
                  </a:lnTo>
                  <a:lnTo>
                    <a:pt x="17239" y="2046"/>
                  </a:lnTo>
                  <a:lnTo>
                    <a:pt x="17209" y="2055"/>
                  </a:lnTo>
                  <a:lnTo>
                    <a:pt x="17209" y="2067"/>
                  </a:lnTo>
                  <a:lnTo>
                    <a:pt x="17192" y="2072"/>
                  </a:lnTo>
                  <a:lnTo>
                    <a:pt x="17197" y="2084"/>
                  </a:lnTo>
                  <a:lnTo>
                    <a:pt x="17192" y="2088"/>
                  </a:lnTo>
                  <a:lnTo>
                    <a:pt x="17171" y="2100"/>
                  </a:lnTo>
                  <a:lnTo>
                    <a:pt x="17185" y="2112"/>
                  </a:lnTo>
                  <a:lnTo>
                    <a:pt x="17176" y="2105"/>
                  </a:lnTo>
                  <a:lnTo>
                    <a:pt x="17154" y="2138"/>
                  </a:lnTo>
                  <a:lnTo>
                    <a:pt x="17121" y="2138"/>
                  </a:lnTo>
                  <a:lnTo>
                    <a:pt x="17138" y="2166"/>
                  </a:lnTo>
                  <a:lnTo>
                    <a:pt x="17138" y="2178"/>
                  </a:lnTo>
                  <a:lnTo>
                    <a:pt x="17100" y="2178"/>
                  </a:lnTo>
                  <a:lnTo>
                    <a:pt x="17088" y="2183"/>
                  </a:lnTo>
                  <a:lnTo>
                    <a:pt x="17079" y="2195"/>
                  </a:lnTo>
                  <a:lnTo>
                    <a:pt x="17046" y="2178"/>
                  </a:lnTo>
                  <a:lnTo>
                    <a:pt x="17079" y="2162"/>
                  </a:lnTo>
                  <a:lnTo>
                    <a:pt x="17046" y="2166"/>
                  </a:lnTo>
                  <a:lnTo>
                    <a:pt x="17013" y="2157"/>
                  </a:lnTo>
                  <a:lnTo>
                    <a:pt x="16954" y="2157"/>
                  </a:lnTo>
                  <a:lnTo>
                    <a:pt x="16958" y="2162"/>
                  </a:lnTo>
                  <a:lnTo>
                    <a:pt x="16958" y="2178"/>
                  </a:lnTo>
                  <a:lnTo>
                    <a:pt x="16982" y="2195"/>
                  </a:lnTo>
                  <a:lnTo>
                    <a:pt x="17050" y="2216"/>
                  </a:lnTo>
                  <a:lnTo>
                    <a:pt x="17133" y="2211"/>
                  </a:lnTo>
                  <a:lnTo>
                    <a:pt x="17171" y="2223"/>
                  </a:lnTo>
                  <a:lnTo>
                    <a:pt x="17192" y="2216"/>
                  </a:lnTo>
                  <a:lnTo>
                    <a:pt x="17192" y="2195"/>
                  </a:lnTo>
                  <a:lnTo>
                    <a:pt x="17197" y="2178"/>
                  </a:lnTo>
                  <a:lnTo>
                    <a:pt x="17230" y="2178"/>
                  </a:lnTo>
                  <a:lnTo>
                    <a:pt x="17294" y="2138"/>
                  </a:lnTo>
                  <a:lnTo>
                    <a:pt x="17298" y="2105"/>
                  </a:lnTo>
                  <a:lnTo>
                    <a:pt x="17298" y="2100"/>
                  </a:lnTo>
                  <a:lnTo>
                    <a:pt x="17353" y="2051"/>
                  </a:lnTo>
                  <a:lnTo>
                    <a:pt x="17360" y="2018"/>
                  </a:lnTo>
                  <a:lnTo>
                    <a:pt x="17353" y="1994"/>
                  </a:lnTo>
                  <a:lnTo>
                    <a:pt x="17332" y="1961"/>
                  </a:lnTo>
                  <a:lnTo>
                    <a:pt x="17336" y="1944"/>
                  </a:lnTo>
                  <a:lnTo>
                    <a:pt x="17336" y="1923"/>
                  </a:lnTo>
                  <a:lnTo>
                    <a:pt x="17353" y="1918"/>
                  </a:lnTo>
                  <a:lnTo>
                    <a:pt x="17483" y="1890"/>
                  </a:lnTo>
                  <a:lnTo>
                    <a:pt x="17495" y="1902"/>
                  </a:lnTo>
                  <a:lnTo>
                    <a:pt x="17495" y="1918"/>
                  </a:lnTo>
                  <a:lnTo>
                    <a:pt x="17537" y="1944"/>
                  </a:lnTo>
                  <a:lnTo>
                    <a:pt x="17537" y="1961"/>
                  </a:lnTo>
                  <a:lnTo>
                    <a:pt x="17532" y="1973"/>
                  </a:lnTo>
                  <a:lnTo>
                    <a:pt x="17537" y="1977"/>
                  </a:lnTo>
                  <a:lnTo>
                    <a:pt x="17532" y="2013"/>
                  </a:lnTo>
                  <a:lnTo>
                    <a:pt x="17537" y="2018"/>
                  </a:lnTo>
                  <a:lnTo>
                    <a:pt x="17520" y="2034"/>
                  </a:lnTo>
                  <a:lnTo>
                    <a:pt x="17570" y="2067"/>
                  </a:lnTo>
                  <a:lnTo>
                    <a:pt x="17662" y="2067"/>
                  </a:lnTo>
                  <a:lnTo>
                    <a:pt x="17646" y="2051"/>
                  </a:lnTo>
                  <a:lnTo>
                    <a:pt x="17624" y="2055"/>
                  </a:lnTo>
                  <a:lnTo>
                    <a:pt x="17617" y="2055"/>
                  </a:lnTo>
                  <a:lnTo>
                    <a:pt x="17629" y="2051"/>
                  </a:lnTo>
                  <a:lnTo>
                    <a:pt x="17549" y="2046"/>
                  </a:lnTo>
                  <a:lnTo>
                    <a:pt x="17554" y="1994"/>
                  </a:lnTo>
                  <a:lnTo>
                    <a:pt x="17601" y="1977"/>
                  </a:lnTo>
                  <a:lnTo>
                    <a:pt x="17587" y="1961"/>
                  </a:lnTo>
                  <a:lnTo>
                    <a:pt x="17587" y="1944"/>
                  </a:lnTo>
                  <a:lnTo>
                    <a:pt x="17570" y="1944"/>
                  </a:lnTo>
                  <a:lnTo>
                    <a:pt x="17563" y="1902"/>
                  </a:lnTo>
                  <a:lnTo>
                    <a:pt x="17445" y="1850"/>
                  </a:lnTo>
                  <a:lnTo>
                    <a:pt x="17407" y="1850"/>
                  </a:lnTo>
                  <a:lnTo>
                    <a:pt x="17360" y="1878"/>
                  </a:lnTo>
                  <a:lnTo>
                    <a:pt x="17332" y="1866"/>
                  </a:lnTo>
                  <a:lnTo>
                    <a:pt x="17298" y="1878"/>
                  </a:lnTo>
                  <a:lnTo>
                    <a:pt x="17284" y="1862"/>
                  </a:lnTo>
                  <a:lnTo>
                    <a:pt x="17298" y="1829"/>
                  </a:lnTo>
                  <a:lnTo>
                    <a:pt x="17268" y="1791"/>
                  </a:lnTo>
                  <a:lnTo>
                    <a:pt x="17294" y="1751"/>
                  </a:lnTo>
                  <a:lnTo>
                    <a:pt x="17284" y="1739"/>
                  </a:lnTo>
                  <a:lnTo>
                    <a:pt x="17332" y="1696"/>
                  </a:lnTo>
                  <a:lnTo>
                    <a:pt x="17332" y="1668"/>
                  </a:lnTo>
                  <a:lnTo>
                    <a:pt x="17298" y="1647"/>
                  </a:lnTo>
                  <a:lnTo>
                    <a:pt x="17298" y="1630"/>
                  </a:lnTo>
                  <a:lnTo>
                    <a:pt x="17268" y="1590"/>
                  </a:lnTo>
                  <a:lnTo>
                    <a:pt x="17239" y="1573"/>
                  </a:lnTo>
                  <a:lnTo>
                    <a:pt x="17268" y="1545"/>
                  </a:lnTo>
                  <a:lnTo>
                    <a:pt x="17268" y="1529"/>
                  </a:lnTo>
                  <a:lnTo>
                    <a:pt x="17268" y="1519"/>
                  </a:lnTo>
                  <a:lnTo>
                    <a:pt x="17369" y="1479"/>
                  </a:lnTo>
                  <a:lnTo>
                    <a:pt x="17386" y="1462"/>
                  </a:lnTo>
                  <a:lnTo>
                    <a:pt x="17386" y="1441"/>
                  </a:lnTo>
                  <a:lnTo>
                    <a:pt x="17374" y="1408"/>
                  </a:lnTo>
                  <a:lnTo>
                    <a:pt x="17360" y="1384"/>
                  </a:lnTo>
                  <a:lnTo>
                    <a:pt x="17374" y="1375"/>
                  </a:lnTo>
                  <a:lnTo>
                    <a:pt x="17402" y="1384"/>
                  </a:lnTo>
                  <a:lnTo>
                    <a:pt x="17412" y="1392"/>
                  </a:lnTo>
                  <a:lnTo>
                    <a:pt x="17402" y="1401"/>
                  </a:lnTo>
                  <a:lnTo>
                    <a:pt x="17424" y="1418"/>
                  </a:lnTo>
                  <a:lnTo>
                    <a:pt x="17412" y="1425"/>
                  </a:lnTo>
                  <a:lnTo>
                    <a:pt x="17428" y="1458"/>
                  </a:lnTo>
                  <a:lnTo>
                    <a:pt x="17391" y="1512"/>
                  </a:lnTo>
                  <a:lnTo>
                    <a:pt x="17391" y="1529"/>
                  </a:lnTo>
                  <a:lnTo>
                    <a:pt x="17407" y="1545"/>
                  </a:lnTo>
                  <a:lnTo>
                    <a:pt x="17407" y="1557"/>
                  </a:lnTo>
                  <a:lnTo>
                    <a:pt x="17391" y="1569"/>
                  </a:lnTo>
                  <a:lnTo>
                    <a:pt x="17391" y="1573"/>
                  </a:lnTo>
                  <a:lnTo>
                    <a:pt x="17428" y="1590"/>
                  </a:lnTo>
                  <a:lnTo>
                    <a:pt x="17511" y="1602"/>
                  </a:lnTo>
                  <a:lnTo>
                    <a:pt x="17511" y="1614"/>
                  </a:lnTo>
                  <a:lnTo>
                    <a:pt x="17516" y="1607"/>
                  </a:lnTo>
                  <a:lnTo>
                    <a:pt x="17563" y="1607"/>
                  </a:lnTo>
                  <a:lnTo>
                    <a:pt x="17575" y="1614"/>
                  </a:lnTo>
                  <a:lnTo>
                    <a:pt x="17587" y="1630"/>
                  </a:lnTo>
                  <a:lnTo>
                    <a:pt x="17617" y="1640"/>
                  </a:lnTo>
                  <a:lnTo>
                    <a:pt x="17662" y="1630"/>
                  </a:lnTo>
                  <a:lnTo>
                    <a:pt x="17624" y="1630"/>
                  </a:lnTo>
                  <a:lnTo>
                    <a:pt x="17617" y="1630"/>
                  </a:lnTo>
                  <a:lnTo>
                    <a:pt x="17624" y="1614"/>
                  </a:lnTo>
                  <a:lnTo>
                    <a:pt x="17608" y="1614"/>
                  </a:lnTo>
                  <a:lnTo>
                    <a:pt x="17624" y="1623"/>
                  </a:lnTo>
                  <a:lnTo>
                    <a:pt x="17617" y="1623"/>
                  </a:lnTo>
                  <a:lnTo>
                    <a:pt x="17601" y="1614"/>
                  </a:lnTo>
                  <a:lnTo>
                    <a:pt x="17608" y="1590"/>
                  </a:lnTo>
                  <a:lnTo>
                    <a:pt x="17575" y="1590"/>
                  </a:lnTo>
                  <a:lnTo>
                    <a:pt x="17587" y="1573"/>
                  </a:lnTo>
                  <a:lnTo>
                    <a:pt x="17570" y="1590"/>
                  </a:lnTo>
                  <a:lnTo>
                    <a:pt x="17549" y="1585"/>
                  </a:lnTo>
                  <a:lnTo>
                    <a:pt x="17554" y="1590"/>
                  </a:lnTo>
                  <a:lnTo>
                    <a:pt x="17461" y="1552"/>
                  </a:lnTo>
                  <a:lnTo>
                    <a:pt x="17445" y="1512"/>
                  </a:lnTo>
                  <a:lnTo>
                    <a:pt x="17457" y="1503"/>
                  </a:lnTo>
                  <a:lnTo>
                    <a:pt x="17511" y="1491"/>
                  </a:lnTo>
                  <a:lnTo>
                    <a:pt x="17554" y="1519"/>
                  </a:lnTo>
                  <a:lnTo>
                    <a:pt x="17591" y="1512"/>
                  </a:lnTo>
                  <a:lnTo>
                    <a:pt x="17601" y="1495"/>
                  </a:lnTo>
                  <a:lnTo>
                    <a:pt x="17587" y="1479"/>
                  </a:lnTo>
                  <a:lnTo>
                    <a:pt x="17537" y="1479"/>
                  </a:lnTo>
                  <a:lnTo>
                    <a:pt x="17549" y="1462"/>
                  </a:lnTo>
                  <a:lnTo>
                    <a:pt x="17563" y="1474"/>
                  </a:lnTo>
                  <a:lnTo>
                    <a:pt x="17575" y="1446"/>
                  </a:lnTo>
                  <a:lnTo>
                    <a:pt x="17624" y="1441"/>
                  </a:lnTo>
                  <a:lnTo>
                    <a:pt x="17693" y="1446"/>
                  </a:lnTo>
                  <a:lnTo>
                    <a:pt x="17785" y="1479"/>
                  </a:lnTo>
                  <a:lnTo>
                    <a:pt x="17785" y="1491"/>
                  </a:lnTo>
                  <a:lnTo>
                    <a:pt x="17769" y="1491"/>
                  </a:lnTo>
                  <a:lnTo>
                    <a:pt x="17839" y="1536"/>
                  </a:lnTo>
                  <a:lnTo>
                    <a:pt x="17927" y="1529"/>
                  </a:lnTo>
                  <a:lnTo>
                    <a:pt x="17953" y="1536"/>
                  </a:lnTo>
                  <a:lnTo>
                    <a:pt x="17941" y="1552"/>
                  </a:lnTo>
                  <a:lnTo>
                    <a:pt x="17932" y="1569"/>
                  </a:lnTo>
                  <a:lnTo>
                    <a:pt x="17889" y="1590"/>
                  </a:lnTo>
                  <a:lnTo>
                    <a:pt x="17894" y="1614"/>
                  </a:lnTo>
                  <a:lnTo>
                    <a:pt x="17877" y="1630"/>
                  </a:lnTo>
                  <a:lnTo>
                    <a:pt x="17894" y="1656"/>
                  </a:lnTo>
                  <a:lnTo>
                    <a:pt x="17872" y="1684"/>
                  </a:lnTo>
                  <a:lnTo>
                    <a:pt x="17894" y="1734"/>
                  </a:lnTo>
                  <a:lnTo>
                    <a:pt x="17877" y="1684"/>
                  </a:lnTo>
                  <a:lnTo>
                    <a:pt x="17898" y="1680"/>
                  </a:lnTo>
                  <a:lnTo>
                    <a:pt x="17898" y="1656"/>
                  </a:lnTo>
                  <a:lnTo>
                    <a:pt x="17910" y="1630"/>
                  </a:lnTo>
                  <a:lnTo>
                    <a:pt x="17948" y="1640"/>
                  </a:lnTo>
                  <a:lnTo>
                    <a:pt x="17941" y="1701"/>
                  </a:lnTo>
                  <a:lnTo>
                    <a:pt x="17910" y="1722"/>
                  </a:lnTo>
                  <a:lnTo>
                    <a:pt x="17910" y="1734"/>
                  </a:lnTo>
                  <a:lnTo>
                    <a:pt x="17948" y="1751"/>
                  </a:lnTo>
                  <a:lnTo>
                    <a:pt x="17948" y="1739"/>
                  </a:lnTo>
                  <a:lnTo>
                    <a:pt x="17932" y="1718"/>
                  </a:lnTo>
                  <a:lnTo>
                    <a:pt x="17969" y="1718"/>
                  </a:lnTo>
                  <a:lnTo>
                    <a:pt x="17986" y="1701"/>
                  </a:lnTo>
                  <a:lnTo>
                    <a:pt x="17969" y="1640"/>
                  </a:lnTo>
                  <a:lnTo>
                    <a:pt x="17948" y="1602"/>
                  </a:lnTo>
                  <a:lnTo>
                    <a:pt x="17979" y="1545"/>
                  </a:lnTo>
                  <a:lnTo>
                    <a:pt x="17965" y="1519"/>
                  </a:lnTo>
                  <a:lnTo>
                    <a:pt x="17915" y="1512"/>
                  </a:lnTo>
                  <a:lnTo>
                    <a:pt x="17877" y="1479"/>
                  </a:lnTo>
                  <a:lnTo>
                    <a:pt x="17889" y="1474"/>
                  </a:lnTo>
                  <a:lnTo>
                    <a:pt x="17877" y="1458"/>
                  </a:lnTo>
                  <a:lnTo>
                    <a:pt x="17806" y="1446"/>
                  </a:lnTo>
                  <a:lnTo>
                    <a:pt x="17780" y="1425"/>
                  </a:lnTo>
                  <a:lnTo>
                    <a:pt x="17785" y="1408"/>
                  </a:lnTo>
                  <a:lnTo>
                    <a:pt x="17769" y="1392"/>
                  </a:lnTo>
                  <a:lnTo>
                    <a:pt x="17785" y="1375"/>
                  </a:lnTo>
                  <a:lnTo>
                    <a:pt x="17785" y="1363"/>
                  </a:lnTo>
                  <a:lnTo>
                    <a:pt x="17752" y="1347"/>
                  </a:lnTo>
                  <a:lnTo>
                    <a:pt x="17764" y="1335"/>
                  </a:lnTo>
                  <a:lnTo>
                    <a:pt x="17738" y="1335"/>
                  </a:lnTo>
                  <a:lnTo>
                    <a:pt x="17764" y="1330"/>
                  </a:lnTo>
                  <a:lnTo>
                    <a:pt x="17747" y="1314"/>
                  </a:lnTo>
                  <a:lnTo>
                    <a:pt x="17769" y="1290"/>
                  </a:lnTo>
                  <a:lnTo>
                    <a:pt x="17764" y="1290"/>
                  </a:lnTo>
                  <a:lnTo>
                    <a:pt x="17764" y="1281"/>
                  </a:lnTo>
                  <a:lnTo>
                    <a:pt x="18054" y="1252"/>
                  </a:lnTo>
                  <a:lnTo>
                    <a:pt x="18092" y="1257"/>
                  </a:lnTo>
                  <a:lnTo>
                    <a:pt x="18146" y="1240"/>
                  </a:lnTo>
                  <a:lnTo>
                    <a:pt x="18222" y="1240"/>
                  </a:lnTo>
                  <a:lnTo>
                    <a:pt x="18217" y="1252"/>
                  </a:lnTo>
                  <a:lnTo>
                    <a:pt x="18130" y="1297"/>
                  </a:lnTo>
                  <a:lnTo>
                    <a:pt x="18130" y="1314"/>
                  </a:lnTo>
                  <a:lnTo>
                    <a:pt x="18196" y="1347"/>
                  </a:lnTo>
                  <a:lnTo>
                    <a:pt x="18201" y="1363"/>
                  </a:lnTo>
                  <a:lnTo>
                    <a:pt x="18196" y="1335"/>
                  </a:lnTo>
                  <a:lnTo>
                    <a:pt x="18142" y="1314"/>
                  </a:lnTo>
                  <a:lnTo>
                    <a:pt x="18130" y="1290"/>
                  </a:lnTo>
                  <a:lnTo>
                    <a:pt x="18234" y="1273"/>
                  </a:lnTo>
                  <a:lnTo>
                    <a:pt x="18267" y="1236"/>
                  </a:lnTo>
                  <a:lnTo>
                    <a:pt x="18239" y="1240"/>
                  </a:lnTo>
                  <a:lnTo>
                    <a:pt x="18217" y="1219"/>
                  </a:lnTo>
                  <a:lnTo>
                    <a:pt x="18250" y="1219"/>
                  </a:lnTo>
                  <a:lnTo>
                    <a:pt x="18239" y="1207"/>
                  </a:lnTo>
                  <a:lnTo>
                    <a:pt x="18213" y="1207"/>
                  </a:lnTo>
                  <a:lnTo>
                    <a:pt x="18201" y="1186"/>
                  </a:lnTo>
                  <a:lnTo>
                    <a:pt x="18184" y="1186"/>
                  </a:lnTo>
                  <a:lnTo>
                    <a:pt x="18142" y="1179"/>
                  </a:lnTo>
                  <a:lnTo>
                    <a:pt x="18142" y="1170"/>
                  </a:lnTo>
                  <a:lnTo>
                    <a:pt x="18168" y="1179"/>
                  </a:lnTo>
                  <a:lnTo>
                    <a:pt x="18146" y="1162"/>
                  </a:lnTo>
                  <a:lnTo>
                    <a:pt x="18180" y="1153"/>
                  </a:lnTo>
                  <a:lnTo>
                    <a:pt x="18213" y="1162"/>
                  </a:lnTo>
                  <a:lnTo>
                    <a:pt x="18196" y="1179"/>
                  </a:lnTo>
                  <a:lnTo>
                    <a:pt x="18222" y="1170"/>
                  </a:lnTo>
                  <a:lnTo>
                    <a:pt x="18184" y="1146"/>
                  </a:lnTo>
                  <a:lnTo>
                    <a:pt x="18196" y="1141"/>
                  </a:lnTo>
                  <a:lnTo>
                    <a:pt x="18184" y="1141"/>
                  </a:lnTo>
                  <a:lnTo>
                    <a:pt x="18130" y="1129"/>
                  </a:lnTo>
                  <a:lnTo>
                    <a:pt x="18158" y="1113"/>
                  </a:lnTo>
                  <a:lnTo>
                    <a:pt x="18146" y="1108"/>
                  </a:lnTo>
                  <a:lnTo>
                    <a:pt x="18213" y="1129"/>
                  </a:lnTo>
                  <a:lnTo>
                    <a:pt x="18213" y="1125"/>
                  </a:lnTo>
                  <a:lnTo>
                    <a:pt x="18201" y="1125"/>
                  </a:lnTo>
                  <a:lnTo>
                    <a:pt x="18239" y="1087"/>
                  </a:lnTo>
                  <a:lnTo>
                    <a:pt x="18234" y="1075"/>
                  </a:lnTo>
                  <a:lnTo>
                    <a:pt x="18255" y="1087"/>
                  </a:lnTo>
                  <a:lnTo>
                    <a:pt x="18272" y="1075"/>
                  </a:lnTo>
                  <a:lnTo>
                    <a:pt x="18213" y="1070"/>
                  </a:lnTo>
                  <a:lnTo>
                    <a:pt x="18217" y="1051"/>
                  </a:lnTo>
                  <a:lnTo>
                    <a:pt x="18288" y="1058"/>
                  </a:lnTo>
                  <a:lnTo>
                    <a:pt x="18373" y="1002"/>
                  </a:lnTo>
                  <a:lnTo>
                    <a:pt x="18395" y="1014"/>
                  </a:lnTo>
                  <a:lnTo>
                    <a:pt x="18428" y="997"/>
                  </a:lnTo>
                  <a:lnTo>
                    <a:pt x="18487" y="981"/>
                  </a:lnTo>
                  <a:lnTo>
                    <a:pt x="18541" y="981"/>
                  </a:lnTo>
                  <a:lnTo>
                    <a:pt x="18546" y="976"/>
                  </a:lnTo>
                  <a:lnTo>
                    <a:pt x="18720" y="943"/>
                  </a:lnTo>
                  <a:lnTo>
                    <a:pt x="18671" y="943"/>
                  </a:lnTo>
                  <a:lnTo>
                    <a:pt x="18666" y="947"/>
                  </a:lnTo>
                  <a:lnTo>
                    <a:pt x="18654" y="931"/>
                  </a:lnTo>
                  <a:lnTo>
                    <a:pt x="18645" y="943"/>
                  </a:lnTo>
                  <a:lnTo>
                    <a:pt x="18645" y="947"/>
                  </a:lnTo>
                  <a:lnTo>
                    <a:pt x="18628" y="943"/>
                  </a:lnTo>
                  <a:lnTo>
                    <a:pt x="18633" y="924"/>
                  </a:lnTo>
                  <a:lnTo>
                    <a:pt x="18654" y="924"/>
                  </a:lnTo>
                  <a:lnTo>
                    <a:pt x="18650" y="919"/>
                  </a:lnTo>
                  <a:lnTo>
                    <a:pt x="18666" y="919"/>
                  </a:lnTo>
                  <a:lnTo>
                    <a:pt x="18654" y="924"/>
                  </a:lnTo>
                  <a:lnTo>
                    <a:pt x="18666" y="931"/>
                  </a:lnTo>
                  <a:lnTo>
                    <a:pt x="18709" y="924"/>
                  </a:lnTo>
                  <a:lnTo>
                    <a:pt x="18683" y="907"/>
                  </a:lnTo>
                  <a:lnTo>
                    <a:pt x="18735" y="907"/>
                  </a:lnTo>
                  <a:lnTo>
                    <a:pt x="18742" y="924"/>
                  </a:lnTo>
                  <a:lnTo>
                    <a:pt x="18758" y="919"/>
                  </a:lnTo>
                  <a:lnTo>
                    <a:pt x="18742" y="907"/>
                  </a:lnTo>
                  <a:lnTo>
                    <a:pt x="18751" y="907"/>
                  </a:lnTo>
                  <a:lnTo>
                    <a:pt x="18865" y="919"/>
                  </a:lnTo>
                  <a:lnTo>
                    <a:pt x="18817" y="947"/>
                  </a:lnTo>
                  <a:lnTo>
                    <a:pt x="18827" y="947"/>
                  </a:lnTo>
                  <a:lnTo>
                    <a:pt x="18843" y="943"/>
                  </a:lnTo>
                  <a:lnTo>
                    <a:pt x="18881" y="931"/>
                  </a:lnTo>
                  <a:lnTo>
                    <a:pt x="18886" y="943"/>
                  </a:lnTo>
                  <a:lnTo>
                    <a:pt x="18881" y="947"/>
                  </a:lnTo>
                  <a:lnTo>
                    <a:pt x="18935" y="924"/>
                  </a:lnTo>
                  <a:lnTo>
                    <a:pt x="18940" y="924"/>
                  </a:lnTo>
                  <a:lnTo>
                    <a:pt x="18924" y="943"/>
                  </a:lnTo>
                  <a:lnTo>
                    <a:pt x="18973" y="931"/>
                  </a:lnTo>
                  <a:lnTo>
                    <a:pt x="18957" y="924"/>
                  </a:lnTo>
                  <a:lnTo>
                    <a:pt x="18994" y="919"/>
                  </a:lnTo>
                  <a:lnTo>
                    <a:pt x="19006" y="919"/>
                  </a:lnTo>
                  <a:lnTo>
                    <a:pt x="18978" y="907"/>
                  </a:lnTo>
                  <a:lnTo>
                    <a:pt x="19044" y="891"/>
                  </a:lnTo>
                  <a:lnTo>
                    <a:pt x="19032" y="903"/>
                  </a:lnTo>
                  <a:lnTo>
                    <a:pt x="19082" y="903"/>
                  </a:lnTo>
                  <a:lnTo>
                    <a:pt x="19065" y="907"/>
                  </a:lnTo>
                  <a:lnTo>
                    <a:pt x="19098" y="907"/>
                  </a:lnTo>
                  <a:lnTo>
                    <a:pt x="19087" y="919"/>
                  </a:lnTo>
                  <a:lnTo>
                    <a:pt x="19113" y="924"/>
                  </a:lnTo>
                  <a:lnTo>
                    <a:pt x="19103" y="959"/>
                  </a:lnTo>
                  <a:lnTo>
                    <a:pt x="19075" y="964"/>
                  </a:lnTo>
                  <a:lnTo>
                    <a:pt x="19065" y="997"/>
                  </a:lnTo>
                  <a:lnTo>
                    <a:pt x="19103" y="1014"/>
                  </a:lnTo>
                  <a:lnTo>
                    <a:pt x="19141" y="1051"/>
                  </a:lnTo>
                  <a:lnTo>
                    <a:pt x="19136" y="1035"/>
                  </a:lnTo>
                  <a:lnTo>
                    <a:pt x="19113" y="1018"/>
                  </a:lnTo>
                  <a:lnTo>
                    <a:pt x="19120" y="1014"/>
                  </a:lnTo>
                  <a:lnTo>
                    <a:pt x="19075" y="997"/>
                  </a:lnTo>
                  <a:lnTo>
                    <a:pt x="19082" y="964"/>
                  </a:lnTo>
                  <a:lnTo>
                    <a:pt x="19103" y="964"/>
                  </a:lnTo>
                  <a:lnTo>
                    <a:pt x="19120" y="947"/>
                  </a:lnTo>
                  <a:lnTo>
                    <a:pt x="19120" y="919"/>
                  </a:lnTo>
                  <a:lnTo>
                    <a:pt x="19103" y="891"/>
                  </a:lnTo>
                  <a:lnTo>
                    <a:pt x="19061" y="874"/>
                  </a:lnTo>
                  <a:lnTo>
                    <a:pt x="19044" y="865"/>
                  </a:lnTo>
                  <a:lnTo>
                    <a:pt x="19188" y="853"/>
                  </a:lnTo>
                  <a:lnTo>
                    <a:pt x="19280" y="874"/>
                  </a:lnTo>
                  <a:lnTo>
                    <a:pt x="19188" y="848"/>
                  </a:lnTo>
                  <a:lnTo>
                    <a:pt x="19205" y="848"/>
                  </a:lnTo>
                  <a:lnTo>
                    <a:pt x="19212" y="820"/>
                  </a:lnTo>
                  <a:lnTo>
                    <a:pt x="19188" y="799"/>
                  </a:lnTo>
                  <a:lnTo>
                    <a:pt x="19195" y="780"/>
                  </a:lnTo>
                  <a:lnTo>
                    <a:pt x="19212" y="780"/>
                  </a:lnTo>
                  <a:lnTo>
                    <a:pt x="19212" y="763"/>
                  </a:lnTo>
                  <a:lnTo>
                    <a:pt x="19276" y="721"/>
                  </a:lnTo>
                  <a:lnTo>
                    <a:pt x="19292" y="725"/>
                  </a:lnTo>
                  <a:lnTo>
                    <a:pt x="19351" y="681"/>
                  </a:lnTo>
                  <a:lnTo>
                    <a:pt x="19427" y="671"/>
                  </a:lnTo>
                  <a:lnTo>
                    <a:pt x="19439" y="671"/>
                  </a:lnTo>
                  <a:lnTo>
                    <a:pt x="19427" y="681"/>
                  </a:lnTo>
                  <a:lnTo>
                    <a:pt x="19460" y="671"/>
                  </a:lnTo>
                  <a:lnTo>
                    <a:pt x="19476" y="697"/>
                  </a:lnTo>
                  <a:lnTo>
                    <a:pt x="19507" y="697"/>
                  </a:lnTo>
                  <a:lnTo>
                    <a:pt x="19535" y="697"/>
                  </a:lnTo>
                  <a:lnTo>
                    <a:pt x="19552" y="721"/>
                  </a:lnTo>
                  <a:lnTo>
                    <a:pt x="19566" y="725"/>
                  </a:lnTo>
                  <a:lnTo>
                    <a:pt x="19528" y="725"/>
                  </a:lnTo>
                  <a:lnTo>
                    <a:pt x="19514" y="742"/>
                  </a:lnTo>
                  <a:lnTo>
                    <a:pt x="19422" y="763"/>
                  </a:lnTo>
                  <a:lnTo>
                    <a:pt x="19545" y="758"/>
                  </a:lnTo>
                  <a:lnTo>
                    <a:pt x="19535" y="775"/>
                  </a:lnTo>
                  <a:lnTo>
                    <a:pt x="19514" y="780"/>
                  </a:lnTo>
                  <a:lnTo>
                    <a:pt x="19604" y="775"/>
                  </a:lnTo>
                  <a:lnTo>
                    <a:pt x="19654" y="792"/>
                  </a:lnTo>
                  <a:lnTo>
                    <a:pt x="19637" y="799"/>
                  </a:lnTo>
                  <a:lnTo>
                    <a:pt x="19642" y="799"/>
                  </a:lnTo>
                  <a:lnTo>
                    <a:pt x="19590" y="848"/>
                  </a:lnTo>
                  <a:lnTo>
                    <a:pt x="19573" y="848"/>
                  </a:lnTo>
                  <a:lnTo>
                    <a:pt x="19573" y="853"/>
                  </a:lnTo>
                  <a:lnTo>
                    <a:pt x="19687" y="853"/>
                  </a:lnTo>
                  <a:lnTo>
                    <a:pt x="19691" y="836"/>
                  </a:lnTo>
                  <a:lnTo>
                    <a:pt x="19687" y="832"/>
                  </a:lnTo>
                  <a:lnTo>
                    <a:pt x="19687" y="820"/>
                  </a:lnTo>
                  <a:lnTo>
                    <a:pt x="19831" y="832"/>
                  </a:lnTo>
                  <a:lnTo>
                    <a:pt x="19906" y="820"/>
                  </a:lnTo>
                  <a:lnTo>
                    <a:pt x="19982" y="865"/>
                  </a:lnTo>
                  <a:lnTo>
                    <a:pt x="19961" y="874"/>
                  </a:lnTo>
                  <a:lnTo>
                    <a:pt x="19994" y="865"/>
                  </a:lnTo>
                  <a:lnTo>
                    <a:pt x="20020" y="886"/>
                  </a:lnTo>
                  <a:lnTo>
                    <a:pt x="20015" y="903"/>
                  </a:lnTo>
                  <a:lnTo>
                    <a:pt x="20010" y="891"/>
                  </a:lnTo>
                  <a:lnTo>
                    <a:pt x="20031" y="907"/>
                  </a:lnTo>
                  <a:lnTo>
                    <a:pt x="20010" y="924"/>
                  </a:lnTo>
                  <a:lnTo>
                    <a:pt x="20065" y="907"/>
                  </a:lnTo>
                  <a:lnTo>
                    <a:pt x="20036" y="891"/>
                  </a:lnTo>
                  <a:lnTo>
                    <a:pt x="20065" y="891"/>
                  </a:lnTo>
                  <a:lnTo>
                    <a:pt x="20074" y="907"/>
                  </a:lnTo>
                  <a:lnTo>
                    <a:pt x="20074" y="947"/>
                  </a:lnTo>
                  <a:lnTo>
                    <a:pt x="20091" y="943"/>
                  </a:lnTo>
                  <a:lnTo>
                    <a:pt x="20102" y="959"/>
                  </a:lnTo>
                  <a:lnTo>
                    <a:pt x="20091" y="985"/>
                  </a:lnTo>
                  <a:lnTo>
                    <a:pt x="20074" y="997"/>
                  </a:lnTo>
                  <a:lnTo>
                    <a:pt x="20069" y="997"/>
                  </a:lnTo>
                  <a:lnTo>
                    <a:pt x="20086" y="981"/>
                  </a:lnTo>
                  <a:lnTo>
                    <a:pt x="19994" y="959"/>
                  </a:lnTo>
                  <a:lnTo>
                    <a:pt x="20031" y="976"/>
                  </a:lnTo>
                  <a:lnTo>
                    <a:pt x="20031" y="997"/>
                  </a:lnTo>
                  <a:lnTo>
                    <a:pt x="20065" y="981"/>
                  </a:lnTo>
                  <a:lnTo>
                    <a:pt x="20065" y="997"/>
                  </a:lnTo>
                  <a:lnTo>
                    <a:pt x="20086" y="1002"/>
                  </a:lnTo>
                  <a:lnTo>
                    <a:pt x="20091" y="1018"/>
                  </a:lnTo>
                  <a:lnTo>
                    <a:pt x="20074" y="1018"/>
                  </a:lnTo>
                  <a:lnTo>
                    <a:pt x="20086" y="1030"/>
                  </a:lnTo>
                  <a:lnTo>
                    <a:pt x="20031" y="1075"/>
                  </a:lnTo>
                  <a:lnTo>
                    <a:pt x="19977" y="1092"/>
                  </a:lnTo>
                  <a:lnTo>
                    <a:pt x="19956" y="1125"/>
                  </a:lnTo>
                  <a:lnTo>
                    <a:pt x="19930" y="1125"/>
                  </a:lnTo>
                  <a:lnTo>
                    <a:pt x="19902" y="1141"/>
                  </a:lnTo>
                  <a:lnTo>
                    <a:pt x="19854" y="1153"/>
                  </a:lnTo>
                  <a:lnTo>
                    <a:pt x="19859" y="1153"/>
                  </a:lnTo>
                  <a:lnTo>
                    <a:pt x="19847" y="1170"/>
                  </a:lnTo>
                  <a:lnTo>
                    <a:pt x="19800" y="1170"/>
                  </a:lnTo>
                  <a:lnTo>
                    <a:pt x="19831" y="1179"/>
                  </a:lnTo>
                  <a:lnTo>
                    <a:pt x="19821" y="1195"/>
                  </a:lnTo>
                  <a:lnTo>
                    <a:pt x="19767" y="1219"/>
                  </a:lnTo>
                  <a:lnTo>
                    <a:pt x="19708" y="1264"/>
                  </a:lnTo>
                  <a:lnTo>
                    <a:pt x="19628" y="1273"/>
                  </a:lnTo>
                  <a:lnTo>
                    <a:pt x="19628" y="1281"/>
                  </a:lnTo>
                  <a:lnTo>
                    <a:pt x="19604" y="1314"/>
                  </a:lnTo>
                  <a:lnTo>
                    <a:pt x="19552" y="1318"/>
                  </a:lnTo>
                  <a:lnTo>
                    <a:pt x="19535" y="1363"/>
                  </a:lnTo>
                  <a:lnTo>
                    <a:pt x="19498" y="1392"/>
                  </a:lnTo>
                  <a:lnTo>
                    <a:pt x="19566" y="1363"/>
                  </a:lnTo>
                  <a:lnTo>
                    <a:pt x="19561" y="1347"/>
                  </a:lnTo>
                  <a:lnTo>
                    <a:pt x="19573" y="1330"/>
                  </a:lnTo>
                  <a:lnTo>
                    <a:pt x="19604" y="1335"/>
                  </a:lnTo>
                  <a:lnTo>
                    <a:pt x="19713" y="1330"/>
                  </a:lnTo>
                  <a:lnTo>
                    <a:pt x="19708" y="1318"/>
                  </a:lnTo>
                  <a:lnTo>
                    <a:pt x="19779" y="1307"/>
                  </a:lnTo>
                  <a:lnTo>
                    <a:pt x="19779" y="1290"/>
                  </a:lnTo>
                  <a:lnTo>
                    <a:pt x="19793" y="1297"/>
                  </a:lnTo>
                  <a:lnTo>
                    <a:pt x="19779" y="1281"/>
                  </a:lnTo>
                  <a:lnTo>
                    <a:pt x="19817" y="1297"/>
                  </a:lnTo>
                  <a:lnTo>
                    <a:pt x="19892" y="1264"/>
                  </a:lnTo>
                  <a:lnTo>
                    <a:pt x="19892" y="1252"/>
                  </a:lnTo>
                  <a:lnTo>
                    <a:pt x="19876" y="1252"/>
                  </a:lnTo>
                  <a:lnTo>
                    <a:pt x="19817" y="1264"/>
                  </a:lnTo>
                  <a:lnTo>
                    <a:pt x="19800" y="1252"/>
                  </a:lnTo>
                  <a:lnTo>
                    <a:pt x="19821" y="1224"/>
                  </a:lnTo>
                  <a:lnTo>
                    <a:pt x="19847" y="1219"/>
                  </a:lnTo>
                  <a:lnTo>
                    <a:pt x="19902" y="1236"/>
                  </a:lnTo>
                  <a:lnTo>
                    <a:pt x="19906" y="1219"/>
                  </a:lnTo>
                  <a:lnTo>
                    <a:pt x="19939" y="1207"/>
                  </a:lnTo>
                  <a:lnTo>
                    <a:pt x="19913" y="1224"/>
                  </a:lnTo>
                  <a:lnTo>
                    <a:pt x="19930" y="1240"/>
                  </a:lnTo>
                  <a:lnTo>
                    <a:pt x="19982" y="1257"/>
                  </a:lnTo>
                  <a:lnTo>
                    <a:pt x="20031" y="1252"/>
                  </a:lnTo>
                  <a:lnTo>
                    <a:pt x="20036" y="1240"/>
                  </a:lnTo>
                  <a:lnTo>
                    <a:pt x="20031" y="1224"/>
                  </a:lnTo>
                  <a:lnTo>
                    <a:pt x="20069" y="1264"/>
                  </a:lnTo>
                  <a:lnTo>
                    <a:pt x="20053" y="1297"/>
                  </a:lnTo>
                  <a:lnTo>
                    <a:pt x="20074" y="1314"/>
                  </a:lnTo>
                  <a:lnTo>
                    <a:pt x="20074" y="1363"/>
                  </a:lnTo>
                  <a:lnTo>
                    <a:pt x="20048" y="1375"/>
                  </a:lnTo>
                  <a:lnTo>
                    <a:pt x="20053" y="1392"/>
                  </a:lnTo>
                  <a:lnTo>
                    <a:pt x="20119" y="1418"/>
                  </a:lnTo>
                  <a:lnTo>
                    <a:pt x="20069" y="1401"/>
                  </a:lnTo>
                  <a:lnTo>
                    <a:pt x="20053" y="1384"/>
                  </a:lnTo>
                  <a:lnTo>
                    <a:pt x="20074" y="1363"/>
                  </a:lnTo>
                  <a:lnTo>
                    <a:pt x="20074" y="1318"/>
                  </a:lnTo>
                  <a:lnTo>
                    <a:pt x="20119" y="1314"/>
                  </a:lnTo>
                  <a:lnTo>
                    <a:pt x="20091" y="1314"/>
                  </a:lnTo>
                  <a:lnTo>
                    <a:pt x="20074" y="1290"/>
                  </a:lnTo>
                  <a:lnTo>
                    <a:pt x="20216" y="1257"/>
                  </a:lnTo>
                  <a:lnTo>
                    <a:pt x="20443" y="1281"/>
                  </a:lnTo>
                  <a:lnTo>
                    <a:pt x="20464" y="1290"/>
                  </a:lnTo>
                  <a:lnTo>
                    <a:pt x="20426" y="1290"/>
                  </a:lnTo>
                  <a:lnTo>
                    <a:pt x="20414" y="1297"/>
                  </a:lnTo>
                  <a:lnTo>
                    <a:pt x="20414" y="1330"/>
                  </a:lnTo>
                  <a:lnTo>
                    <a:pt x="20502" y="1351"/>
                  </a:lnTo>
                  <a:lnTo>
                    <a:pt x="20518" y="1368"/>
                  </a:lnTo>
                  <a:lnTo>
                    <a:pt x="20572" y="1375"/>
                  </a:lnTo>
                  <a:lnTo>
                    <a:pt x="20518" y="1363"/>
                  </a:lnTo>
                  <a:lnTo>
                    <a:pt x="20662" y="1363"/>
                  </a:lnTo>
                  <a:lnTo>
                    <a:pt x="20766" y="1392"/>
                  </a:lnTo>
                  <a:lnTo>
                    <a:pt x="20792" y="1392"/>
                  </a:lnTo>
                  <a:lnTo>
                    <a:pt x="20863" y="1408"/>
                  </a:lnTo>
                  <a:lnTo>
                    <a:pt x="20965" y="1458"/>
                  </a:lnTo>
                  <a:lnTo>
                    <a:pt x="20981" y="1446"/>
                  </a:lnTo>
                  <a:lnTo>
                    <a:pt x="21035" y="1512"/>
                  </a:lnTo>
                  <a:lnTo>
                    <a:pt x="21026" y="1529"/>
                  </a:lnTo>
                  <a:lnTo>
                    <a:pt x="21040" y="1573"/>
                  </a:lnTo>
                  <a:lnTo>
                    <a:pt x="21040" y="1569"/>
                  </a:lnTo>
                  <a:lnTo>
                    <a:pt x="21035" y="1529"/>
                  </a:lnTo>
                  <a:lnTo>
                    <a:pt x="21047" y="1512"/>
                  </a:lnTo>
                  <a:lnTo>
                    <a:pt x="21019" y="1491"/>
                  </a:lnTo>
                  <a:lnTo>
                    <a:pt x="21019" y="1458"/>
                  </a:lnTo>
                  <a:lnTo>
                    <a:pt x="21002" y="1441"/>
                  </a:lnTo>
                  <a:lnTo>
                    <a:pt x="21073" y="1446"/>
                  </a:lnTo>
                  <a:lnTo>
                    <a:pt x="21111" y="1479"/>
                  </a:lnTo>
                  <a:lnTo>
                    <a:pt x="21144" y="1529"/>
                  </a:lnTo>
                  <a:lnTo>
                    <a:pt x="21170" y="1519"/>
                  </a:lnTo>
                  <a:lnTo>
                    <a:pt x="21165" y="1495"/>
                  </a:lnTo>
                  <a:lnTo>
                    <a:pt x="21203" y="1536"/>
                  </a:lnTo>
                  <a:lnTo>
                    <a:pt x="21154" y="1536"/>
                  </a:lnTo>
                  <a:lnTo>
                    <a:pt x="21149" y="1545"/>
                  </a:lnTo>
                  <a:lnTo>
                    <a:pt x="21149" y="1552"/>
                  </a:lnTo>
                  <a:lnTo>
                    <a:pt x="21170" y="1552"/>
                  </a:lnTo>
                  <a:lnTo>
                    <a:pt x="21187" y="1585"/>
                  </a:lnTo>
                  <a:lnTo>
                    <a:pt x="21208" y="1590"/>
                  </a:lnTo>
                  <a:lnTo>
                    <a:pt x="21208" y="1614"/>
                  </a:lnTo>
                  <a:lnTo>
                    <a:pt x="21236" y="1614"/>
                  </a:lnTo>
                  <a:lnTo>
                    <a:pt x="21253" y="1630"/>
                  </a:lnTo>
                  <a:lnTo>
                    <a:pt x="21241" y="1630"/>
                  </a:lnTo>
                  <a:lnTo>
                    <a:pt x="21274" y="1647"/>
                  </a:lnTo>
                  <a:lnTo>
                    <a:pt x="21291" y="1630"/>
                  </a:lnTo>
                  <a:lnTo>
                    <a:pt x="21295" y="1663"/>
                  </a:lnTo>
                  <a:lnTo>
                    <a:pt x="21312" y="1663"/>
                  </a:lnTo>
                  <a:lnTo>
                    <a:pt x="21342" y="1647"/>
                  </a:lnTo>
                  <a:lnTo>
                    <a:pt x="21366" y="1602"/>
                  </a:lnTo>
                  <a:lnTo>
                    <a:pt x="21387" y="1602"/>
                  </a:lnTo>
                  <a:lnTo>
                    <a:pt x="21371" y="1590"/>
                  </a:lnTo>
                  <a:lnTo>
                    <a:pt x="21387" y="1536"/>
                  </a:lnTo>
                  <a:lnTo>
                    <a:pt x="21425" y="1503"/>
                  </a:lnTo>
                  <a:lnTo>
                    <a:pt x="21425" y="1529"/>
                  </a:lnTo>
                  <a:lnTo>
                    <a:pt x="21489" y="1569"/>
                  </a:lnTo>
                  <a:lnTo>
                    <a:pt x="21543" y="1585"/>
                  </a:lnTo>
                  <a:lnTo>
                    <a:pt x="21640" y="1545"/>
                  </a:lnTo>
                  <a:lnTo>
                    <a:pt x="21758" y="1585"/>
                  </a:lnTo>
                  <a:lnTo>
                    <a:pt x="21749" y="1590"/>
                  </a:lnTo>
                  <a:lnTo>
                    <a:pt x="21765" y="1590"/>
                  </a:lnTo>
                  <a:lnTo>
                    <a:pt x="21782" y="1614"/>
                  </a:lnTo>
                  <a:lnTo>
                    <a:pt x="21796" y="1607"/>
                  </a:lnTo>
                  <a:lnTo>
                    <a:pt x="21775" y="1602"/>
                  </a:lnTo>
                  <a:lnTo>
                    <a:pt x="21813" y="1590"/>
                  </a:lnTo>
                  <a:lnTo>
                    <a:pt x="21791" y="1590"/>
                  </a:lnTo>
                  <a:lnTo>
                    <a:pt x="21813" y="1585"/>
                  </a:lnTo>
                  <a:lnTo>
                    <a:pt x="21782" y="1573"/>
                  </a:lnTo>
                  <a:lnTo>
                    <a:pt x="21796" y="1552"/>
                  </a:lnTo>
                  <a:lnTo>
                    <a:pt x="21829" y="1545"/>
                  </a:lnTo>
                  <a:lnTo>
                    <a:pt x="21820" y="1552"/>
                  </a:lnTo>
                  <a:lnTo>
                    <a:pt x="21829" y="1557"/>
                  </a:lnTo>
                  <a:lnTo>
                    <a:pt x="21846" y="1545"/>
                  </a:lnTo>
                  <a:lnTo>
                    <a:pt x="21867" y="1552"/>
                  </a:lnTo>
                  <a:lnTo>
                    <a:pt x="21872" y="1573"/>
                  </a:lnTo>
                  <a:lnTo>
                    <a:pt x="21883" y="1573"/>
                  </a:lnTo>
                  <a:lnTo>
                    <a:pt x="21900" y="1557"/>
                  </a:lnTo>
                  <a:lnTo>
                    <a:pt x="21926" y="1569"/>
                  </a:lnTo>
                  <a:lnTo>
                    <a:pt x="21909" y="1536"/>
                  </a:lnTo>
                  <a:lnTo>
                    <a:pt x="21909" y="1512"/>
                  </a:lnTo>
                  <a:lnTo>
                    <a:pt x="21888" y="1503"/>
                  </a:lnTo>
                  <a:lnTo>
                    <a:pt x="21905" y="1503"/>
                  </a:lnTo>
                  <a:lnTo>
                    <a:pt x="21926" y="1474"/>
                  </a:lnTo>
                  <a:lnTo>
                    <a:pt x="21938" y="1479"/>
                  </a:lnTo>
                  <a:lnTo>
                    <a:pt x="21954" y="1462"/>
                  </a:lnTo>
                  <a:lnTo>
                    <a:pt x="21905" y="1462"/>
                  </a:lnTo>
                  <a:lnTo>
                    <a:pt x="21888" y="1479"/>
                  </a:lnTo>
                  <a:lnTo>
                    <a:pt x="21867" y="1462"/>
                  </a:lnTo>
                  <a:lnTo>
                    <a:pt x="21905" y="1425"/>
                  </a:lnTo>
                  <a:lnTo>
                    <a:pt x="21976" y="1425"/>
                  </a:lnTo>
                  <a:lnTo>
                    <a:pt x="22009" y="1418"/>
                  </a:lnTo>
                  <a:lnTo>
                    <a:pt x="22009" y="1401"/>
                  </a:lnTo>
                  <a:lnTo>
                    <a:pt x="21976" y="1375"/>
                  </a:lnTo>
                  <a:lnTo>
                    <a:pt x="21992" y="1375"/>
                  </a:lnTo>
                  <a:lnTo>
                    <a:pt x="22072" y="1392"/>
                  </a:lnTo>
                  <a:lnTo>
                    <a:pt x="22316" y="1425"/>
                  </a:lnTo>
                  <a:lnTo>
                    <a:pt x="22413" y="1446"/>
                  </a:lnTo>
                  <a:lnTo>
                    <a:pt x="22316" y="1446"/>
                  </a:lnTo>
                  <a:lnTo>
                    <a:pt x="22283" y="1429"/>
                  </a:lnTo>
                  <a:lnTo>
                    <a:pt x="22266" y="1441"/>
                  </a:lnTo>
                  <a:lnTo>
                    <a:pt x="22250" y="1462"/>
                  </a:lnTo>
                  <a:lnTo>
                    <a:pt x="22224" y="1458"/>
                  </a:lnTo>
                  <a:lnTo>
                    <a:pt x="22245" y="1474"/>
                  </a:lnTo>
                  <a:lnTo>
                    <a:pt x="22424" y="1458"/>
                  </a:lnTo>
                  <a:lnTo>
                    <a:pt x="22354" y="1512"/>
                  </a:lnTo>
                  <a:lnTo>
                    <a:pt x="22354" y="1491"/>
                  </a:lnTo>
                  <a:lnTo>
                    <a:pt x="22375" y="1479"/>
                  </a:lnTo>
                  <a:lnTo>
                    <a:pt x="22358" y="1474"/>
                  </a:lnTo>
                  <a:lnTo>
                    <a:pt x="22354" y="1491"/>
                  </a:lnTo>
                  <a:lnTo>
                    <a:pt x="22342" y="1462"/>
                  </a:lnTo>
                  <a:lnTo>
                    <a:pt x="22332" y="1462"/>
                  </a:lnTo>
                  <a:lnTo>
                    <a:pt x="22337" y="1462"/>
                  </a:lnTo>
                  <a:lnTo>
                    <a:pt x="22332" y="1491"/>
                  </a:lnTo>
                  <a:lnTo>
                    <a:pt x="22337" y="1491"/>
                  </a:lnTo>
                  <a:lnTo>
                    <a:pt x="22342" y="1503"/>
                  </a:lnTo>
                  <a:lnTo>
                    <a:pt x="22304" y="1512"/>
                  </a:lnTo>
                  <a:lnTo>
                    <a:pt x="22283" y="1503"/>
                  </a:lnTo>
                  <a:lnTo>
                    <a:pt x="22299" y="1519"/>
                  </a:lnTo>
                  <a:lnTo>
                    <a:pt x="22278" y="1529"/>
                  </a:lnTo>
                  <a:lnTo>
                    <a:pt x="22278" y="1536"/>
                  </a:lnTo>
                  <a:lnTo>
                    <a:pt x="22304" y="1545"/>
                  </a:lnTo>
                  <a:lnTo>
                    <a:pt x="22358" y="1519"/>
                  </a:lnTo>
                  <a:lnTo>
                    <a:pt x="22439" y="1446"/>
                  </a:lnTo>
                  <a:lnTo>
                    <a:pt x="22576" y="1462"/>
                  </a:lnTo>
                  <a:lnTo>
                    <a:pt x="22613" y="1479"/>
                  </a:lnTo>
                  <a:lnTo>
                    <a:pt x="22639" y="1512"/>
                  </a:lnTo>
                  <a:lnTo>
                    <a:pt x="22613" y="1529"/>
                  </a:lnTo>
                  <a:lnTo>
                    <a:pt x="22590" y="1503"/>
                  </a:lnTo>
                  <a:lnTo>
                    <a:pt x="22576" y="1529"/>
                  </a:lnTo>
                  <a:lnTo>
                    <a:pt x="22552" y="1519"/>
                  </a:lnTo>
                  <a:lnTo>
                    <a:pt x="22568" y="1529"/>
                  </a:lnTo>
                  <a:lnTo>
                    <a:pt x="22552" y="1536"/>
                  </a:lnTo>
                  <a:lnTo>
                    <a:pt x="22644" y="1552"/>
                  </a:lnTo>
                  <a:lnTo>
                    <a:pt x="22628" y="1552"/>
                  </a:lnTo>
                  <a:lnTo>
                    <a:pt x="22623" y="1569"/>
                  </a:lnTo>
                  <a:lnTo>
                    <a:pt x="22682" y="1557"/>
                  </a:lnTo>
                  <a:lnTo>
                    <a:pt x="22665" y="1585"/>
                  </a:lnTo>
                  <a:lnTo>
                    <a:pt x="22639" y="1602"/>
                  </a:lnTo>
                  <a:lnTo>
                    <a:pt x="22682" y="1573"/>
                  </a:lnTo>
                  <a:lnTo>
                    <a:pt x="22677" y="1590"/>
                  </a:lnTo>
                  <a:lnTo>
                    <a:pt x="22710" y="1573"/>
                  </a:lnTo>
                  <a:lnTo>
                    <a:pt x="22736" y="1585"/>
                  </a:lnTo>
                  <a:lnTo>
                    <a:pt x="22786" y="1630"/>
                  </a:lnTo>
                  <a:lnTo>
                    <a:pt x="22753" y="1630"/>
                  </a:lnTo>
                  <a:lnTo>
                    <a:pt x="22816" y="1647"/>
                  </a:lnTo>
                  <a:lnTo>
                    <a:pt x="22892" y="1647"/>
                  </a:lnTo>
                  <a:lnTo>
                    <a:pt x="23055" y="1614"/>
                  </a:lnTo>
                  <a:lnTo>
                    <a:pt x="23194" y="1623"/>
                  </a:lnTo>
                  <a:lnTo>
                    <a:pt x="23270" y="1647"/>
                  </a:lnTo>
                  <a:lnTo>
                    <a:pt x="23320" y="1668"/>
                  </a:lnTo>
                  <a:lnTo>
                    <a:pt x="23341" y="1701"/>
                  </a:lnTo>
                  <a:lnTo>
                    <a:pt x="23341" y="1722"/>
                  </a:lnTo>
                  <a:lnTo>
                    <a:pt x="23331" y="1739"/>
                  </a:lnTo>
                  <a:lnTo>
                    <a:pt x="23324" y="1739"/>
                  </a:lnTo>
                  <a:lnTo>
                    <a:pt x="23324" y="1751"/>
                  </a:lnTo>
                  <a:lnTo>
                    <a:pt x="23320" y="1774"/>
                  </a:lnTo>
                  <a:lnTo>
                    <a:pt x="23320" y="1779"/>
                  </a:lnTo>
                  <a:lnTo>
                    <a:pt x="23412" y="1812"/>
                  </a:lnTo>
                  <a:lnTo>
                    <a:pt x="23400" y="1829"/>
                  </a:lnTo>
                  <a:lnTo>
                    <a:pt x="23412" y="1862"/>
                  </a:lnTo>
                  <a:lnTo>
                    <a:pt x="23400" y="1878"/>
                  </a:lnTo>
                  <a:lnTo>
                    <a:pt x="23433" y="1885"/>
                  </a:lnTo>
                  <a:lnTo>
                    <a:pt x="23412" y="1940"/>
                  </a:lnTo>
                  <a:lnTo>
                    <a:pt x="23383" y="1940"/>
                  </a:lnTo>
                  <a:lnTo>
                    <a:pt x="23395" y="1944"/>
                  </a:lnTo>
                  <a:lnTo>
                    <a:pt x="23416" y="1940"/>
                  </a:lnTo>
                  <a:lnTo>
                    <a:pt x="23433" y="1906"/>
                  </a:lnTo>
                  <a:lnTo>
                    <a:pt x="23450" y="1890"/>
                  </a:lnTo>
                  <a:lnTo>
                    <a:pt x="23438" y="1862"/>
                  </a:lnTo>
                  <a:lnTo>
                    <a:pt x="23438" y="1833"/>
                  </a:lnTo>
                  <a:lnTo>
                    <a:pt x="23504" y="1807"/>
                  </a:lnTo>
                  <a:lnTo>
                    <a:pt x="23589" y="1795"/>
                  </a:lnTo>
                  <a:lnTo>
                    <a:pt x="23617" y="1791"/>
                  </a:lnTo>
                  <a:lnTo>
                    <a:pt x="23655" y="1807"/>
                  </a:lnTo>
                  <a:lnTo>
                    <a:pt x="23816" y="1824"/>
                  </a:lnTo>
                  <a:lnTo>
                    <a:pt x="23882" y="1791"/>
                  </a:lnTo>
                  <a:lnTo>
                    <a:pt x="23920" y="1812"/>
                  </a:lnTo>
                  <a:lnTo>
                    <a:pt x="23913" y="1833"/>
                  </a:lnTo>
                  <a:lnTo>
                    <a:pt x="23920" y="1850"/>
                  </a:lnTo>
                  <a:lnTo>
                    <a:pt x="23995" y="1878"/>
                  </a:lnTo>
                  <a:lnTo>
                    <a:pt x="24005" y="1906"/>
                  </a:lnTo>
                  <a:lnTo>
                    <a:pt x="24012" y="1918"/>
                  </a:lnTo>
                  <a:lnTo>
                    <a:pt x="24064" y="1906"/>
                  </a:lnTo>
                  <a:lnTo>
                    <a:pt x="24080" y="1918"/>
                  </a:lnTo>
                  <a:lnTo>
                    <a:pt x="24064" y="1906"/>
                  </a:lnTo>
                  <a:lnTo>
                    <a:pt x="24080" y="1902"/>
                  </a:lnTo>
                  <a:lnTo>
                    <a:pt x="24087" y="1906"/>
                  </a:lnTo>
                  <a:lnTo>
                    <a:pt x="24087" y="1890"/>
                  </a:lnTo>
                  <a:lnTo>
                    <a:pt x="24113" y="1878"/>
                  </a:lnTo>
                  <a:lnTo>
                    <a:pt x="24102" y="1845"/>
                  </a:lnTo>
                  <a:lnTo>
                    <a:pt x="24080" y="1812"/>
                  </a:lnTo>
                  <a:lnTo>
                    <a:pt x="24050" y="1807"/>
                  </a:lnTo>
                  <a:lnTo>
                    <a:pt x="24059" y="1791"/>
                  </a:lnTo>
                  <a:lnTo>
                    <a:pt x="24080" y="1791"/>
                  </a:lnTo>
                  <a:lnTo>
                    <a:pt x="24080" y="1751"/>
                  </a:lnTo>
                  <a:lnTo>
                    <a:pt x="24064" y="1739"/>
                  </a:lnTo>
                  <a:lnTo>
                    <a:pt x="24076" y="1739"/>
                  </a:lnTo>
                  <a:lnTo>
                    <a:pt x="24227" y="1767"/>
                  </a:lnTo>
                  <a:lnTo>
                    <a:pt x="24260" y="1774"/>
                  </a:lnTo>
                  <a:lnTo>
                    <a:pt x="24264" y="1791"/>
                  </a:lnTo>
                  <a:lnTo>
                    <a:pt x="24281" y="1779"/>
                  </a:lnTo>
                  <a:lnTo>
                    <a:pt x="24260" y="1767"/>
                  </a:lnTo>
                  <a:lnTo>
                    <a:pt x="24281" y="1767"/>
                  </a:lnTo>
                  <a:lnTo>
                    <a:pt x="24314" y="1779"/>
                  </a:lnTo>
                  <a:lnTo>
                    <a:pt x="24465" y="1774"/>
                  </a:lnTo>
                  <a:lnTo>
                    <a:pt x="24513" y="1795"/>
                  </a:lnTo>
                  <a:lnTo>
                    <a:pt x="24654" y="1833"/>
                  </a:lnTo>
                  <a:lnTo>
                    <a:pt x="24676" y="1845"/>
                  </a:lnTo>
                  <a:lnTo>
                    <a:pt x="24654" y="1833"/>
                  </a:lnTo>
                  <a:lnTo>
                    <a:pt x="24642" y="1845"/>
                  </a:lnTo>
                  <a:lnTo>
                    <a:pt x="24692" y="1850"/>
                  </a:lnTo>
                  <a:lnTo>
                    <a:pt x="24735" y="1885"/>
                  </a:lnTo>
                  <a:lnTo>
                    <a:pt x="24706" y="1866"/>
                  </a:lnTo>
                  <a:lnTo>
                    <a:pt x="24723" y="1885"/>
                  </a:lnTo>
                  <a:lnTo>
                    <a:pt x="24735" y="1885"/>
                  </a:lnTo>
                  <a:lnTo>
                    <a:pt x="24735" y="1944"/>
                  </a:lnTo>
                  <a:lnTo>
                    <a:pt x="24735" y="2013"/>
                  </a:lnTo>
                  <a:lnTo>
                    <a:pt x="24735" y="2067"/>
                  </a:lnTo>
                  <a:lnTo>
                    <a:pt x="24735" y="2129"/>
                  </a:lnTo>
                  <a:lnTo>
                    <a:pt x="24735" y="2183"/>
                  </a:lnTo>
                  <a:lnTo>
                    <a:pt x="24735" y="2249"/>
                  </a:lnTo>
                  <a:lnTo>
                    <a:pt x="24735" y="2306"/>
                  </a:lnTo>
                  <a:lnTo>
                    <a:pt x="24735" y="2360"/>
                  </a:lnTo>
                  <a:lnTo>
                    <a:pt x="24735" y="2360"/>
                  </a:lnTo>
                  <a:lnTo>
                    <a:pt x="24735" y="2360"/>
                  </a:lnTo>
                  <a:close/>
                  <a:moveTo>
                    <a:pt x="24735" y="1557"/>
                  </a:moveTo>
                  <a:lnTo>
                    <a:pt x="24739" y="1552"/>
                  </a:lnTo>
                  <a:lnTo>
                    <a:pt x="24836" y="1552"/>
                  </a:lnTo>
                  <a:lnTo>
                    <a:pt x="24912" y="1602"/>
                  </a:lnTo>
                  <a:lnTo>
                    <a:pt x="24874" y="1623"/>
                  </a:lnTo>
                  <a:lnTo>
                    <a:pt x="24782" y="1640"/>
                  </a:lnTo>
                  <a:lnTo>
                    <a:pt x="24735" y="1630"/>
                  </a:lnTo>
                  <a:lnTo>
                    <a:pt x="24735" y="1590"/>
                  </a:lnTo>
                  <a:lnTo>
                    <a:pt x="24735" y="1557"/>
                  </a:lnTo>
                  <a:lnTo>
                    <a:pt x="24735" y="1557"/>
                  </a:lnTo>
                  <a:lnTo>
                    <a:pt x="24735" y="1557"/>
                  </a:lnTo>
                  <a:close/>
                  <a:moveTo>
                    <a:pt x="24735" y="1630"/>
                  </a:moveTo>
                  <a:lnTo>
                    <a:pt x="24654" y="1656"/>
                  </a:lnTo>
                  <a:lnTo>
                    <a:pt x="24642" y="1623"/>
                  </a:lnTo>
                  <a:lnTo>
                    <a:pt x="24659" y="1602"/>
                  </a:lnTo>
                  <a:lnTo>
                    <a:pt x="24735" y="1557"/>
                  </a:lnTo>
                  <a:lnTo>
                    <a:pt x="24735" y="1590"/>
                  </a:lnTo>
                  <a:lnTo>
                    <a:pt x="24735" y="1630"/>
                  </a:lnTo>
                  <a:lnTo>
                    <a:pt x="24735" y="1630"/>
                  </a:lnTo>
                  <a:lnTo>
                    <a:pt x="24735" y="1630"/>
                  </a:lnTo>
                  <a:close/>
                  <a:moveTo>
                    <a:pt x="24735" y="1885"/>
                  </a:moveTo>
                  <a:lnTo>
                    <a:pt x="24756" y="1902"/>
                  </a:lnTo>
                  <a:lnTo>
                    <a:pt x="24768" y="1890"/>
                  </a:lnTo>
                  <a:lnTo>
                    <a:pt x="24772" y="1906"/>
                  </a:lnTo>
                  <a:lnTo>
                    <a:pt x="24805" y="1918"/>
                  </a:lnTo>
                  <a:lnTo>
                    <a:pt x="24836" y="1940"/>
                  </a:lnTo>
                  <a:lnTo>
                    <a:pt x="24820" y="1935"/>
                  </a:lnTo>
                  <a:lnTo>
                    <a:pt x="24820" y="1940"/>
                  </a:lnTo>
                  <a:lnTo>
                    <a:pt x="24864" y="1956"/>
                  </a:lnTo>
                  <a:lnTo>
                    <a:pt x="24874" y="1973"/>
                  </a:lnTo>
                  <a:lnTo>
                    <a:pt x="24890" y="1973"/>
                  </a:lnTo>
                  <a:lnTo>
                    <a:pt x="24843" y="1940"/>
                  </a:lnTo>
                  <a:lnTo>
                    <a:pt x="24895" y="1973"/>
                  </a:lnTo>
                  <a:lnTo>
                    <a:pt x="24890" y="1977"/>
                  </a:lnTo>
                  <a:lnTo>
                    <a:pt x="24895" y="1977"/>
                  </a:lnTo>
                  <a:lnTo>
                    <a:pt x="24919" y="1977"/>
                  </a:lnTo>
                  <a:lnTo>
                    <a:pt x="24928" y="1994"/>
                  </a:lnTo>
                  <a:lnTo>
                    <a:pt x="25053" y="2046"/>
                  </a:lnTo>
                  <a:lnTo>
                    <a:pt x="25063" y="2072"/>
                  </a:lnTo>
                  <a:lnTo>
                    <a:pt x="25058" y="2088"/>
                  </a:lnTo>
                  <a:lnTo>
                    <a:pt x="25075" y="2088"/>
                  </a:lnTo>
                  <a:lnTo>
                    <a:pt x="25079" y="2084"/>
                  </a:lnTo>
                  <a:lnTo>
                    <a:pt x="25096" y="2084"/>
                  </a:lnTo>
                  <a:lnTo>
                    <a:pt x="25096" y="2100"/>
                  </a:lnTo>
                  <a:lnTo>
                    <a:pt x="25091" y="2100"/>
                  </a:lnTo>
                  <a:lnTo>
                    <a:pt x="25079" y="2121"/>
                  </a:lnTo>
                  <a:lnTo>
                    <a:pt x="25096" y="2162"/>
                  </a:lnTo>
                  <a:lnTo>
                    <a:pt x="25079" y="2166"/>
                  </a:lnTo>
                  <a:lnTo>
                    <a:pt x="25117" y="2183"/>
                  </a:lnTo>
                  <a:lnTo>
                    <a:pt x="25117" y="2216"/>
                  </a:lnTo>
                  <a:lnTo>
                    <a:pt x="25150" y="2195"/>
                  </a:lnTo>
                  <a:lnTo>
                    <a:pt x="25146" y="2223"/>
                  </a:lnTo>
                  <a:lnTo>
                    <a:pt x="25150" y="2223"/>
                  </a:lnTo>
                  <a:lnTo>
                    <a:pt x="25167" y="2199"/>
                  </a:lnTo>
                  <a:lnTo>
                    <a:pt x="25129" y="2183"/>
                  </a:lnTo>
                  <a:lnTo>
                    <a:pt x="25150" y="2166"/>
                  </a:lnTo>
                  <a:lnTo>
                    <a:pt x="25146" y="2138"/>
                  </a:lnTo>
                  <a:lnTo>
                    <a:pt x="25108" y="2121"/>
                  </a:lnTo>
                  <a:lnTo>
                    <a:pt x="25172" y="2112"/>
                  </a:lnTo>
                  <a:lnTo>
                    <a:pt x="25214" y="2121"/>
                  </a:lnTo>
                  <a:lnTo>
                    <a:pt x="25198" y="2138"/>
                  </a:lnTo>
                  <a:lnTo>
                    <a:pt x="25198" y="2157"/>
                  </a:lnTo>
                  <a:lnTo>
                    <a:pt x="25214" y="2157"/>
                  </a:lnTo>
                  <a:lnTo>
                    <a:pt x="25205" y="2138"/>
                  </a:lnTo>
                  <a:lnTo>
                    <a:pt x="25214" y="2129"/>
                  </a:lnTo>
                  <a:lnTo>
                    <a:pt x="25235" y="2145"/>
                  </a:lnTo>
                  <a:lnTo>
                    <a:pt x="25259" y="2138"/>
                  </a:lnTo>
                  <a:lnTo>
                    <a:pt x="25221" y="2121"/>
                  </a:lnTo>
                  <a:lnTo>
                    <a:pt x="25311" y="2138"/>
                  </a:lnTo>
                  <a:lnTo>
                    <a:pt x="25311" y="2157"/>
                  </a:lnTo>
                  <a:lnTo>
                    <a:pt x="25335" y="2162"/>
                  </a:lnTo>
                  <a:lnTo>
                    <a:pt x="25335" y="2178"/>
                  </a:lnTo>
                  <a:lnTo>
                    <a:pt x="25398" y="2216"/>
                  </a:lnTo>
                  <a:lnTo>
                    <a:pt x="25387" y="2223"/>
                  </a:lnTo>
                  <a:lnTo>
                    <a:pt x="25403" y="2216"/>
                  </a:lnTo>
                  <a:lnTo>
                    <a:pt x="25420" y="2223"/>
                  </a:lnTo>
                  <a:lnTo>
                    <a:pt x="25415" y="2232"/>
                  </a:lnTo>
                  <a:lnTo>
                    <a:pt x="25441" y="2232"/>
                  </a:lnTo>
                  <a:lnTo>
                    <a:pt x="25453" y="2249"/>
                  </a:lnTo>
                  <a:lnTo>
                    <a:pt x="25453" y="2256"/>
                  </a:lnTo>
                  <a:lnTo>
                    <a:pt x="25420" y="2249"/>
                  </a:lnTo>
                  <a:lnTo>
                    <a:pt x="25387" y="2273"/>
                  </a:lnTo>
                  <a:lnTo>
                    <a:pt x="25398" y="2273"/>
                  </a:lnTo>
                  <a:lnTo>
                    <a:pt x="25398" y="2289"/>
                  </a:lnTo>
                  <a:lnTo>
                    <a:pt x="25387" y="2294"/>
                  </a:lnTo>
                  <a:lnTo>
                    <a:pt x="25323" y="2273"/>
                  </a:lnTo>
                  <a:lnTo>
                    <a:pt x="25361" y="2306"/>
                  </a:lnTo>
                  <a:lnTo>
                    <a:pt x="25349" y="2310"/>
                  </a:lnTo>
                  <a:lnTo>
                    <a:pt x="25335" y="2306"/>
                  </a:lnTo>
                  <a:lnTo>
                    <a:pt x="25290" y="2310"/>
                  </a:lnTo>
                  <a:lnTo>
                    <a:pt x="25306" y="2310"/>
                  </a:lnTo>
                  <a:lnTo>
                    <a:pt x="25273" y="2306"/>
                  </a:lnTo>
                  <a:lnTo>
                    <a:pt x="25268" y="2294"/>
                  </a:lnTo>
                  <a:lnTo>
                    <a:pt x="25235" y="2289"/>
                  </a:lnTo>
                  <a:lnTo>
                    <a:pt x="25259" y="2306"/>
                  </a:lnTo>
                  <a:lnTo>
                    <a:pt x="25268" y="2322"/>
                  </a:lnTo>
                  <a:lnTo>
                    <a:pt x="25280" y="2322"/>
                  </a:lnTo>
                  <a:lnTo>
                    <a:pt x="25273" y="2343"/>
                  </a:lnTo>
                  <a:lnTo>
                    <a:pt x="25242" y="2343"/>
                  </a:lnTo>
                  <a:lnTo>
                    <a:pt x="25273" y="2343"/>
                  </a:lnTo>
                  <a:lnTo>
                    <a:pt x="25280" y="2360"/>
                  </a:lnTo>
                  <a:lnTo>
                    <a:pt x="25259" y="2384"/>
                  </a:lnTo>
                  <a:lnTo>
                    <a:pt x="25205" y="2400"/>
                  </a:lnTo>
                  <a:lnTo>
                    <a:pt x="25226" y="2388"/>
                  </a:lnTo>
                  <a:lnTo>
                    <a:pt x="25235" y="2400"/>
                  </a:lnTo>
                  <a:lnTo>
                    <a:pt x="25214" y="2405"/>
                  </a:lnTo>
                  <a:lnTo>
                    <a:pt x="25259" y="2421"/>
                  </a:lnTo>
                  <a:lnTo>
                    <a:pt x="25268" y="2433"/>
                  </a:lnTo>
                  <a:lnTo>
                    <a:pt x="25252" y="2438"/>
                  </a:lnTo>
                  <a:lnTo>
                    <a:pt x="25235" y="2421"/>
                  </a:lnTo>
                  <a:lnTo>
                    <a:pt x="25221" y="2433"/>
                  </a:lnTo>
                  <a:lnTo>
                    <a:pt x="25226" y="2438"/>
                  </a:lnTo>
                  <a:lnTo>
                    <a:pt x="25226" y="2445"/>
                  </a:lnTo>
                  <a:lnTo>
                    <a:pt x="25205" y="2455"/>
                  </a:lnTo>
                  <a:lnTo>
                    <a:pt x="25188" y="2445"/>
                  </a:lnTo>
                  <a:lnTo>
                    <a:pt x="25205" y="2433"/>
                  </a:lnTo>
                  <a:lnTo>
                    <a:pt x="25188" y="2417"/>
                  </a:lnTo>
                  <a:lnTo>
                    <a:pt x="25198" y="2433"/>
                  </a:lnTo>
                  <a:lnTo>
                    <a:pt x="25172" y="2445"/>
                  </a:lnTo>
                  <a:lnTo>
                    <a:pt x="25150" y="2438"/>
                  </a:lnTo>
                  <a:lnTo>
                    <a:pt x="25146" y="2421"/>
                  </a:lnTo>
                  <a:lnTo>
                    <a:pt x="25091" y="2400"/>
                  </a:lnTo>
                  <a:lnTo>
                    <a:pt x="25053" y="2400"/>
                  </a:lnTo>
                  <a:lnTo>
                    <a:pt x="25053" y="2388"/>
                  </a:lnTo>
                  <a:lnTo>
                    <a:pt x="25020" y="2367"/>
                  </a:lnTo>
                  <a:lnTo>
                    <a:pt x="25025" y="2351"/>
                  </a:lnTo>
                  <a:lnTo>
                    <a:pt x="25020" y="2327"/>
                  </a:lnTo>
                  <a:lnTo>
                    <a:pt x="25004" y="2310"/>
                  </a:lnTo>
                  <a:lnTo>
                    <a:pt x="24933" y="2294"/>
                  </a:lnTo>
                  <a:lnTo>
                    <a:pt x="24902" y="2310"/>
                  </a:lnTo>
                  <a:lnTo>
                    <a:pt x="24836" y="2310"/>
                  </a:lnTo>
                  <a:lnTo>
                    <a:pt x="24843" y="2289"/>
                  </a:lnTo>
                  <a:lnTo>
                    <a:pt x="24827" y="2277"/>
                  </a:lnTo>
                  <a:lnTo>
                    <a:pt x="24810" y="2256"/>
                  </a:lnTo>
                  <a:lnTo>
                    <a:pt x="24820" y="2249"/>
                  </a:lnTo>
                  <a:lnTo>
                    <a:pt x="24836" y="2232"/>
                  </a:lnTo>
                  <a:lnTo>
                    <a:pt x="24836" y="2199"/>
                  </a:lnTo>
                  <a:lnTo>
                    <a:pt x="24810" y="2232"/>
                  </a:lnTo>
                  <a:lnTo>
                    <a:pt x="24794" y="2232"/>
                  </a:lnTo>
                  <a:lnTo>
                    <a:pt x="24789" y="2199"/>
                  </a:lnTo>
                  <a:lnTo>
                    <a:pt x="24789" y="2216"/>
                  </a:lnTo>
                  <a:lnTo>
                    <a:pt x="24772" y="2211"/>
                  </a:lnTo>
                  <a:lnTo>
                    <a:pt x="24789" y="2232"/>
                  </a:lnTo>
                  <a:lnTo>
                    <a:pt x="24782" y="2232"/>
                  </a:lnTo>
                  <a:lnTo>
                    <a:pt x="24756" y="2240"/>
                  </a:lnTo>
                  <a:lnTo>
                    <a:pt x="24751" y="2232"/>
                  </a:lnTo>
                  <a:lnTo>
                    <a:pt x="24756" y="2232"/>
                  </a:lnTo>
                  <a:lnTo>
                    <a:pt x="24751" y="2232"/>
                  </a:lnTo>
                  <a:lnTo>
                    <a:pt x="24739" y="2266"/>
                  </a:lnTo>
                  <a:lnTo>
                    <a:pt x="24782" y="2294"/>
                  </a:lnTo>
                  <a:lnTo>
                    <a:pt x="24782" y="2306"/>
                  </a:lnTo>
                  <a:lnTo>
                    <a:pt x="24768" y="2322"/>
                  </a:lnTo>
                  <a:lnTo>
                    <a:pt x="24768" y="2343"/>
                  </a:lnTo>
                  <a:lnTo>
                    <a:pt x="24751" y="2351"/>
                  </a:lnTo>
                  <a:lnTo>
                    <a:pt x="24735" y="2360"/>
                  </a:lnTo>
                  <a:lnTo>
                    <a:pt x="24735" y="2306"/>
                  </a:lnTo>
                  <a:lnTo>
                    <a:pt x="24735" y="2249"/>
                  </a:lnTo>
                  <a:lnTo>
                    <a:pt x="24735" y="2183"/>
                  </a:lnTo>
                  <a:lnTo>
                    <a:pt x="24735" y="2129"/>
                  </a:lnTo>
                  <a:lnTo>
                    <a:pt x="24735" y="2067"/>
                  </a:lnTo>
                  <a:lnTo>
                    <a:pt x="24735" y="2013"/>
                  </a:lnTo>
                  <a:lnTo>
                    <a:pt x="24735" y="1944"/>
                  </a:lnTo>
                  <a:lnTo>
                    <a:pt x="24735" y="1885"/>
                  </a:lnTo>
                  <a:lnTo>
                    <a:pt x="24735" y="1885"/>
                  </a:lnTo>
                  <a:lnTo>
                    <a:pt x="24735" y="1885"/>
                  </a:lnTo>
                  <a:close/>
                  <a:moveTo>
                    <a:pt x="16188" y="22"/>
                  </a:moveTo>
                  <a:lnTo>
                    <a:pt x="16172" y="22"/>
                  </a:lnTo>
                  <a:lnTo>
                    <a:pt x="16188" y="5"/>
                  </a:lnTo>
                  <a:lnTo>
                    <a:pt x="16278" y="0"/>
                  </a:lnTo>
                  <a:lnTo>
                    <a:pt x="16264" y="17"/>
                  </a:lnTo>
                  <a:lnTo>
                    <a:pt x="16188" y="22"/>
                  </a:lnTo>
                  <a:lnTo>
                    <a:pt x="16188" y="22"/>
                  </a:lnTo>
                  <a:lnTo>
                    <a:pt x="16188" y="22"/>
                  </a:lnTo>
                  <a:close/>
                  <a:moveTo>
                    <a:pt x="16474" y="22"/>
                  </a:moveTo>
                  <a:lnTo>
                    <a:pt x="16550" y="22"/>
                  </a:lnTo>
                  <a:lnTo>
                    <a:pt x="16592" y="33"/>
                  </a:lnTo>
                  <a:lnTo>
                    <a:pt x="16566" y="43"/>
                  </a:lnTo>
                  <a:lnTo>
                    <a:pt x="16474" y="33"/>
                  </a:lnTo>
                  <a:lnTo>
                    <a:pt x="16474" y="22"/>
                  </a:lnTo>
                  <a:lnTo>
                    <a:pt x="16474" y="22"/>
                  </a:lnTo>
                  <a:lnTo>
                    <a:pt x="16474" y="22"/>
                  </a:lnTo>
                  <a:close/>
                  <a:moveTo>
                    <a:pt x="16202" y="38"/>
                  </a:moveTo>
                  <a:lnTo>
                    <a:pt x="16235" y="38"/>
                  </a:lnTo>
                  <a:lnTo>
                    <a:pt x="16198" y="43"/>
                  </a:lnTo>
                  <a:lnTo>
                    <a:pt x="16202" y="38"/>
                  </a:lnTo>
                  <a:lnTo>
                    <a:pt x="16202" y="38"/>
                  </a:lnTo>
                  <a:lnTo>
                    <a:pt x="16202" y="38"/>
                  </a:lnTo>
                  <a:close/>
                  <a:moveTo>
                    <a:pt x="16453" y="38"/>
                  </a:moveTo>
                  <a:lnTo>
                    <a:pt x="16474" y="43"/>
                  </a:lnTo>
                  <a:lnTo>
                    <a:pt x="16441" y="38"/>
                  </a:lnTo>
                  <a:lnTo>
                    <a:pt x="16453" y="38"/>
                  </a:lnTo>
                  <a:lnTo>
                    <a:pt x="16453" y="38"/>
                  </a:lnTo>
                  <a:lnTo>
                    <a:pt x="16453" y="38"/>
                  </a:lnTo>
                  <a:close/>
                  <a:moveTo>
                    <a:pt x="16188" y="76"/>
                  </a:moveTo>
                  <a:lnTo>
                    <a:pt x="16096" y="59"/>
                  </a:lnTo>
                  <a:lnTo>
                    <a:pt x="16165" y="43"/>
                  </a:lnTo>
                  <a:lnTo>
                    <a:pt x="16219" y="71"/>
                  </a:lnTo>
                  <a:lnTo>
                    <a:pt x="16188" y="76"/>
                  </a:lnTo>
                  <a:lnTo>
                    <a:pt x="16188" y="76"/>
                  </a:lnTo>
                  <a:lnTo>
                    <a:pt x="16188" y="76"/>
                  </a:lnTo>
                  <a:close/>
                  <a:moveTo>
                    <a:pt x="16209" y="88"/>
                  </a:moveTo>
                  <a:lnTo>
                    <a:pt x="16252" y="71"/>
                  </a:lnTo>
                  <a:lnTo>
                    <a:pt x="16278" y="88"/>
                  </a:lnTo>
                  <a:lnTo>
                    <a:pt x="16209" y="88"/>
                  </a:lnTo>
                  <a:lnTo>
                    <a:pt x="16209" y="88"/>
                  </a:lnTo>
                  <a:lnTo>
                    <a:pt x="16209" y="88"/>
                  </a:lnTo>
                  <a:close/>
                  <a:moveTo>
                    <a:pt x="16009" y="99"/>
                  </a:moveTo>
                  <a:lnTo>
                    <a:pt x="16021" y="92"/>
                  </a:lnTo>
                  <a:lnTo>
                    <a:pt x="16004" y="92"/>
                  </a:lnTo>
                  <a:lnTo>
                    <a:pt x="16089" y="99"/>
                  </a:lnTo>
                  <a:lnTo>
                    <a:pt x="16063" y="76"/>
                  </a:lnTo>
                  <a:lnTo>
                    <a:pt x="16172" y="92"/>
                  </a:lnTo>
                  <a:lnTo>
                    <a:pt x="16075" y="116"/>
                  </a:lnTo>
                  <a:lnTo>
                    <a:pt x="16009" y="99"/>
                  </a:lnTo>
                  <a:lnTo>
                    <a:pt x="16009" y="99"/>
                  </a:lnTo>
                  <a:lnTo>
                    <a:pt x="16009" y="99"/>
                  </a:lnTo>
                  <a:close/>
                  <a:moveTo>
                    <a:pt x="15917" y="92"/>
                  </a:moveTo>
                  <a:lnTo>
                    <a:pt x="15912" y="88"/>
                  </a:lnTo>
                  <a:lnTo>
                    <a:pt x="15933" y="92"/>
                  </a:lnTo>
                  <a:lnTo>
                    <a:pt x="15917" y="92"/>
                  </a:lnTo>
                  <a:lnTo>
                    <a:pt x="15917" y="92"/>
                  </a:lnTo>
                  <a:lnTo>
                    <a:pt x="15917" y="92"/>
                  </a:lnTo>
                  <a:close/>
                  <a:moveTo>
                    <a:pt x="16311" y="92"/>
                  </a:moveTo>
                  <a:lnTo>
                    <a:pt x="16365" y="92"/>
                  </a:lnTo>
                  <a:lnTo>
                    <a:pt x="16306" y="92"/>
                  </a:lnTo>
                  <a:lnTo>
                    <a:pt x="16311" y="92"/>
                  </a:lnTo>
                  <a:lnTo>
                    <a:pt x="16311" y="92"/>
                  </a:lnTo>
                  <a:lnTo>
                    <a:pt x="16311" y="92"/>
                  </a:lnTo>
                  <a:close/>
                  <a:moveTo>
                    <a:pt x="18654" y="265"/>
                  </a:moveTo>
                  <a:lnTo>
                    <a:pt x="18524" y="260"/>
                  </a:lnTo>
                  <a:lnTo>
                    <a:pt x="18546" y="244"/>
                  </a:lnTo>
                  <a:lnTo>
                    <a:pt x="18612" y="244"/>
                  </a:lnTo>
                  <a:lnTo>
                    <a:pt x="18557" y="236"/>
                  </a:lnTo>
                  <a:lnTo>
                    <a:pt x="18617" y="220"/>
                  </a:lnTo>
                  <a:lnTo>
                    <a:pt x="18628" y="203"/>
                  </a:lnTo>
                  <a:lnTo>
                    <a:pt x="18654" y="170"/>
                  </a:lnTo>
                  <a:lnTo>
                    <a:pt x="18600" y="182"/>
                  </a:lnTo>
                  <a:lnTo>
                    <a:pt x="18617" y="166"/>
                  </a:lnTo>
                  <a:lnTo>
                    <a:pt x="18650" y="154"/>
                  </a:lnTo>
                  <a:lnTo>
                    <a:pt x="18645" y="144"/>
                  </a:lnTo>
                  <a:lnTo>
                    <a:pt x="18817" y="99"/>
                  </a:lnTo>
                  <a:lnTo>
                    <a:pt x="18780" y="99"/>
                  </a:lnTo>
                  <a:lnTo>
                    <a:pt x="18789" y="92"/>
                  </a:lnTo>
                  <a:lnTo>
                    <a:pt x="18834" y="92"/>
                  </a:lnTo>
                  <a:lnTo>
                    <a:pt x="18898" y="149"/>
                  </a:lnTo>
                  <a:lnTo>
                    <a:pt x="18990" y="187"/>
                  </a:lnTo>
                  <a:lnTo>
                    <a:pt x="18924" y="199"/>
                  </a:lnTo>
                  <a:lnTo>
                    <a:pt x="18919" y="220"/>
                  </a:lnTo>
                  <a:lnTo>
                    <a:pt x="18924" y="227"/>
                  </a:lnTo>
                  <a:lnTo>
                    <a:pt x="18935" y="255"/>
                  </a:lnTo>
                  <a:lnTo>
                    <a:pt x="18952" y="260"/>
                  </a:lnTo>
                  <a:lnTo>
                    <a:pt x="18924" y="265"/>
                  </a:lnTo>
                  <a:lnTo>
                    <a:pt x="18763" y="281"/>
                  </a:lnTo>
                  <a:lnTo>
                    <a:pt x="18687" y="310"/>
                  </a:lnTo>
                  <a:lnTo>
                    <a:pt x="18574" y="281"/>
                  </a:lnTo>
                  <a:lnTo>
                    <a:pt x="18628" y="281"/>
                  </a:lnTo>
                  <a:lnTo>
                    <a:pt x="18579" y="260"/>
                  </a:lnTo>
                  <a:lnTo>
                    <a:pt x="18654" y="265"/>
                  </a:lnTo>
                  <a:lnTo>
                    <a:pt x="18654" y="265"/>
                  </a:lnTo>
                  <a:lnTo>
                    <a:pt x="18654" y="265"/>
                  </a:lnTo>
                  <a:close/>
                  <a:moveTo>
                    <a:pt x="16117" y="109"/>
                  </a:moveTo>
                  <a:lnTo>
                    <a:pt x="16188" y="109"/>
                  </a:lnTo>
                  <a:lnTo>
                    <a:pt x="16150" y="128"/>
                  </a:lnTo>
                  <a:lnTo>
                    <a:pt x="16113" y="116"/>
                  </a:lnTo>
                  <a:lnTo>
                    <a:pt x="16117" y="109"/>
                  </a:lnTo>
                  <a:lnTo>
                    <a:pt x="16117" y="109"/>
                  </a:lnTo>
                  <a:lnTo>
                    <a:pt x="16117" y="109"/>
                  </a:lnTo>
                  <a:close/>
                  <a:moveTo>
                    <a:pt x="18503" y="133"/>
                  </a:moveTo>
                  <a:lnTo>
                    <a:pt x="18428" y="128"/>
                  </a:lnTo>
                  <a:lnTo>
                    <a:pt x="18418" y="109"/>
                  </a:lnTo>
                  <a:lnTo>
                    <a:pt x="18503" y="99"/>
                  </a:lnTo>
                  <a:lnTo>
                    <a:pt x="18541" y="116"/>
                  </a:lnTo>
                  <a:lnTo>
                    <a:pt x="18503" y="133"/>
                  </a:lnTo>
                  <a:lnTo>
                    <a:pt x="18503" y="133"/>
                  </a:lnTo>
                  <a:lnTo>
                    <a:pt x="18503" y="133"/>
                  </a:lnTo>
                  <a:close/>
                  <a:moveTo>
                    <a:pt x="16505" y="166"/>
                  </a:moveTo>
                  <a:lnTo>
                    <a:pt x="16543" y="149"/>
                  </a:lnTo>
                  <a:lnTo>
                    <a:pt x="16613" y="144"/>
                  </a:lnTo>
                  <a:lnTo>
                    <a:pt x="16618" y="116"/>
                  </a:lnTo>
                  <a:lnTo>
                    <a:pt x="16646" y="109"/>
                  </a:lnTo>
                  <a:lnTo>
                    <a:pt x="16689" y="116"/>
                  </a:lnTo>
                  <a:lnTo>
                    <a:pt x="16706" y="144"/>
                  </a:lnTo>
                  <a:lnTo>
                    <a:pt x="16706" y="154"/>
                  </a:lnTo>
                  <a:lnTo>
                    <a:pt x="16646" y="182"/>
                  </a:lnTo>
                  <a:lnTo>
                    <a:pt x="16550" y="199"/>
                  </a:lnTo>
                  <a:lnTo>
                    <a:pt x="16495" y="170"/>
                  </a:lnTo>
                  <a:lnTo>
                    <a:pt x="16505" y="166"/>
                  </a:lnTo>
                  <a:lnTo>
                    <a:pt x="16505" y="166"/>
                  </a:lnTo>
                  <a:lnTo>
                    <a:pt x="16505" y="166"/>
                  </a:lnTo>
                  <a:close/>
                  <a:moveTo>
                    <a:pt x="15647" y="133"/>
                  </a:moveTo>
                  <a:lnTo>
                    <a:pt x="15659" y="133"/>
                  </a:lnTo>
                  <a:lnTo>
                    <a:pt x="15647" y="128"/>
                  </a:lnTo>
                  <a:lnTo>
                    <a:pt x="15659" y="116"/>
                  </a:lnTo>
                  <a:lnTo>
                    <a:pt x="15685" y="128"/>
                  </a:lnTo>
                  <a:lnTo>
                    <a:pt x="15647" y="133"/>
                  </a:lnTo>
                  <a:lnTo>
                    <a:pt x="15647" y="133"/>
                  </a:lnTo>
                  <a:lnTo>
                    <a:pt x="15647" y="133"/>
                  </a:lnTo>
                  <a:close/>
                  <a:moveTo>
                    <a:pt x="16198" y="116"/>
                  </a:moveTo>
                  <a:lnTo>
                    <a:pt x="16226" y="116"/>
                  </a:lnTo>
                  <a:lnTo>
                    <a:pt x="16198" y="116"/>
                  </a:lnTo>
                  <a:lnTo>
                    <a:pt x="16198" y="116"/>
                  </a:lnTo>
                  <a:lnTo>
                    <a:pt x="16198" y="116"/>
                  </a:lnTo>
                  <a:close/>
                  <a:moveTo>
                    <a:pt x="16328" y="144"/>
                  </a:moveTo>
                  <a:lnTo>
                    <a:pt x="16370" y="128"/>
                  </a:lnTo>
                  <a:lnTo>
                    <a:pt x="16441" y="128"/>
                  </a:lnTo>
                  <a:lnTo>
                    <a:pt x="16398" y="154"/>
                  </a:lnTo>
                  <a:lnTo>
                    <a:pt x="16328" y="144"/>
                  </a:lnTo>
                  <a:lnTo>
                    <a:pt x="16328" y="144"/>
                  </a:lnTo>
                  <a:lnTo>
                    <a:pt x="16328" y="144"/>
                  </a:lnTo>
                  <a:close/>
                  <a:moveTo>
                    <a:pt x="15933" y="144"/>
                  </a:moveTo>
                  <a:lnTo>
                    <a:pt x="15950" y="128"/>
                  </a:lnTo>
                  <a:lnTo>
                    <a:pt x="16009" y="144"/>
                  </a:lnTo>
                  <a:lnTo>
                    <a:pt x="16047" y="133"/>
                  </a:lnTo>
                  <a:lnTo>
                    <a:pt x="16165" y="182"/>
                  </a:lnTo>
                  <a:lnTo>
                    <a:pt x="16113" y="199"/>
                  </a:lnTo>
                  <a:lnTo>
                    <a:pt x="16089" y="170"/>
                  </a:lnTo>
                  <a:lnTo>
                    <a:pt x="15933" y="144"/>
                  </a:lnTo>
                  <a:lnTo>
                    <a:pt x="15933" y="144"/>
                  </a:lnTo>
                  <a:lnTo>
                    <a:pt x="15933" y="144"/>
                  </a:lnTo>
                  <a:close/>
                  <a:moveTo>
                    <a:pt x="16047" y="128"/>
                  </a:moveTo>
                  <a:lnTo>
                    <a:pt x="16150" y="133"/>
                  </a:lnTo>
                  <a:lnTo>
                    <a:pt x="16202" y="154"/>
                  </a:lnTo>
                  <a:lnTo>
                    <a:pt x="16155" y="166"/>
                  </a:lnTo>
                  <a:lnTo>
                    <a:pt x="16047" y="128"/>
                  </a:lnTo>
                  <a:lnTo>
                    <a:pt x="16047" y="128"/>
                  </a:lnTo>
                  <a:lnTo>
                    <a:pt x="16047" y="128"/>
                  </a:lnTo>
                  <a:close/>
                  <a:moveTo>
                    <a:pt x="16172" y="133"/>
                  </a:moveTo>
                  <a:lnTo>
                    <a:pt x="16188" y="128"/>
                  </a:lnTo>
                  <a:lnTo>
                    <a:pt x="16235" y="144"/>
                  </a:lnTo>
                  <a:lnTo>
                    <a:pt x="16209" y="149"/>
                  </a:lnTo>
                  <a:lnTo>
                    <a:pt x="16172" y="133"/>
                  </a:lnTo>
                  <a:lnTo>
                    <a:pt x="16172" y="133"/>
                  </a:lnTo>
                  <a:lnTo>
                    <a:pt x="16172" y="133"/>
                  </a:lnTo>
                  <a:close/>
                  <a:moveTo>
                    <a:pt x="17672" y="149"/>
                  </a:moveTo>
                  <a:lnTo>
                    <a:pt x="17752" y="154"/>
                  </a:lnTo>
                  <a:lnTo>
                    <a:pt x="17714" y="170"/>
                  </a:lnTo>
                  <a:lnTo>
                    <a:pt x="17655" y="170"/>
                  </a:lnTo>
                  <a:lnTo>
                    <a:pt x="17672" y="149"/>
                  </a:lnTo>
                  <a:lnTo>
                    <a:pt x="17672" y="149"/>
                  </a:lnTo>
                  <a:lnTo>
                    <a:pt x="17672" y="149"/>
                  </a:lnTo>
                  <a:close/>
                  <a:moveTo>
                    <a:pt x="15534" y="260"/>
                  </a:moveTo>
                  <a:lnTo>
                    <a:pt x="15555" y="277"/>
                  </a:lnTo>
                  <a:lnTo>
                    <a:pt x="15517" y="277"/>
                  </a:lnTo>
                  <a:lnTo>
                    <a:pt x="15517" y="281"/>
                  </a:lnTo>
                  <a:lnTo>
                    <a:pt x="15508" y="293"/>
                  </a:lnTo>
                  <a:lnTo>
                    <a:pt x="15454" y="298"/>
                  </a:lnTo>
                  <a:lnTo>
                    <a:pt x="15454" y="293"/>
                  </a:lnTo>
                  <a:lnTo>
                    <a:pt x="15463" y="281"/>
                  </a:lnTo>
                  <a:lnTo>
                    <a:pt x="15484" y="277"/>
                  </a:lnTo>
                  <a:lnTo>
                    <a:pt x="15447" y="265"/>
                  </a:lnTo>
                  <a:lnTo>
                    <a:pt x="15416" y="281"/>
                  </a:lnTo>
                  <a:lnTo>
                    <a:pt x="15387" y="260"/>
                  </a:lnTo>
                  <a:lnTo>
                    <a:pt x="15416" y="244"/>
                  </a:lnTo>
                  <a:lnTo>
                    <a:pt x="15496" y="255"/>
                  </a:lnTo>
                  <a:lnTo>
                    <a:pt x="15454" y="244"/>
                  </a:lnTo>
                  <a:lnTo>
                    <a:pt x="15501" y="236"/>
                  </a:lnTo>
                  <a:lnTo>
                    <a:pt x="15484" y="227"/>
                  </a:lnTo>
                  <a:lnTo>
                    <a:pt x="15442" y="236"/>
                  </a:lnTo>
                  <a:lnTo>
                    <a:pt x="15508" y="210"/>
                  </a:lnTo>
                  <a:lnTo>
                    <a:pt x="15560" y="220"/>
                  </a:lnTo>
                  <a:lnTo>
                    <a:pt x="15576" y="210"/>
                  </a:lnTo>
                  <a:lnTo>
                    <a:pt x="15572" y="203"/>
                  </a:lnTo>
                  <a:lnTo>
                    <a:pt x="15593" y="203"/>
                  </a:lnTo>
                  <a:lnTo>
                    <a:pt x="15605" y="187"/>
                  </a:lnTo>
                  <a:lnTo>
                    <a:pt x="15550" y="187"/>
                  </a:lnTo>
                  <a:lnTo>
                    <a:pt x="15631" y="154"/>
                  </a:lnTo>
                  <a:lnTo>
                    <a:pt x="15659" y="154"/>
                  </a:lnTo>
                  <a:lnTo>
                    <a:pt x="15626" y="166"/>
                  </a:lnTo>
                  <a:lnTo>
                    <a:pt x="15680" y="154"/>
                  </a:lnTo>
                  <a:lnTo>
                    <a:pt x="15697" y="166"/>
                  </a:lnTo>
                  <a:lnTo>
                    <a:pt x="15643" y="187"/>
                  </a:lnTo>
                  <a:lnTo>
                    <a:pt x="15711" y="182"/>
                  </a:lnTo>
                  <a:lnTo>
                    <a:pt x="15739" y="187"/>
                  </a:lnTo>
                  <a:lnTo>
                    <a:pt x="15685" y="220"/>
                  </a:lnTo>
                  <a:lnTo>
                    <a:pt x="15605" y="227"/>
                  </a:lnTo>
                  <a:lnTo>
                    <a:pt x="15609" y="244"/>
                  </a:lnTo>
                  <a:lnTo>
                    <a:pt x="15539" y="244"/>
                  </a:lnTo>
                  <a:lnTo>
                    <a:pt x="15522" y="260"/>
                  </a:lnTo>
                  <a:lnTo>
                    <a:pt x="15534" y="260"/>
                  </a:lnTo>
                  <a:lnTo>
                    <a:pt x="15534" y="260"/>
                  </a:lnTo>
                  <a:lnTo>
                    <a:pt x="15534" y="260"/>
                  </a:lnTo>
                  <a:close/>
                  <a:moveTo>
                    <a:pt x="16181" y="170"/>
                  </a:moveTo>
                  <a:lnTo>
                    <a:pt x="16235" y="154"/>
                  </a:lnTo>
                  <a:lnTo>
                    <a:pt x="16257" y="170"/>
                  </a:lnTo>
                  <a:lnTo>
                    <a:pt x="16219" y="187"/>
                  </a:lnTo>
                  <a:lnTo>
                    <a:pt x="16172" y="170"/>
                  </a:lnTo>
                  <a:lnTo>
                    <a:pt x="16181" y="170"/>
                  </a:lnTo>
                  <a:lnTo>
                    <a:pt x="16181" y="170"/>
                  </a:lnTo>
                  <a:lnTo>
                    <a:pt x="16181" y="170"/>
                  </a:lnTo>
                  <a:close/>
                  <a:moveTo>
                    <a:pt x="15900" y="170"/>
                  </a:moveTo>
                  <a:lnTo>
                    <a:pt x="15983" y="154"/>
                  </a:lnTo>
                  <a:lnTo>
                    <a:pt x="16042" y="170"/>
                  </a:lnTo>
                  <a:lnTo>
                    <a:pt x="15966" y="187"/>
                  </a:lnTo>
                  <a:lnTo>
                    <a:pt x="15900" y="170"/>
                  </a:lnTo>
                  <a:lnTo>
                    <a:pt x="15900" y="170"/>
                  </a:lnTo>
                  <a:lnTo>
                    <a:pt x="15900" y="170"/>
                  </a:lnTo>
                  <a:close/>
                  <a:moveTo>
                    <a:pt x="16273" y="220"/>
                  </a:moveTo>
                  <a:lnTo>
                    <a:pt x="16278" y="210"/>
                  </a:lnTo>
                  <a:lnTo>
                    <a:pt x="16264" y="203"/>
                  </a:lnTo>
                  <a:lnTo>
                    <a:pt x="16273" y="199"/>
                  </a:lnTo>
                  <a:lnTo>
                    <a:pt x="16306" y="170"/>
                  </a:lnTo>
                  <a:lnTo>
                    <a:pt x="16453" y="166"/>
                  </a:lnTo>
                  <a:lnTo>
                    <a:pt x="16479" y="182"/>
                  </a:lnTo>
                  <a:lnTo>
                    <a:pt x="16467" y="199"/>
                  </a:lnTo>
                  <a:lnTo>
                    <a:pt x="16474" y="203"/>
                  </a:lnTo>
                  <a:lnTo>
                    <a:pt x="16441" y="210"/>
                  </a:lnTo>
                  <a:lnTo>
                    <a:pt x="16398" y="244"/>
                  </a:lnTo>
                  <a:lnTo>
                    <a:pt x="16344" y="227"/>
                  </a:lnTo>
                  <a:lnTo>
                    <a:pt x="16295" y="236"/>
                  </a:lnTo>
                  <a:lnTo>
                    <a:pt x="16273" y="220"/>
                  </a:lnTo>
                  <a:lnTo>
                    <a:pt x="16273" y="220"/>
                  </a:lnTo>
                  <a:lnTo>
                    <a:pt x="16273" y="220"/>
                  </a:lnTo>
                  <a:close/>
                  <a:moveTo>
                    <a:pt x="15345" y="236"/>
                  </a:moveTo>
                  <a:lnTo>
                    <a:pt x="15340" y="210"/>
                  </a:lnTo>
                  <a:lnTo>
                    <a:pt x="15307" y="220"/>
                  </a:lnTo>
                  <a:lnTo>
                    <a:pt x="15265" y="203"/>
                  </a:lnTo>
                  <a:lnTo>
                    <a:pt x="15409" y="182"/>
                  </a:lnTo>
                  <a:lnTo>
                    <a:pt x="15447" y="166"/>
                  </a:lnTo>
                  <a:lnTo>
                    <a:pt x="15517" y="182"/>
                  </a:lnTo>
                  <a:lnTo>
                    <a:pt x="15522" y="182"/>
                  </a:lnTo>
                  <a:lnTo>
                    <a:pt x="15508" y="187"/>
                  </a:lnTo>
                  <a:lnTo>
                    <a:pt x="15534" y="203"/>
                  </a:lnTo>
                  <a:lnTo>
                    <a:pt x="15484" y="199"/>
                  </a:lnTo>
                  <a:lnTo>
                    <a:pt x="15463" y="182"/>
                  </a:lnTo>
                  <a:lnTo>
                    <a:pt x="15432" y="199"/>
                  </a:lnTo>
                  <a:lnTo>
                    <a:pt x="15442" y="210"/>
                  </a:lnTo>
                  <a:lnTo>
                    <a:pt x="15425" y="203"/>
                  </a:lnTo>
                  <a:lnTo>
                    <a:pt x="15345" y="236"/>
                  </a:lnTo>
                  <a:lnTo>
                    <a:pt x="15345" y="236"/>
                  </a:lnTo>
                  <a:lnTo>
                    <a:pt x="15345" y="236"/>
                  </a:lnTo>
                  <a:close/>
                  <a:moveTo>
                    <a:pt x="16009" y="187"/>
                  </a:moveTo>
                  <a:lnTo>
                    <a:pt x="16080" y="182"/>
                  </a:lnTo>
                  <a:lnTo>
                    <a:pt x="16113" y="199"/>
                  </a:lnTo>
                  <a:lnTo>
                    <a:pt x="16037" y="203"/>
                  </a:lnTo>
                  <a:lnTo>
                    <a:pt x="16004" y="187"/>
                  </a:lnTo>
                  <a:lnTo>
                    <a:pt x="16009" y="187"/>
                  </a:lnTo>
                  <a:lnTo>
                    <a:pt x="16009" y="187"/>
                  </a:lnTo>
                  <a:lnTo>
                    <a:pt x="16009" y="187"/>
                  </a:lnTo>
                  <a:close/>
                  <a:moveTo>
                    <a:pt x="15848" y="220"/>
                  </a:moveTo>
                  <a:lnTo>
                    <a:pt x="15858" y="210"/>
                  </a:lnTo>
                  <a:lnTo>
                    <a:pt x="15841" y="203"/>
                  </a:lnTo>
                  <a:lnTo>
                    <a:pt x="15858" y="203"/>
                  </a:lnTo>
                  <a:lnTo>
                    <a:pt x="15874" y="220"/>
                  </a:lnTo>
                  <a:lnTo>
                    <a:pt x="15848" y="220"/>
                  </a:lnTo>
                  <a:lnTo>
                    <a:pt x="15848" y="220"/>
                  </a:lnTo>
                  <a:lnTo>
                    <a:pt x="15848" y="220"/>
                  </a:lnTo>
                  <a:close/>
                  <a:moveTo>
                    <a:pt x="16134" y="203"/>
                  </a:moveTo>
                  <a:lnTo>
                    <a:pt x="16188" y="203"/>
                  </a:lnTo>
                  <a:lnTo>
                    <a:pt x="16165" y="220"/>
                  </a:lnTo>
                  <a:lnTo>
                    <a:pt x="16127" y="210"/>
                  </a:lnTo>
                  <a:lnTo>
                    <a:pt x="16134" y="203"/>
                  </a:lnTo>
                  <a:lnTo>
                    <a:pt x="16134" y="203"/>
                  </a:lnTo>
                  <a:lnTo>
                    <a:pt x="16134" y="203"/>
                  </a:lnTo>
                  <a:close/>
                  <a:moveTo>
                    <a:pt x="15886" y="227"/>
                  </a:moveTo>
                  <a:lnTo>
                    <a:pt x="15900" y="220"/>
                  </a:lnTo>
                  <a:lnTo>
                    <a:pt x="15895" y="210"/>
                  </a:lnTo>
                  <a:lnTo>
                    <a:pt x="15900" y="203"/>
                  </a:lnTo>
                  <a:lnTo>
                    <a:pt x="15928" y="210"/>
                  </a:lnTo>
                  <a:lnTo>
                    <a:pt x="15912" y="220"/>
                  </a:lnTo>
                  <a:lnTo>
                    <a:pt x="15933" y="227"/>
                  </a:lnTo>
                  <a:lnTo>
                    <a:pt x="15917" y="236"/>
                  </a:lnTo>
                  <a:lnTo>
                    <a:pt x="15886" y="227"/>
                  </a:lnTo>
                  <a:lnTo>
                    <a:pt x="15886" y="227"/>
                  </a:lnTo>
                  <a:lnTo>
                    <a:pt x="15886" y="227"/>
                  </a:lnTo>
                  <a:close/>
                  <a:moveTo>
                    <a:pt x="15950" y="220"/>
                  </a:moveTo>
                  <a:lnTo>
                    <a:pt x="15971" y="210"/>
                  </a:lnTo>
                  <a:lnTo>
                    <a:pt x="15983" y="227"/>
                  </a:lnTo>
                  <a:lnTo>
                    <a:pt x="15950" y="220"/>
                  </a:lnTo>
                  <a:lnTo>
                    <a:pt x="15950" y="220"/>
                  </a:lnTo>
                  <a:lnTo>
                    <a:pt x="15950" y="220"/>
                  </a:lnTo>
                  <a:close/>
                  <a:moveTo>
                    <a:pt x="16155" y="293"/>
                  </a:moveTo>
                  <a:lnTo>
                    <a:pt x="16134" y="281"/>
                  </a:lnTo>
                  <a:lnTo>
                    <a:pt x="16134" y="244"/>
                  </a:lnTo>
                  <a:lnTo>
                    <a:pt x="16113" y="227"/>
                  </a:lnTo>
                  <a:lnTo>
                    <a:pt x="16209" y="227"/>
                  </a:lnTo>
                  <a:lnTo>
                    <a:pt x="16273" y="255"/>
                  </a:lnTo>
                  <a:lnTo>
                    <a:pt x="16209" y="260"/>
                  </a:lnTo>
                  <a:lnTo>
                    <a:pt x="16188" y="265"/>
                  </a:lnTo>
                  <a:lnTo>
                    <a:pt x="16219" y="265"/>
                  </a:lnTo>
                  <a:lnTo>
                    <a:pt x="16209" y="281"/>
                  </a:lnTo>
                  <a:lnTo>
                    <a:pt x="16181" y="277"/>
                  </a:lnTo>
                  <a:lnTo>
                    <a:pt x="16172" y="281"/>
                  </a:lnTo>
                  <a:lnTo>
                    <a:pt x="16181" y="293"/>
                  </a:lnTo>
                  <a:lnTo>
                    <a:pt x="16155" y="293"/>
                  </a:lnTo>
                  <a:lnTo>
                    <a:pt x="16155" y="293"/>
                  </a:lnTo>
                  <a:lnTo>
                    <a:pt x="16155" y="293"/>
                  </a:lnTo>
                  <a:close/>
                  <a:moveTo>
                    <a:pt x="15933" y="236"/>
                  </a:moveTo>
                  <a:lnTo>
                    <a:pt x="15950" y="227"/>
                  </a:lnTo>
                  <a:lnTo>
                    <a:pt x="15966" y="236"/>
                  </a:lnTo>
                  <a:lnTo>
                    <a:pt x="15928" y="244"/>
                  </a:lnTo>
                  <a:lnTo>
                    <a:pt x="15933" y="236"/>
                  </a:lnTo>
                  <a:lnTo>
                    <a:pt x="15933" y="236"/>
                  </a:lnTo>
                  <a:lnTo>
                    <a:pt x="15933" y="236"/>
                  </a:lnTo>
                  <a:close/>
                  <a:moveTo>
                    <a:pt x="15983" y="236"/>
                  </a:moveTo>
                  <a:lnTo>
                    <a:pt x="15992" y="236"/>
                  </a:lnTo>
                  <a:lnTo>
                    <a:pt x="15971" y="236"/>
                  </a:lnTo>
                  <a:lnTo>
                    <a:pt x="15983" y="236"/>
                  </a:lnTo>
                  <a:lnTo>
                    <a:pt x="15983" y="236"/>
                  </a:lnTo>
                  <a:lnTo>
                    <a:pt x="15983" y="236"/>
                  </a:lnTo>
                  <a:close/>
                  <a:moveTo>
                    <a:pt x="15787" y="277"/>
                  </a:moveTo>
                  <a:lnTo>
                    <a:pt x="15772" y="265"/>
                  </a:lnTo>
                  <a:lnTo>
                    <a:pt x="15824" y="244"/>
                  </a:lnTo>
                  <a:lnTo>
                    <a:pt x="15858" y="244"/>
                  </a:lnTo>
                  <a:lnTo>
                    <a:pt x="15895" y="265"/>
                  </a:lnTo>
                  <a:lnTo>
                    <a:pt x="15862" y="281"/>
                  </a:lnTo>
                  <a:lnTo>
                    <a:pt x="15787" y="277"/>
                  </a:lnTo>
                  <a:lnTo>
                    <a:pt x="15787" y="277"/>
                  </a:lnTo>
                  <a:lnTo>
                    <a:pt x="15787" y="277"/>
                  </a:lnTo>
                  <a:close/>
                  <a:moveTo>
                    <a:pt x="16025" y="293"/>
                  </a:moveTo>
                  <a:lnTo>
                    <a:pt x="16042" y="277"/>
                  </a:lnTo>
                  <a:lnTo>
                    <a:pt x="16042" y="265"/>
                  </a:lnTo>
                  <a:lnTo>
                    <a:pt x="16042" y="255"/>
                  </a:lnTo>
                  <a:lnTo>
                    <a:pt x="16117" y="260"/>
                  </a:lnTo>
                  <a:lnTo>
                    <a:pt x="16117" y="293"/>
                  </a:lnTo>
                  <a:lnTo>
                    <a:pt x="16113" y="298"/>
                  </a:lnTo>
                  <a:lnTo>
                    <a:pt x="16021" y="293"/>
                  </a:lnTo>
                  <a:lnTo>
                    <a:pt x="16025" y="293"/>
                  </a:lnTo>
                  <a:lnTo>
                    <a:pt x="16025" y="293"/>
                  </a:lnTo>
                  <a:lnTo>
                    <a:pt x="16025" y="293"/>
                  </a:lnTo>
                  <a:close/>
                  <a:moveTo>
                    <a:pt x="15966" y="265"/>
                  </a:moveTo>
                  <a:lnTo>
                    <a:pt x="15992" y="255"/>
                  </a:lnTo>
                  <a:lnTo>
                    <a:pt x="16009" y="260"/>
                  </a:lnTo>
                  <a:lnTo>
                    <a:pt x="15983" y="277"/>
                  </a:lnTo>
                  <a:lnTo>
                    <a:pt x="15966" y="265"/>
                  </a:lnTo>
                  <a:lnTo>
                    <a:pt x="15966" y="265"/>
                  </a:lnTo>
                  <a:lnTo>
                    <a:pt x="15966" y="265"/>
                  </a:lnTo>
                  <a:close/>
                  <a:moveTo>
                    <a:pt x="15917" y="277"/>
                  </a:moveTo>
                  <a:lnTo>
                    <a:pt x="15912" y="260"/>
                  </a:lnTo>
                  <a:lnTo>
                    <a:pt x="15917" y="255"/>
                  </a:lnTo>
                  <a:lnTo>
                    <a:pt x="15933" y="260"/>
                  </a:lnTo>
                  <a:lnTo>
                    <a:pt x="15917" y="277"/>
                  </a:lnTo>
                  <a:lnTo>
                    <a:pt x="15917" y="277"/>
                  </a:lnTo>
                  <a:lnTo>
                    <a:pt x="15917" y="277"/>
                  </a:lnTo>
                  <a:close/>
                  <a:moveTo>
                    <a:pt x="15609" y="298"/>
                  </a:moveTo>
                  <a:lnTo>
                    <a:pt x="15588" y="281"/>
                  </a:lnTo>
                  <a:lnTo>
                    <a:pt x="15614" y="265"/>
                  </a:lnTo>
                  <a:lnTo>
                    <a:pt x="15647" y="281"/>
                  </a:lnTo>
                  <a:lnTo>
                    <a:pt x="15609" y="298"/>
                  </a:lnTo>
                  <a:lnTo>
                    <a:pt x="15609" y="298"/>
                  </a:lnTo>
                  <a:lnTo>
                    <a:pt x="15609" y="298"/>
                  </a:lnTo>
                  <a:close/>
                  <a:moveTo>
                    <a:pt x="19098" y="425"/>
                  </a:moveTo>
                  <a:lnTo>
                    <a:pt x="19061" y="425"/>
                  </a:lnTo>
                  <a:lnTo>
                    <a:pt x="19120" y="459"/>
                  </a:lnTo>
                  <a:lnTo>
                    <a:pt x="19129" y="482"/>
                  </a:lnTo>
                  <a:lnTo>
                    <a:pt x="19087" y="499"/>
                  </a:lnTo>
                  <a:lnTo>
                    <a:pt x="19011" y="503"/>
                  </a:lnTo>
                  <a:lnTo>
                    <a:pt x="18935" y="499"/>
                  </a:lnTo>
                  <a:lnTo>
                    <a:pt x="18898" y="475"/>
                  </a:lnTo>
                  <a:lnTo>
                    <a:pt x="18827" y="475"/>
                  </a:lnTo>
                  <a:lnTo>
                    <a:pt x="18817" y="449"/>
                  </a:lnTo>
                  <a:lnTo>
                    <a:pt x="18780" y="466"/>
                  </a:lnTo>
                  <a:lnTo>
                    <a:pt x="18735" y="433"/>
                  </a:lnTo>
                  <a:lnTo>
                    <a:pt x="18735" y="392"/>
                  </a:lnTo>
                  <a:lnTo>
                    <a:pt x="18687" y="392"/>
                  </a:lnTo>
                  <a:lnTo>
                    <a:pt x="18704" y="392"/>
                  </a:lnTo>
                  <a:lnTo>
                    <a:pt x="18687" y="388"/>
                  </a:lnTo>
                  <a:lnTo>
                    <a:pt x="18697" y="371"/>
                  </a:lnTo>
                  <a:lnTo>
                    <a:pt x="18650" y="404"/>
                  </a:lnTo>
                  <a:lnTo>
                    <a:pt x="18650" y="392"/>
                  </a:lnTo>
                  <a:lnTo>
                    <a:pt x="18654" y="388"/>
                  </a:lnTo>
                  <a:lnTo>
                    <a:pt x="18628" y="376"/>
                  </a:lnTo>
                  <a:lnTo>
                    <a:pt x="18654" y="388"/>
                  </a:lnTo>
                  <a:lnTo>
                    <a:pt x="18709" y="347"/>
                  </a:lnTo>
                  <a:lnTo>
                    <a:pt x="18751" y="338"/>
                  </a:lnTo>
                  <a:lnTo>
                    <a:pt x="18725" y="322"/>
                  </a:lnTo>
                  <a:lnTo>
                    <a:pt x="18772" y="293"/>
                  </a:lnTo>
                  <a:lnTo>
                    <a:pt x="18796" y="310"/>
                  </a:lnTo>
                  <a:lnTo>
                    <a:pt x="18817" y="293"/>
                  </a:lnTo>
                  <a:lnTo>
                    <a:pt x="18957" y="281"/>
                  </a:lnTo>
                  <a:lnTo>
                    <a:pt x="18990" y="298"/>
                  </a:lnTo>
                  <a:lnTo>
                    <a:pt x="18957" y="347"/>
                  </a:lnTo>
                  <a:lnTo>
                    <a:pt x="18935" y="355"/>
                  </a:lnTo>
                  <a:lnTo>
                    <a:pt x="18969" y="347"/>
                  </a:lnTo>
                  <a:lnTo>
                    <a:pt x="18978" y="322"/>
                  </a:lnTo>
                  <a:lnTo>
                    <a:pt x="19011" y="331"/>
                  </a:lnTo>
                  <a:lnTo>
                    <a:pt x="19028" y="314"/>
                  </a:lnTo>
                  <a:lnTo>
                    <a:pt x="19023" y="310"/>
                  </a:lnTo>
                  <a:lnTo>
                    <a:pt x="19028" y="298"/>
                  </a:lnTo>
                  <a:lnTo>
                    <a:pt x="19075" y="298"/>
                  </a:lnTo>
                  <a:lnTo>
                    <a:pt x="19136" y="347"/>
                  </a:lnTo>
                  <a:lnTo>
                    <a:pt x="19113" y="371"/>
                  </a:lnTo>
                  <a:lnTo>
                    <a:pt x="19103" y="392"/>
                  </a:lnTo>
                  <a:lnTo>
                    <a:pt x="19113" y="409"/>
                  </a:lnTo>
                  <a:lnTo>
                    <a:pt x="19098" y="425"/>
                  </a:lnTo>
                  <a:lnTo>
                    <a:pt x="19098" y="425"/>
                  </a:lnTo>
                  <a:lnTo>
                    <a:pt x="19098" y="425"/>
                  </a:lnTo>
                  <a:close/>
                  <a:moveTo>
                    <a:pt x="16240" y="310"/>
                  </a:moveTo>
                  <a:lnTo>
                    <a:pt x="16278" y="293"/>
                  </a:lnTo>
                  <a:lnTo>
                    <a:pt x="16311" y="293"/>
                  </a:lnTo>
                  <a:lnTo>
                    <a:pt x="16311" y="310"/>
                  </a:lnTo>
                  <a:lnTo>
                    <a:pt x="16278" y="322"/>
                  </a:lnTo>
                  <a:lnTo>
                    <a:pt x="16240" y="310"/>
                  </a:lnTo>
                  <a:lnTo>
                    <a:pt x="16240" y="310"/>
                  </a:lnTo>
                  <a:lnTo>
                    <a:pt x="16240" y="310"/>
                  </a:lnTo>
                  <a:close/>
                  <a:moveTo>
                    <a:pt x="15626" y="314"/>
                  </a:moveTo>
                  <a:lnTo>
                    <a:pt x="15659" y="314"/>
                  </a:lnTo>
                  <a:lnTo>
                    <a:pt x="15697" y="293"/>
                  </a:lnTo>
                  <a:lnTo>
                    <a:pt x="15723" y="322"/>
                  </a:lnTo>
                  <a:lnTo>
                    <a:pt x="15626" y="314"/>
                  </a:lnTo>
                  <a:lnTo>
                    <a:pt x="15626" y="314"/>
                  </a:lnTo>
                  <a:lnTo>
                    <a:pt x="15626" y="314"/>
                  </a:lnTo>
                  <a:close/>
                  <a:moveTo>
                    <a:pt x="18503" y="298"/>
                  </a:moveTo>
                  <a:lnTo>
                    <a:pt x="18487" y="298"/>
                  </a:lnTo>
                  <a:lnTo>
                    <a:pt x="18633" y="310"/>
                  </a:lnTo>
                  <a:lnTo>
                    <a:pt x="18697" y="322"/>
                  </a:lnTo>
                  <a:lnTo>
                    <a:pt x="18645" y="355"/>
                  </a:lnTo>
                  <a:lnTo>
                    <a:pt x="18562" y="364"/>
                  </a:lnTo>
                  <a:lnTo>
                    <a:pt x="18595" y="355"/>
                  </a:lnTo>
                  <a:lnTo>
                    <a:pt x="18574" y="338"/>
                  </a:lnTo>
                  <a:lnTo>
                    <a:pt x="18503" y="331"/>
                  </a:lnTo>
                  <a:lnTo>
                    <a:pt x="18508" y="322"/>
                  </a:lnTo>
                  <a:lnTo>
                    <a:pt x="18503" y="298"/>
                  </a:lnTo>
                  <a:lnTo>
                    <a:pt x="18503" y="298"/>
                  </a:lnTo>
                  <a:lnTo>
                    <a:pt x="18503" y="298"/>
                  </a:lnTo>
                  <a:close/>
                  <a:moveTo>
                    <a:pt x="18704" y="310"/>
                  </a:moveTo>
                  <a:lnTo>
                    <a:pt x="18735" y="310"/>
                  </a:lnTo>
                  <a:lnTo>
                    <a:pt x="18704" y="314"/>
                  </a:lnTo>
                  <a:lnTo>
                    <a:pt x="18704" y="310"/>
                  </a:lnTo>
                  <a:lnTo>
                    <a:pt x="18704" y="310"/>
                  </a:lnTo>
                  <a:lnTo>
                    <a:pt x="18704" y="310"/>
                  </a:lnTo>
                  <a:close/>
                  <a:moveTo>
                    <a:pt x="16209" y="314"/>
                  </a:moveTo>
                  <a:lnTo>
                    <a:pt x="16226" y="314"/>
                  </a:lnTo>
                  <a:lnTo>
                    <a:pt x="16252" y="322"/>
                  </a:lnTo>
                  <a:lnTo>
                    <a:pt x="16202" y="322"/>
                  </a:lnTo>
                  <a:lnTo>
                    <a:pt x="16209" y="314"/>
                  </a:lnTo>
                  <a:lnTo>
                    <a:pt x="16209" y="314"/>
                  </a:lnTo>
                  <a:lnTo>
                    <a:pt x="16209" y="314"/>
                  </a:lnTo>
                  <a:close/>
                  <a:moveTo>
                    <a:pt x="18541" y="364"/>
                  </a:moveTo>
                  <a:lnTo>
                    <a:pt x="18503" y="355"/>
                  </a:lnTo>
                  <a:lnTo>
                    <a:pt x="18557" y="364"/>
                  </a:lnTo>
                  <a:lnTo>
                    <a:pt x="18541" y="364"/>
                  </a:lnTo>
                  <a:lnTo>
                    <a:pt x="18541" y="364"/>
                  </a:lnTo>
                  <a:lnTo>
                    <a:pt x="18541" y="364"/>
                  </a:lnTo>
                  <a:close/>
                  <a:moveTo>
                    <a:pt x="19129" y="376"/>
                  </a:moveTo>
                  <a:lnTo>
                    <a:pt x="19129" y="364"/>
                  </a:lnTo>
                  <a:lnTo>
                    <a:pt x="19150" y="364"/>
                  </a:lnTo>
                  <a:lnTo>
                    <a:pt x="19129" y="376"/>
                  </a:lnTo>
                  <a:lnTo>
                    <a:pt x="19129" y="376"/>
                  </a:lnTo>
                  <a:lnTo>
                    <a:pt x="19129" y="376"/>
                  </a:lnTo>
                  <a:close/>
                  <a:moveTo>
                    <a:pt x="17495" y="388"/>
                  </a:moveTo>
                  <a:lnTo>
                    <a:pt x="17445" y="371"/>
                  </a:lnTo>
                  <a:lnTo>
                    <a:pt x="17563" y="388"/>
                  </a:lnTo>
                  <a:lnTo>
                    <a:pt x="17499" y="392"/>
                  </a:lnTo>
                  <a:lnTo>
                    <a:pt x="17495" y="388"/>
                  </a:lnTo>
                  <a:lnTo>
                    <a:pt x="17495" y="388"/>
                  </a:lnTo>
                  <a:lnTo>
                    <a:pt x="17495" y="388"/>
                  </a:lnTo>
                  <a:close/>
                  <a:moveTo>
                    <a:pt x="18494" y="388"/>
                  </a:moveTo>
                  <a:lnTo>
                    <a:pt x="18536" y="392"/>
                  </a:lnTo>
                  <a:lnTo>
                    <a:pt x="18482" y="376"/>
                  </a:lnTo>
                  <a:lnTo>
                    <a:pt x="18494" y="388"/>
                  </a:lnTo>
                  <a:lnTo>
                    <a:pt x="18494" y="388"/>
                  </a:lnTo>
                  <a:lnTo>
                    <a:pt x="18494" y="388"/>
                  </a:lnTo>
                  <a:close/>
                  <a:moveTo>
                    <a:pt x="19129" y="392"/>
                  </a:moveTo>
                  <a:lnTo>
                    <a:pt x="19129" y="404"/>
                  </a:lnTo>
                  <a:lnTo>
                    <a:pt x="19120" y="404"/>
                  </a:lnTo>
                  <a:lnTo>
                    <a:pt x="19129" y="392"/>
                  </a:lnTo>
                  <a:lnTo>
                    <a:pt x="19129" y="392"/>
                  </a:lnTo>
                  <a:lnTo>
                    <a:pt x="19129" y="392"/>
                  </a:lnTo>
                  <a:close/>
                  <a:moveTo>
                    <a:pt x="19136" y="553"/>
                  </a:moveTo>
                  <a:lnTo>
                    <a:pt x="19157" y="503"/>
                  </a:lnTo>
                  <a:lnTo>
                    <a:pt x="19212" y="515"/>
                  </a:lnTo>
                  <a:lnTo>
                    <a:pt x="19183" y="487"/>
                  </a:lnTo>
                  <a:lnTo>
                    <a:pt x="19195" y="466"/>
                  </a:lnTo>
                  <a:lnTo>
                    <a:pt x="19243" y="475"/>
                  </a:lnTo>
                  <a:lnTo>
                    <a:pt x="19195" y="459"/>
                  </a:lnTo>
                  <a:lnTo>
                    <a:pt x="19212" y="433"/>
                  </a:lnTo>
                  <a:lnTo>
                    <a:pt x="19250" y="409"/>
                  </a:lnTo>
                  <a:lnTo>
                    <a:pt x="19264" y="425"/>
                  </a:lnTo>
                  <a:lnTo>
                    <a:pt x="19280" y="433"/>
                  </a:lnTo>
                  <a:lnTo>
                    <a:pt x="19280" y="409"/>
                  </a:lnTo>
                  <a:lnTo>
                    <a:pt x="19297" y="404"/>
                  </a:lnTo>
                  <a:lnTo>
                    <a:pt x="19351" y="421"/>
                  </a:lnTo>
                  <a:lnTo>
                    <a:pt x="19330" y="433"/>
                  </a:lnTo>
                  <a:lnTo>
                    <a:pt x="19297" y="499"/>
                  </a:lnTo>
                  <a:lnTo>
                    <a:pt x="19335" y="466"/>
                  </a:lnTo>
                  <a:lnTo>
                    <a:pt x="19406" y="449"/>
                  </a:lnTo>
                  <a:lnTo>
                    <a:pt x="19410" y="475"/>
                  </a:lnTo>
                  <a:lnTo>
                    <a:pt x="19439" y="475"/>
                  </a:lnTo>
                  <a:lnTo>
                    <a:pt x="19453" y="499"/>
                  </a:lnTo>
                  <a:lnTo>
                    <a:pt x="19453" y="503"/>
                  </a:lnTo>
                  <a:lnTo>
                    <a:pt x="19460" y="499"/>
                  </a:lnTo>
                  <a:lnTo>
                    <a:pt x="19491" y="499"/>
                  </a:lnTo>
                  <a:lnTo>
                    <a:pt x="19507" y="536"/>
                  </a:lnTo>
                  <a:lnTo>
                    <a:pt x="19460" y="577"/>
                  </a:lnTo>
                  <a:lnTo>
                    <a:pt x="19335" y="593"/>
                  </a:lnTo>
                  <a:lnTo>
                    <a:pt x="19318" y="598"/>
                  </a:lnTo>
                  <a:lnTo>
                    <a:pt x="19302" y="593"/>
                  </a:lnTo>
                  <a:lnTo>
                    <a:pt x="19221" y="598"/>
                  </a:lnTo>
                  <a:lnTo>
                    <a:pt x="19129" y="631"/>
                  </a:lnTo>
                  <a:lnTo>
                    <a:pt x="19087" y="643"/>
                  </a:lnTo>
                  <a:lnTo>
                    <a:pt x="19082" y="626"/>
                  </a:lnTo>
                  <a:lnTo>
                    <a:pt x="19136" y="553"/>
                  </a:lnTo>
                  <a:lnTo>
                    <a:pt x="19136" y="553"/>
                  </a:lnTo>
                  <a:lnTo>
                    <a:pt x="19136" y="553"/>
                  </a:lnTo>
                  <a:close/>
                  <a:moveTo>
                    <a:pt x="19561" y="598"/>
                  </a:moveTo>
                  <a:lnTo>
                    <a:pt x="19552" y="593"/>
                  </a:lnTo>
                  <a:lnTo>
                    <a:pt x="19583" y="577"/>
                  </a:lnTo>
                  <a:lnTo>
                    <a:pt x="19604" y="586"/>
                  </a:lnTo>
                  <a:lnTo>
                    <a:pt x="19561" y="598"/>
                  </a:lnTo>
                  <a:lnTo>
                    <a:pt x="19561" y="598"/>
                  </a:lnTo>
                  <a:lnTo>
                    <a:pt x="19561" y="598"/>
                  </a:lnTo>
                  <a:close/>
                  <a:moveTo>
                    <a:pt x="19654" y="626"/>
                  </a:moveTo>
                  <a:lnTo>
                    <a:pt x="19583" y="598"/>
                  </a:lnTo>
                  <a:lnTo>
                    <a:pt x="19670" y="610"/>
                  </a:lnTo>
                  <a:lnTo>
                    <a:pt x="19654" y="626"/>
                  </a:lnTo>
                  <a:lnTo>
                    <a:pt x="19654" y="626"/>
                  </a:lnTo>
                  <a:lnTo>
                    <a:pt x="19654" y="626"/>
                  </a:lnTo>
                  <a:close/>
                  <a:moveTo>
                    <a:pt x="18562" y="688"/>
                  </a:moveTo>
                  <a:lnTo>
                    <a:pt x="18546" y="681"/>
                  </a:lnTo>
                  <a:lnTo>
                    <a:pt x="18574" y="688"/>
                  </a:lnTo>
                  <a:lnTo>
                    <a:pt x="18562" y="688"/>
                  </a:lnTo>
                  <a:lnTo>
                    <a:pt x="18562" y="688"/>
                  </a:lnTo>
                  <a:lnTo>
                    <a:pt x="18562" y="688"/>
                  </a:lnTo>
                  <a:close/>
                  <a:moveTo>
                    <a:pt x="19642" y="754"/>
                  </a:moveTo>
                  <a:lnTo>
                    <a:pt x="19637" y="742"/>
                  </a:lnTo>
                  <a:lnTo>
                    <a:pt x="19654" y="725"/>
                  </a:lnTo>
                  <a:lnTo>
                    <a:pt x="19670" y="737"/>
                  </a:lnTo>
                  <a:lnTo>
                    <a:pt x="19670" y="742"/>
                  </a:lnTo>
                  <a:lnTo>
                    <a:pt x="19642" y="754"/>
                  </a:lnTo>
                  <a:lnTo>
                    <a:pt x="19642" y="754"/>
                  </a:lnTo>
                  <a:lnTo>
                    <a:pt x="19642" y="754"/>
                  </a:lnTo>
                  <a:close/>
                  <a:moveTo>
                    <a:pt x="18373" y="758"/>
                  </a:moveTo>
                  <a:lnTo>
                    <a:pt x="18364" y="742"/>
                  </a:lnTo>
                  <a:lnTo>
                    <a:pt x="18373" y="737"/>
                  </a:lnTo>
                  <a:lnTo>
                    <a:pt x="18402" y="742"/>
                  </a:lnTo>
                  <a:lnTo>
                    <a:pt x="18373" y="758"/>
                  </a:lnTo>
                  <a:lnTo>
                    <a:pt x="18373" y="758"/>
                  </a:lnTo>
                  <a:lnTo>
                    <a:pt x="18373" y="758"/>
                  </a:lnTo>
                  <a:close/>
                  <a:moveTo>
                    <a:pt x="19535" y="742"/>
                  </a:moveTo>
                  <a:lnTo>
                    <a:pt x="19552" y="737"/>
                  </a:lnTo>
                  <a:lnTo>
                    <a:pt x="19535" y="742"/>
                  </a:lnTo>
                  <a:lnTo>
                    <a:pt x="19535" y="742"/>
                  </a:lnTo>
                  <a:lnTo>
                    <a:pt x="19535" y="742"/>
                  </a:lnTo>
                  <a:close/>
                  <a:moveTo>
                    <a:pt x="18881" y="754"/>
                  </a:moveTo>
                  <a:lnTo>
                    <a:pt x="18886" y="758"/>
                  </a:lnTo>
                  <a:lnTo>
                    <a:pt x="18860" y="780"/>
                  </a:lnTo>
                  <a:lnTo>
                    <a:pt x="18796" y="780"/>
                  </a:lnTo>
                  <a:lnTo>
                    <a:pt x="18881" y="754"/>
                  </a:lnTo>
                  <a:lnTo>
                    <a:pt x="18881" y="754"/>
                  </a:lnTo>
                  <a:lnTo>
                    <a:pt x="18881" y="754"/>
                  </a:lnTo>
                  <a:close/>
                  <a:moveTo>
                    <a:pt x="18357" y="758"/>
                  </a:moveTo>
                  <a:lnTo>
                    <a:pt x="18331" y="763"/>
                  </a:lnTo>
                  <a:lnTo>
                    <a:pt x="18347" y="763"/>
                  </a:lnTo>
                  <a:lnTo>
                    <a:pt x="18343" y="780"/>
                  </a:lnTo>
                  <a:lnTo>
                    <a:pt x="18331" y="763"/>
                  </a:lnTo>
                  <a:lnTo>
                    <a:pt x="18357" y="758"/>
                  </a:lnTo>
                  <a:lnTo>
                    <a:pt x="18357" y="758"/>
                  </a:lnTo>
                  <a:lnTo>
                    <a:pt x="18357" y="758"/>
                  </a:lnTo>
                  <a:close/>
                  <a:moveTo>
                    <a:pt x="23093" y="758"/>
                  </a:moveTo>
                  <a:lnTo>
                    <a:pt x="23109" y="758"/>
                  </a:lnTo>
                  <a:lnTo>
                    <a:pt x="23088" y="758"/>
                  </a:lnTo>
                  <a:lnTo>
                    <a:pt x="23093" y="758"/>
                  </a:lnTo>
                  <a:lnTo>
                    <a:pt x="23093" y="758"/>
                  </a:lnTo>
                  <a:lnTo>
                    <a:pt x="23093" y="758"/>
                  </a:lnTo>
                  <a:close/>
                  <a:moveTo>
                    <a:pt x="16101" y="1314"/>
                  </a:moveTo>
                  <a:lnTo>
                    <a:pt x="16096" y="1307"/>
                  </a:lnTo>
                  <a:lnTo>
                    <a:pt x="16096" y="1318"/>
                  </a:lnTo>
                  <a:lnTo>
                    <a:pt x="16047" y="1318"/>
                  </a:lnTo>
                  <a:lnTo>
                    <a:pt x="16037" y="1297"/>
                  </a:lnTo>
                  <a:lnTo>
                    <a:pt x="16042" y="1314"/>
                  </a:lnTo>
                  <a:lnTo>
                    <a:pt x="15971" y="1297"/>
                  </a:lnTo>
                  <a:lnTo>
                    <a:pt x="15917" y="1314"/>
                  </a:lnTo>
                  <a:lnTo>
                    <a:pt x="15900" y="1307"/>
                  </a:lnTo>
                  <a:lnTo>
                    <a:pt x="15928" y="1297"/>
                  </a:lnTo>
                  <a:lnTo>
                    <a:pt x="15928" y="1290"/>
                  </a:lnTo>
                  <a:lnTo>
                    <a:pt x="15917" y="1290"/>
                  </a:lnTo>
                  <a:lnTo>
                    <a:pt x="15928" y="1281"/>
                  </a:lnTo>
                  <a:lnTo>
                    <a:pt x="15987" y="1257"/>
                  </a:lnTo>
                  <a:lnTo>
                    <a:pt x="15900" y="1273"/>
                  </a:lnTo>
                  <a:lnTo>
                    <a:pt x="15879" y="1252"/>
                  </a:lnTo>
                  <a:lnTo>
                    <a:pt x="15954" y="1224"/>
                  </a:lnTo>
                  <a:lnTo>
                    <a:pt x="15938" y="1219"/>
                  </a:lnTo>
                  <a:lnTo>
                    <a:pt x="15971" y="1195"/>
                  </a:lnTo>
                  <a:lnTo>
                    <a:pt x="16037" y="1203"/>
                  </a:lnTo>
                  <a:lnTo>
                    <a:pt x="15983" y="1179"/>
                  </a:lnTo>
                  <a:lnTo>
                    <a:pt x="16025" y="1179"/>
                  </a:lnTo>
                  <a:lnTo>
                    <a:pt x="15987" y="1170"/>
                  </a:lnTo>
                  <a:lnTo>
                    <a:pt x="15992" y="1153"/>
                  </a:lnTo>
                  <a:lnTo>
                    <a:pt x="16063" y="1146"/>
                  </a:lnTo>
                  <a:lnTo>
                    <a:pt x="16009" y="1141"/>
                  </a:lnTo>
                  <a:lnTo>
                    <a:pt x="16009" y="1125"/>
                  </a:lnTo>
                  <a:lnTo>
                    <a:pt x="16113" y="1125"/>
                  </a:lnTo>
                  <a:lnTo>
                    <a:pt x="16089" y="1125"/>
                  </a:lnTo>
                  <a:lnTo>
                    <a:pt x="16075" y="1108"/>
                  </a:lnTo>
                  <a:lnTo>
                    <a:pt x="16037" y="1108"/>
                  </a:lnTo>
                  <a:lnTo>
                    <a:pt x="16089" y="1087"/>
                  </a:lnTo>
                  <a:lnTo>
                    <a:pt x="16063" y="1087"/>
                  </a:lnTo>
                  <a:lnTo>
                    <a:pt x="16075" y="1075"/>
                  </a:lnTo>
                  <a:lnTo>
                    <a:pt x="16037" y="1075"/>
                  </a:lnTo>
                  <a:lnTo>
                    <a:pt x="16042" y="1070"/>
                  </a:lnTo>
                  <a:lnTo>
                    <a:pt x="16025" y="1070"/>
                  </a:lnTo>
                  <a:lnTo>
                    <a:pt x="16025" y="1058"/>
                  </a:lnTo>
                  <a:lnTo>
                    <a:pt x="16063" y="1051"/>
                  </a:lnTo>
                  <a:lnTo>
                    <a:pt x="16075" y="1070"/>
                  </a:lnTo>
                  <a:lnTo>
                    <a:pt x="16101" y="1042"/>
                  </a:lnTo>
                  <a:lnTo>
                    <a:pt x="16096" y="1035"/>
                  </a:lnTo>
                  <a:lnTo>
                    <a:pt x="16101" y="1030"/>
                  </a:lnTo>
                  <a:lnTo>
                    <a:pt x="16165" y="1030"/>
                  </a:lnTo>
                  <a:lnTo>
                    <a:pt x="16150" y="1002"/>
                  </a:lnTo>
                  <a:lnTo>
                    <a:pt x="16198" y="997"/>
                  </a:lnTo>
                  <a:lnTo>
                    <a:pt x="16181" y="985"/>
                  </a:lnTo>
                  <a:lnTo>
                    <a:pt x="16235" y="959"/>
                  </a:lnTo>
                  <a:lnTo>
                    <a:pt x="16349" y="931"/>
                  </a:lnTo>
                  <a:lnTo>
                    <a:pt x="16328" y="924"/>
                  </a:lnTo>
                  <a:lnTo>
                    <a:pt x="16344" y="919"/>
                  </a:lnTo>
                  <a:lnTo>
                    <a:pt x="16382" y="919"/>
                  </a:lnTo>
                  <a:lnTo>
                    <a:pt x="16361" y="931"/>
                  </a:lnTo>
                  <a:lnTo>
                    <a:pt x="16370" y="931"/>
                  </a:lnTo>
                  <a:lnTo>
                    <a:pt x="16403" y="907"/>
                  </a:lnTo>
                  <a:lnTo>
                    <a:pt x="16387" y="907"/>
                  </a:lnTo>
                  <a:lnTo>
                    <a:pt x="16398" y="891"/>
                  </a:lnTo>
                  <a:lnTo>
                    <a:pt x="16441" y="886"/>
                  </a:lnTo>
                  <a:lnTo>
                    <a:pt x="16495" y="903"/>
                  </a:lnTo>
                  <a:lnTo>
                    <a:pt x="16580" y="874"/>
                  </a:lnTo>
                  <a:lnTo>
                    <a:pt x="16613" y="886"/>
                  </a:lnTo>
                  <a:lnTo>
                    <a:pt x="16710" y="848"/>
                  </a:lnTo>
                  <a:lnTo>
                    <a:pt x="16743" y="853"/>
                  </a:lnTo>
                  <a:lnTo>
                    <a:pt x="16727" y="832"/>
                  </a:lnTo>
                  <a:lnTo>
                    <a:pt x="16852" y="780"/>
                  </a:lnTo>
                  <a:lnTo>
                    <a:pt x="16921" y="792"/>
                  </a:lnTo>
                  <a:lnTo>
                    <a:pt x="16954" y="815"/>
                  </a:lnTo>
                  <a:lnTo>
                    <a:pt x="16937" y="848"/>
                  </a:lnTo>
                  <a:lnTo>
                    <a:pt x="16944" y="853"/>
                  </a:lnTo>
                  <a:lnTo>
                    <a:pt x="16899" y="886"/>
                  </a:lnTo>
                  <a:lnTo>
                    <a:pt x="16906" y="886"/>
                  </a:lnTo>
                  <a:lnTo>
                    <a:pt x="16684" y="959"/>
                  </a:lnTo>
                  <a:lnTo>
                    <a:pt x="16592" y="981"/>
                  </a:lnTo>
                  <a:lnTo>
                    <a:pt x="16576" y="976"/>
                  </a:lnTo>
                  <a:lnTo>
                    <a:pt x="16559" y="985"/>
                  </a:lnTo>
                  <a:lnTo>
                    <a:pt x="16441" y="1018"/>
                  </a:lnTo>
                  <a:lnTo>
                    <a:pt x="16424" y="1042"/>
                  </a:lnTo>
                  <a:lnTo>
                    <a:pt x="16415" y="1030"/>
                  </a:lnTo>
                  <a:lnTo>
                    <a:pt x="16403" y="1042"/>
                  </a:lnTo>
                  <a:lnTo>
                    <a:pt x="16370" y="1058"/>
                  </a:lnTo>
                  <a:lnTo>
                    <a:pt x="16382" y="1070"/>
                  </a:lnTo>
                  <a:lnTo>
                    <a:pt x="16370" y="1075"/>
                  </a:lnTo>
                  <a:lnTo>
                    <a:pt x="16361" y="1058"/>
                  </a:lnTo>
                  <a:lnTo>
                    <a:pt x="16361" y="1075"/>
                  </a:lnTo>
                  <a:lnTo>
                    <a:pt x="16316" y="1075"/>
                  </a:lnTo>
                  <a:lnTo>
                    <a:pt x="16370" y="1087"/>
                  </a:lnTo>
                  <a:lnTo>
                    <a:pt x="16332" y="1096"/>
                  </a:lnTo>
                  <a:lnTo>
                    <a:pt x="16349" y="1108"/>
                  </a:lnTo>
                  <a:lnTo>
                    <a:pt x="16344" y="1113"/>
                  </a:lnTo>
                  <a:lnTo>
                    <a:pt x="16316" y="1113"/>
                  </a:lnTo>
                  <a:lnTo>
                    <a:pt x="16290" y="1108"/>
                  </a:lnTo>
                  <a:lnTo>
                    <a:pt x="16311" y="1125"/>
                  </a:lnTo>
                  <a:lnTo>
                    <a:pt x="16306" y="1141"/>
                  </a:lnTo>
                  <a:lnTo>
                    <a:pt x="16264" y="1113"/>
                  </a:lnTo>
                  <a:lnTo>
                    <a:pt x="16273" y="1129"/>
                  </a:lnTo>
                  <a:lnTo>
                    <a:pt x="16257" y="1141"/>
                  </a:lnTo>
                  <a:lnTo>
                    <a:pt x="16264" y="1153"/>
                  </a:lnTo>
                  <a:lnTo>
                    <a:pt x="16198" y="1141"/>
                  </a:lnTo>
                  <a:lnTo>
                    <a:pt x="16226" y="1153"/>
                  </a:lnTo>
                  <a:lnTo>
                    <a:pt x="16235" y="1179"/>
                  </a:lnTo>
                  <a:lnTo>
                    <a:pt x="16219" y="1195"/>
                  </a:lnTo>
                  <a:lnTo>
                    <a:pt x="16202" y="1186"/>
                  </a:lnTo>
                  <a:lnTo>
                    <a:pt x="16209" y="1203"/>
                  </a:lnTo>
                  <a:lnTo>
                    <a:pt x="16198" y="1203"/>
                  </a:lnTo>
                  <a:lnTo>
                    <a:pt x="16198" y="1219"/>
                  </a:lnTo>
                  <a:lnTo>
                    <a:pt x="16165" y="1207"/>
                  </a:lnTo>
                  <a:lnTo>
                    <a:pt x="16150" y="1195"/>
                  </a:lnTo>
                  <a:lnTo>
                    <a:pt x="16143" y="1195"/>
                  </a:lnTo>
                  <a:lnTo>
                    <a:pt x="16150" y="1207"/>
                  </a:lnTo>
                  <a:lnTo>
                    <a:pt x="16134" y="1207"/>
                  </a:lnTo>
                  <a:lnTo>
                    <a:pt x="16172" y="1236"/>
                  </a:lnTo>
                  <a:lnTo>
                    <a:pt x="16181" y="1252"/>
                  </a:lnTo>
                  <a:lnTo>
                    <a:pt x="16165" y="1257"/>
                  </a:lnTo>
                  <a:lnTo>
                    <a:pt x="16143" y="1240"/>
                  </a:lnTo>
                  <a:lnTo>
                    <a:pt x="16080" y="1236"/>
                  </a:lnTo>
                  <a:lnTo>
                    <a:pt x="16134" y="1240"/>
                  </a:lnTo>
                  <a:lnTo>
                    <a:pt x="16155" y="1264"/>
                  </a:lnTo>
                  <a:lnTo>
                    <a:pt x="16134" y="1281"/>
                  </a:lnTo>
                  <a:lnTo>
                    <a:pt x="16096" y="1264"/>
                  </a:lnTo>
                  <a:lnTo>
                    <a:pt x="16096" y="1273"/>
                  </a:lnTo>
                  <a:lnTo>
                    <a:pt x="16127" y="1290"/>
                  </a:lnTo>
                  <a:lnTo>
                    <a:pt x="16101" y="1314"/>
                  </a:lnTo>
                  <a:lnTo>
                    <a:pt x="16101" y="1314"/>
                  </a:lnTo>
                  <a:lnTo>
                    <a:pt x="16101" y="1314"/>
                  </a:lnTo>
                  <a:close/>
                  <a:moveTo>
                    <a:pt x="18978" y="815"/>
                  </a:moveTo>
                  <a:lnTo>
                    <a:pt x="18969" y="808"/>
                  </a:lnTo>
                  <a:lnTo>
                    <a:pt x="18978" y="808"/>
                  </a:lnTo>
                  <a:lnTo>
                    <a:pt x="18978" y="815"/>
                  </a:lnTo>
                  <a:lnTo>
                    <a:pt x="18978" y="815"/>
                  </a:lnTo>
                  <a:lnTo>
                    <a:pt x="18978" y="815"/>
                  </a:lnTo>
                  <a:close/>
                  <a:moveTo>
                    <a:pt x="22521" y="836"/>
                  </a:moveTo>
                  <a:lnTo>
                    <a:pt x="22547" y="820"/>
                  </a:lnTo>
                  <a:lnTo>
                    <a:pt x="22585" y="820"/>
                  </a:lnTo>
                  <a:lnTo>
                    <a:pt x="22576" y="836"/>
                  </a:lnTo>
                  <a:lnTo>
                    <a:pt x="22521" y="836"/>
                  </a:lnTo>
                  <a:lnTo>
                    <a:pt x="22521" y="836"/>
                  </a:lnTo>
                  <a:lnTo>
                    <a:pt x="22521" y="836"/>
                  </a:lnTo>
                  <a:close/>
                  <a:moveTo>
                    <a:pt x="18957" y="848"/>
                  </a:moveTo>
                  <a:lnTo>
                    <a:pt x="18940" y="836"/>
                  </a:lnTo>
                  <a:lnTo>
                    <a:pt x="18952" y="820"/>
                  </a:lnTo>
                  <a:lnTo>
                    <a:pt x="18957" y="836"/>
                  </a:lnTo>
                  <a:lnTo>
                    <a:pt x="18957" y="848"/>
                  </a:lnTo>
                  <a:lnTo>
                    <a:pt x="18957" y="848"/>
                  </a:lnTo>
                  <a:lnTo>
                    <a:pt x="18957" y="848"/>
                  </a:lnTo>
                  <a:close/>
                  <a:moveTo>
                    <a:pt x="18827" y="832"/>
                  </a:moveTo>
                  <a:lnTo>
                    <a:pt x="18834" y="832"/>
                  </a:lnTo>
                  <a:lnTo>
                    <a:pt x="18806" y="832"/>
                  </a:lnTo>
                  <a:lnTo>
                    <a:pt x="18827" y="832"/>
                  </a:lnTo>
                  <a:lnTo>
                    <a:pt x="18827" y="832"/>
                  </a:lnTo>
                  <a:lnTo>
                    <a:pt x="18827" y="832"/>
                  </a:lnTo>
                  <a:close/>
                  <a:moveTo>
                    <a:pt x="18789" y="820"/>
                  </a:moveTo>
                  <a:lnTo>
                    <a:pt x="18806" y="832"/>
                  </a:lnTo>
                  <a:lnTo>
                    <a:pt x="18763" y="836"/>
                  </a:lnTo>
                  <a:lnTo>
                    <a:pt x="18789" y="820"/>
                  </a:lnTo>
                  <a:lnTo>
                    <a:pt x="18789" y="820"/>
                  </a:lnTo>
                  <a:lnTo>
                    <a:pt x="18789" y="820"/>
                  </a:lnTo>
                  <a:close/>
                  <a:moveTo>
                    <a:pt x="18881" y="832"/>
                  </a:moveTo>
                  <a:lnTo>
                    <a:pt x="18865" y="836"/>
                  </a:lnTo>
                  <a:lnTo>
                    <a:pt x="18843" y="836"/>
                  </a:lnTo>
                  <a:lnTo>
                    <a:pt x="18881" y="832"/>
                  </a:lnTo>
                  <a:lnTo>
                    <a:pt x="18881" y="832"/>
                  </a:lnTo>
                  <a:lnTo>
                    <a:pt x="18881" y="832"/>
                  </a:lnTo>
                  <a:close/>
                  <a:moveTo>
                    <a:pt x="20010" y="865"/>
                  </a:moveTo>
                  <a:lnTo>
                    <a:pt x="19968" y="836"/>
                  </a:lnTo>
                  <a:lnTo>
                    <a:pt x="20010" y="836"/>
                  </a:lnTo>
                  <a:lnTo>
                    <a:pt x="20020" y="853"/>
                  </a:lnTo>
                  <a:lnTo>
                    <a:pt x="20010" y="865"/>
                  </a:lnTo>
                  <a:lnTo>
                    <a:pt x="20010" y="865"/>
                  </a:lnTo>
                  <a:lnTo>
                    <a:pt x="20010" y="865"/>
                  </a:lnTo>
                  <a:close/>
                  <a:moveTo>
                    <a:pt x="18704" y="836"/>
                  </a:moveTo>
                  <a:lnTo>
                    <a:pt x="18735" y="848"/>
                  </a:lnTo>
                  <a:lnTo>
                    <a:pt x="18697" y="848"/>
                  </a:lnTo>
                  <a:lnTo>
                    <a:pt x="18704" y="836"/>
                  </a:lnTo>
                  <a:lnTo>
                    <a:pt x="18704" y="836"/>
                  </a:lnTo>
                  <a:lnTo>
                    <a:pt x="18704" y="836"/>
                  </a:lnTo>
                  <a:close/>
                  <a:moveTo>
                    <a:pt x="20048" y="874"/>
                  </a:moveTo>
                  <a:lnTo>
                    <a:pt x="20065" y="870"/>
                  </a:lnTo>
                  <a:lnTo>
                    <a:pt x="20069" y="874"/>
                  </a:lnTo>
                  <a:lnTo>
                    <a:pt x="20048" y="874"/>
                  </a:lnTo>
                  <a:lnTo>
                    <a:pt x="20048" y="874"/>
                  </a:lnTo>
                  <a:lnTo>
                    <a:pt x="20048" y="874"/>
                  </a:lnTo>
                  <a:close/>
                  <a:moveTo>
                    <a:pt x="18902" y="907"/>
                  </a:moveTo>
                  <a:lnTo>
                    <a:pt x="18898" y="903"/>
                  </a:lnTo>
                  <a:lnTo>
                    <a:pt x="18902" y="874"/>
                  </a:lnTo>
                  <a:lnTo>
                    <a:pt x="18919" y="886"/>
                  </a:lnTo>
                  <a:lnTo>
                    <a:pt x="18902" y="907"/>
                  </a:lnTo>
                  <a:lnTo>
                    <a:pt x="18902" y="907"/>
                  </a:lnTo>
                  <a:lnTo>
                    <a:pt x="18902" y="907"/>
                  </a:lnTo>
                  <a:close/>
                  <a:moveTo>
                    <a:pt x="18898" y="886"/>
                  </a:moveTo>
                  <a:lnTo>
                    <a:pt x="18872" y="886"/>
                  </a:lnTo>
                  <a:lnTo>
                    <a:pt x="18902" y="886"/>
                  </a:lnTo>
                  <a:lnTo>
                    <a:pt x="18898" y="886"/>
                  </a:lnTo>
                  <a:lnTo>
                    <a:pt x="18898" y="886"/>
                  </a:lnTo>
                  <a:lnTo>
                    <a:pt x="18898" y="886"/>
                  </a:lnTo>
                  <a:close/>
                  <a:moveTo>
                    <a:pt x="18872" y="919"/>
                  </a:moveTo>
                  <a:lnTo>
                    <a:pt x="18796" y="903"/>
                  </a:lnTo>
                  <a:lnTo>
                    <a:pt x="18806" y="886"/>
                  </a:lnTo>
                  <a:lnTo>
                    <a:pt x="18898" y="891"/>
                  </a:lnTo>
                  <a:lnTo>
                    <a:pt x="18886" y="907"/>
                  </a:lnTo>
                  <a:lnTo>
                    <a:pt x="18886" y="891"/>
                  </a:lnTo>
                  <a:lnTo>
                    <a:pt x="18872" y="891"/>
                  </a:lnTo>
                  <a:lnTo>
                    <a:pt x="18872" y="903"/>
                  </a:lnTo>
                  <a:lnTo>
                    <a:pt x="18872" y="907"/>
                  </a:lnTo>
                  <a:lnTo>
                    <a:pt x="18872" y="919"/>
                  </a:lnTo>
                  <a:lnTo>
                    <a:pt x="18872" y="919"/>
                  </a:lnTo>
                  <a:lnTo>
                    <a:pt x="18872" y="919"/>
                  </a:lnTo>
                  <a:close/>
                  <a:moveTo>
                    <a:pt x="18758" y="891"/>
                  </a:moveTo>
                  <a:lnTo>
                    <a:pt x="18780" y="891"/>
                  </a:lnTo>
                  <a:lnTo>
                    <a:pt x="18763" y="903"/>
                  </a:lnTo>
                  <a:lnTo>
                    <a:pt x="18735" y="903"/>
                  </a:lnTo>
                  <a:lnTo>
                    <a:pt x="18763" y="903"/>
                  </a:lnTo>
                  <a:lnTo>
                    <a:pt x="18758" y="891"/>
                  </a:lnTo>
                  <a:lnTo>
                    <a:pt x="18758" y="891"/>
                  </a:lnTo>
                  <a:lnTo>
                    <a:pt x="18758" y="891"/>
                  </a:lnTo>
                  <a:close/>
                  <a:moveTo>
                    <a:pt x="18780" y="903"/>
                  </a:moveTo>
                  <a:lnTo>
                    <a:pt x="18789" y="907"/>
                  </a:lnTo>
                  <a:lnTo>
                    <a:pt x="18780" y="907"/>
                  </a:lnTo>
                  <a:lnTo>
                    <a:pt x="18780" y="903"/>
                  </a:lnTo>
                  <a:lnTo>
                    <a:pt x="18780" y="903"/>
                  </a:lnTo>
                  <a:lnTo>
                    <a:pt x="18780" y="903"/>
                  </a:lnTo>
                  <a:close/>
                  <a:moveTo>
                    <a:pt x="22105" y="1108"/>
                  </a:moveTo>
                  <a:lnTo>
                    <a:pt x="22072" y="1087"/>
                  </a:lnTo>
                  <a:lnTo>
                    <a:pt x="22098" y="1087"/>
                  </a:lnTo>
                  <a:lnTo>
                    <a:pt x="22089" y="1075"/>
                  </a:lnTo>
                  <a:lnTo>
                    <a:pt x="21938" y="1096"/>
                  </a:lnTo>
                  <a:lnTo>
                    <a:pt x="21909" y="1087"/>
                  </a:lnTo>
                  <a:lnTo>
                    <a:pt x="21900" y="1087"/>
                  </a:lnTo>
                  <a:lnTo>
                    <a:pt x="21905" y="1096"/>
                  </a:lnTo>
                  <a:lnTo>
                    <a:pt x="21900" y="1113"/>
                  </a:lnTo>
                  <a:lnTo>
                    <a:pt x="21867" y="1125"/>
                  </a:lnTo>
                  <a:lnTo>
                    <a:pt x="21791" y="1096"/>
                  </a:lnTo>
                  <a:lnTo>
                    <a:pt x="21782" y="1087"/>
                  </a:lnTo>
                  <a:lnTo>
                    <a:pt x="21737" y="1058"/>
                  </a:lnTo>
                  <a:lnTo>
                    <a:pt x="21711" y="1030"/>
                  </a:lnTo>
                  <a:lnTo>
                    <a:pt x="21749" y="1030"/>
                  </a:lnTo>
                  <a:lnTo>
                    <a:pt x="21749" y="1018"/>
                  </a:lnTo>
                  <a:lnTo>
                    <a:pt x="21737" y="1018"/>
                  </a:lnTo>
                  <a:lnTo>
                    <a:pt x="21744" y="985"/>
                  </a:lnTo>
                  <a:lnTo>
                    <a:pt x="21720" y="985"/>
                  </a:lnTo>
                  <a:lnTo>
                    <a:pt x="21737" y="981"/>
                  </a:lnTo>
                  <a:lnTo>
                    <a:pt x="21728" y="976"/>
                  </a:lnTo>
                  <a:lnTo>
                    <a:pt x="21737" y="964"/>
                  </a:lnTo>
                  <a:lnTo>
                    <a:pt x="21775" y="964"/>
                  </a:lnTo>
                  <a:lnTo>
                    <a:pt x="21749" y="943"/>
                  </a:lnTo>
                  <a:lnTo>
                    <a:pt x="21820" y="907"/>
                  </a:lnTo>
                  <a:lnTo>
                    <a:pt x="21829" y="924"/>
                  </a:lnTo>
                  <a:lnTo>
                    <a:pt x="21829" y="903"/>
                  </a:lnTo>
                  <a:lnTo>
                    <a:pt x="21850" y="903"/>
                  </a:lnTo>
                  <a:lnTo>
                    <a:pt x="21872" y="919"/>
                  </a:lnTo>
                  <a:lnTo>
                    <a:pt x="21921" y="931"/>
                  </a:lnTo>
                  <a:lnTo>
                    <a:pt x="21926" y="943"/>
                  </a:lnTo>
                  <a:lnTo>
                    <a:pt x="21921" y="947"/>
                  </a:lnTo>
                  <a:lnTo>
                    <a:pt x="21926" y="959"/>
                  </a:lnTo>
                  <a:lnTo>
                    <a:pt x="21964" y="964"/>
                  </a:lnTo>
                  <a:lnTo>
                    <a:pt x="21964" y="981"/>
                  </a:lnTo>
                  <a:lnTo>
                    <a:pt x="22009" y="981"/>
                  </a:lnTo>
                  <a:lnTo>
                    <a:pt x="21997" y="976"/>
                  </a:lnTo>
                  <a:lnTo>
                    <a:pt x="22009" y="924"/>
                  </a:lnTo>
                  <a:lnTo>
                    <a:pt x="22046" y="931"/>
                  </a:lnTo>
                  <a:lnTo>
                    <a:pt x="22030" y="903"/>
                  </a:lnTo>
                  <a:lnTo>
                    <a:pt x="22115" y="947"/>
                  </a:lnTo>
                  <a:lnTo>
                    <a:pt x="22207" y="959"/>
                  </a:lnTo>
                  <a:lnTo>
                    <a:pt x="22316" y="1002"/>
                  </a:lnTo>
                  <a:lnTo>
                    <a:pt x="22266" y="1014"/>
                  </a:lnTo>
                  <a:lnTo>
                    <a:pt x="22261" y="1030"/>
                  </a:lnTo>
                  <a:lnTo>
                    <a:pt x="22283" y="1035"/>
                  </a:lnTo>
                  <a:lnTo>
                    <a:pt x="22245" y="1070"/>
                  </a:lnTo>
                  <a:lnTo>
                    <a:pt x="22212" y="1075"/>
                  </a:lnTo>
                  <a:lnTo>
                    <a:pt x="22136" y="1058"/>
                  </a:lnTo>
                  <a:lnTo>
                    <a:pt x="22105" y="1030"/>
                  </a:lnTo>
                  <a:lnTo>
                    <a:pt x="22115" y="1014"/>
                  </a:lnTo>
                  <a:lnTo>
                    <a:pt x="22143" y="985"/>
                  </a:lnTo>
                  <a:lnTo>
                    <a:pt x="22143" y="981"/>
                  </a:lnTo>
                  <a:lnTo>
                    <a:pt x="22105" y="976"/>
                  </a:lnTo>
                  <a:lnTo>
                    <a:pt x="22084" y="985"/>
                  </a:lnTo>
                  <a:lnTo>
                    <a:pt x="22084" y="1018"/>
                  </a:lnTo>
                  <a:lnTo>
                    <a:pt x="22115" y="1058"/>
                  </a:lnTo>
                  <a:lnTo>
                    <a:pt x="22191" y="1087"/>
                  </a:lnTo>
                  <a:lnTo>
                    <a:pt x="22122" y="1092"/>
                  </a:lnTo>
                  <a:lnTo>
                    <a:pt x="22105" y="1108"/>
                  </a:lnTo>
                  <a:lnTo>
                    <a:pt x="22105" y="1108"/>
                  </a:lnTo>
                  <a:lnTo>
                    <a:pt x="22105" y="1108"/>
                  </a:lnTo>
                  <a:close/>
                  <a:moveTo>
                    <a:pt x="22816" y="907"/>
                  </a:moveTo>
                  <a:lnTo>
                    <a:pt x="22807" y="907"/>
                  </a:lnTo>
                  <a:lnTo>
                    <a:pt x="22833" y="907"/>
                  </a:lnTo>
                  <a:lnTo>
                    <a:pt x="22816" y="907"/>
                  </a:lnTo>
                  <a:lnTo>
                    <a:pt x="22816" y="907"/>
                  </a:lnTo>
                  <a:lnTo>
                    <a:pt x="22816" y="907"/>
                  </a:lnTo>
                  <a:close/>
                  <a:moveTo>
                    <a:pt x="16316" y="907"/>
                  </a:moveTo>
                  <a:lnTo>
                    <a:pt x="16361" y="903"/>
                  </a:lnTo>
                  <a:lnTo>
                    <a:pt x="16311" y="919"/>
                  </a:lnTo>
                  <a:lnTo>
                    <a:pt x="16316" y="907"/>
                  </a:lnTo>
                  <a:lnTo>
                    <a:pt x="16316" y="907"/>
                  </a:lnTo>
                  <a:lnTo>
                    <a:pt x="16316" y="907"/>
                  </a:lnTo>
                  <a:close/>
                  <a:moveTo>
                    <a:pt x="21997" y="924"/>
                  </a:moveTo>
                  <a:lnTo>
                    <a:pt x="21992" y="919"/>
                  </a:lnTo>
                  <a:lnTo>
                    <a:pt x="21997" y="907"/>
                  </a:lnTo>
                  <a:lnTo>
                    <a:pt x="22013" y="919"/>
                  </a:lnTo>
                  <a:lnTo>
                    <a:pt x="21997" y="924"/>
                  </a:lnTo>
                  <a:lnTo>
                    <a:pt x="21997" y="924"/>
                  </a:lnTo>
                  <a:lnTo>
                    <a:pt x="21997" y="924"/>
                  </a:lnTo>
                  <a:close/>
                  <a:moveTo>
                    <a:pt x="17932" y="943"/>
                  </a:moveTo>
                  <a:lnTo>
                    <a:pt x="17889" y="943"/>
                  </a:lnTo>
                  <a:lnTo>
                    <a:pt x="17953" y="943"/>
                  </a:lnTo>
                  <a:lnTo>
                    <a:pt x="17932" y="943"/>
                  </a:lnTo>
                  <a:lnTo>
                    <a:pt x="17932" y="943"/>
                  </a:lnTo>
                  <a:lnTo>
                    <a:pt x="17932" y="943"/>
                  </a:lnTo>
                  <a:close/>
                  <a:moveTo>
                    <a:pt x="16240" y="943"/>
                  </a:moveTo>
                  <a:lnTo>
                    <a:pt x="16273" y="931"/>
                  </a:lnTo>
                  <a:lnTo>
                    <a:pt x="16235" y="947"/>
                  </a:lnTo>
                  <a:lnTo>
                    <a:pt x="16240" y="943"/>
                  </a:lnTo>
                  <a:lnTo>
                    <a:pt x="16240" y="943"/>
                  </a:lnTo>
                  <a:lnTo>
                    <a:pt x="16240" y="943"/>
                  </a:lnTo>
                  <a:close/>
                  <a:moveTo>
                    <a:pt x="17839" y="943"/>
                  </a:moveTo>
                  <a:lnTo>
                    <a:pt x="17889" y="947"/>
                  </a:lnTo>
                  <a:lnTo>
                    <a:pt x="17835" y="943"/>
                  </a:lnTo>
                  <a:lnTo>
                    <a:pt x="17839" y="943"/>
                  </a:lnTo>
                  <a:lnTo>
                    <a:pt x="17839" y="943"/>
                  </a:lnTo>
                  <a:lnTo>
                    <a:pt x="17839" y="943"/>
                  </a:lnTo>
                  <a:close/>
                  <a:moveTo>
                    <a:pt x="16257" y="947"/>
                  </a:moveTo>
                  <a:lnTo>
                    <a:pt x="16273" y="943"/>
                  </a:lnTo>
                  <a:lnTo>
                    <a:pt x="16252" y="947"/>
                  </a:lnTo>
                  <a:lnTo>
                    <a:pt x="16257" y="947"/>
                  </a:lnTo>
                  <a:lnTo>
                    <a:pt x="16257" y="947"/>
                  </a:lnTo>
                  <a:lnTo>
                    <a:pt x="16257" y="947"/>
                  </a:lnTo>
                  <a:close/>
                  <a:moveTo>
                    <a:pt x="21614" y="1018"/>
                  </a:moveTo>
                  <a:lnTo>
                    <a:pt x="21631" y="997"/>
                  </a:lnTo>
                  <a:lnTo>
                    <a:pt x="21619" y="981"/>
                  </a:lnTo>
                  <a:lnTo>
                    <a:pt x="21635" y="959"/>
                  </a:lnTo>
                  <a:lnTo>
                    <a:pt x="21640" y="981"/>
                  </a:lnTo>
                  <a:lnTo>
                    <a:pt x="21668" y="985"/>
                  </a:lnTo>
                  <a:lnTo>
                    <a:pt x="21652" y="1002"/>
                  </a:lnTo>
                  <a:lnTo>
                    <a:pt x="21657" y="1014"/>
                  </a:lnTo>
                  <a:lnTo>
                    <a:pt x="21652" y="1018"/>
                  </a:lnTo>
                  <a:lnTo>
                    <a:pt x="21614" y="1018"/>
                  </a:lnTo>
                  <a:lnTo>
                    <a:pt x="21614" y="1018"/>
                  </a:lnTo>
                  <a:lnTo>
                    <a:pt x="21614" y="1018"/>
                  </a:lnTo>
                  <a:close/>
                  <a:moveTo>
                    <a:pt x="22391" y="985"/>
                  </a:moveTo>
                  <a:lnTo>
                    <a:pt x="22408" y="1002"/>
                  </a:lnTo>
                  <a:lnTo>
                    <a:pt x="22396" y="1014"/>
                  </a:lnTo>
                  <a:lnTo>
                    <a:pt x="22424" y="1030"/>
                  </a:lnTo>
                  <a:lnTo>
                    <a:pt x="22450" y="1030"/>
                  </a:lnTo>
                  <a:lnTo>
                    <a:pt x="22439" y="1030"/>
                  </a:lnTo>
                  <a:lnTo>
                    <a:pt x="22450" y="1014"/>
                  </a:lnTo>
                  <a:lnTo>
                    <a:pt x="22521" y="1018"/>
                  </a:lnTo>
                  <a:lnTo>
                    <a:pt x="22538" y="1018"/>
                  </a:lnTo>
                  <a:lnTo>
                    <a:pt x="22531" y="1035"/>
                  </a:lnTo>
                  <a:lnTo>
                    <a:pt x="22538" y="1042"/>
                  </a:lnTo>
                  <a:lnTo>
                    <a:pt x="22590" y="1035"/>
                  </a:lnTo>
                  <a:lnTo>
                    <a:pt x="22644" y="1042"/>
                  </a:lnTo>
                  <a:lnTo>
                    <a:pt x="22665" y="1070"/>
                  </a:lnTo>
                  <a:lnTo>
                    <a:pt x="22698" y="1058"/>
                  </a:lnTo>
                  <a:lnTo>
                    <a:pt x="22682" y="1075"/>
                  </a:lnTo>
                  <a:lnTo>
                    <a:pt x="22677" y="1092"/>
                  </a:lnTo>
                  <a:lnTo>
                    <a:pt x="22613" y="1113"/>
                  </a:lnTo>
                  <a:lnTo>
                    <a:pt x="22514" y="1108"/>
                  </a:lnTo>
                  <a:lnTo>
                    <a:pt x="22358" y="1042"/>
                  </a:lnTo>
                  <a:lnTo>
                    <a:pt x="22387" y="997"/>
                  </a:lnTo>
                  <a:lnTo>
                    <a:pt x="22391" y="985"/>
                  </a:lnTo>
                  <a:lnTo>
                    <a:pt x="22391" y="985"/>
                  </a:lnTo>
                  <a:lnTo>
                    <a:pt x="22391" y="985"/>
                  </a:lnTo>
                  <a:close/>
                  <a:moveTo>
                    <a:pt x="17877" y="1002"/>
                  </a:moveTo>
                  <a:lnTo>
                    <a:pt x="17872" y="1014"/>
                  </a:lnTo>
                  <a:lnTo>
                    <a:pt x="17889" y="1030"/>
                  </a:lnTo>
                  <a:lnTo>
                    <a:pt x="17872" y="1030"/>
                  </a:lnTo>
                  <a:lnTo>
                    <a:pt x="17872" y="1051"/>
                  </a:lnTo>
                  <a:lnTo>
                    <a:pt x="17856" y="1042"/>
                  </a:lnTo>
                  <a:lnTo>
                    <a:pt x="17856" y="1035"/>
                  </a:lnTo>
                  <a:lnTo>
                    <a:pt x="17844" y="1035"/>
                  </a:lnTo>
                  <a:lnTo>
                    <a:pt x="17835" y="1030"/>
                  </a:lnTo>
                  <a:lnTo>
                    <a:pt x="17877" y="1002"/>
                  </a:lnTo>
                  <a:lnTo>
                    <a:pt x="17877" y="1002"/>
                  </a:lnTo>
                  <a:lnTo>
                    <a:pt x="17877" y="1002"/>
                  </a:lnTo>
                  <a:close/>
                  <a:moveTo>
                    <a:pt x="18217" y="1075"/>
                  </a:moveTo>
                  <a:lnTo>
                    <a:pt x="18222" y="1087"/>
                  </a:lnTo>
                  <a:lnTo>
                    <a:pt x="18196" y="1092"/>
                  </a:lnTo>
                  <a:lnTo>
                    <a:pt x="18201" y="1096"/>
                  </a:lnTo>
                  <a:lnTo>
                    <a:pt x="18163" y="1092"/>
                  </a:lnTo>
                  <a:lnTo>
                    <a:pt x="18217" y="1075"/>
                  </a:lnTo>
                  <a:lnTo>
                    <a:pt x="18217" y="1075"/>
                  </a:lnTo>
                  <a:lnTo>
                    <a:pt x="18217" y="1075"/>
                  </a:lnTo>
                  <a:close/>
                  <a:moveTo>
                    <a:pt x="18109" y="1108"/>
                  </a:moveTo>
                  <a:lnTo>
                    <a:pt x="18125" y="1113"/>
                  </a:lnTo>
                  <a:lnTo>
                    <a:pt x="18087" y="1113"/>
                  </a:lnTo>
                  <a:lnTo>
                    <a:pt x="18109" y="1108"/>
                  </a:lnTo>
                  <a:lnTo>
                    <a:pt x="18109" y="1108"/>
                  </a:lnTo>
                  <a:lnTo>
                    <a:pt x="18109" y="1108"/>
                  </a:lnTo>
                  <a:close/>
                  <a:moveTo>
                    <a:pt x="17672" y="1129"/>
                  </a:moveTo>
                  <a:lnTo>
                    <a:pt x="17700" y="1129"/>
                  </a:lnTo>
                  <a:lnTo>
                    <a:pt x="17693" y="1146"/>
                  </a:lnTo>
                  <a:lnTo>
                    <a:pt x="17672" y="1129"/>
                  </a:lnTo>
                  <a:lnTo>
                    <a:pt x="17672" y="1129"/>
                  </a:lnTo>
                  <a:lnTo>
                    <a:pt x="17672" y="1129"/>
                  </a:lnTo>
                  <a:close/>
                  <a:moveTo>
                    <a:pt x="18125" y="1141"/>
                  </a:moveTo>
                  <a:lnTo>
                    <a:pt x="18104" y="1153"/>
                  </a:lnTo>
                  <a:lnTo>
                    <a:pt x="18087" y="1146"/>
                  </a:lnTo>
                  <a:lnTo>
                    <a:pt x="18125" y="1141"/>
                  </a:lnTo>
                  <a:lnTo>
                    <a:pt x="18125" y="1141"/>
                  </a:lnTo>
                  <a:lnTo>
                    <a:pt x="18125" y="1141"/>
                  </a:lnTo>
                  <a:close/>
                  <a:moveTo>
                    <a:pt x="18142" y="1153"/>
                  </a:moveTo>
                  <a:lnTo>
                    <a:pt x="18125" y="1153"/>
                  </a:lnTo>
                  <a:lnTo>
                    <a:pt x="18130" y="1141"/>
                  </a:lnTo>
                  <a:lnTo>
                    <a:pt x="18163" y="1146"/>
                  </a:lnTo>
                  <a:lnTo>
                    <a:pt x="18142" y="1153"/>
                  </a:lnTo>
                  <a:lnTo>
                    <a:pt x="18142" y="1153"/>
                  </a:lnTo>
                  <a:lnTo>
                    <a:pt x="18142" y="1153"/>
                  </a:lnTo>
                  <a:close/>
                  <a:moveTo>
                    <a:pt x="20020" y="1207"/>
                  </a:moveTo>
                  <a:lnTo>
                    <a:pt x="19982" y="1203"/>
                  </a:lnTo>
                  <a:lnTo>
                    <a:pt x="19930" y="1170"/>
                  </a:lnTo>
                  <a:lnTo>
                    <a:pt x="19961" y="1170"/>
                  </a:lnTo>
                  <a:lnTo>
                    <a:pt x="19977" y="1141"/>
                  </a:lnTo>
                  <a:lnTo>
                    <a:pt x="20069" y="1162"/>
                  </a:lnTo>
                  <a:lnTo>
                    <a:pt x="20053" y="1186"/>
                  </a:lnTo>
                  <a:lnTo>
                    <a:pt x="20020" y="1207"/>
                  </a:lnTo>
                  <a:lnTo>
                    <a:pt x="20020" y="1207"/>
                  </a:lnTo>
                  <a:lnTo>
                    <a:pt x="20020" y="1207"/>
                  </a:lnTo>
                  <a:close/>
                  <a:moveTo>
                    <a:pt x="18054" y="1146"/>
                  </a:moveTo>
                  <a:lnTo>
                    <a:pt x="18071" y="1153"/>
                  </a:lnTo>
                  <a:lnTo>
                    <a:pt x="18050" y="1153"/>
                  </a:lnTo>
                  <a:lnTo>
                    <a:pt x="18054" y="1162"/>
                  </a:lnTo>
                  <a:lnTo>
                    <a:pt x="18033" y="1153"/>
                  </a:lnTo>
                  <a:lnTo>
                    <a:pt x="18054" y="1146"/>
                  </a:lnTo>
                  <a:lnTo>
                    <a:pt x="18054" y="1146"/>
                  </a:lnTo>
                  <a:lnTo>
                    <a:pt x="18054" y="1146"/>
                  </a:lnTo>
                  <a:close/>
                  <a:moveTo>
                    <a:pt x="20246" y="1179"/>
                  </a:moveTo>
                  <a:lnTo>
                    <a:pt x="20246" y="1162"/>
                  </a:lnTo>
                  <a:lnTo>
                    <a:pt x="20263" y="1179"/>
                  </a:lnTo>
                  <a:lnTo>
                    <a:pt x="20246" y="1179"/>
                  </a:lnTo>
                  <a:lnTo>
                    <a:pt x="20246" y="1179"/>
                  </a:lnTo>
                  <a:lnTo>
                    <a:pt x="20246" y="1179"/>
                  </a:lnTo>
                  <a:close/>
                  <a:moveTo>
                    <a:pt x="21964" y="1236"/>
                  </a:moveTo>
                  <a:lnTo>
                    <a:pt x="21942" y="1219"/>
                  </a:lnTo>
                  <a:lnTo>
                    <a:pt x="21942" y="1195"/>
                  </a:lnTo>
                  <a:lnTo>
                    <a:pt x="21980" y="1179"/>
                  </a:lnTo>
                  <a:lnTo>
                    <a:pt x="22013" y="1195"/>
                  </a:lnTo>
                  <a:lnTo>
                    <a:pt x="22009" y="1219"/>
                  </a:lnTo>
                  <a:lnTo>
                    <a:pt x="21964" y="1236"/>
                  </a:lnTo>
                  <a:lnTo>
                    <a:pt x="21964" y="1236"/>
                  </a:lnTo>
                  <a:lnTo>
                    <a:pt x="21964" y="1236"/>
                  </a:lnTo>
                  <a:close/>
                  <a:moveTo>
                    <a:pt x="21614" y="1186"/>
                  </a:moveTo>
                  <a:lnTo>
                    <a:pt x="21657" y="1207"/>
                  </a:lnTo>
                  <a:lnTo>
                    <a:pt x="21673" y="1224"/>
                  </a:lnTo>
                  <a:lnTo>
                    <a:pt x="21657" y="1236"/>
                  </a:lnTo>
                  <a:lnTo>
                    <a:pt x="21614" y="1195"/>
                  </a:lnTo>
                  <a:lnTo>
                    <a:pt x="21614" y="1186"/>
                  </a:lnTo>
                  <a:lnTo>
                    <a:pt x="21614" y="1186"/>
                  </a:lnTo>
                  <a:lnTo>
                    <a:pt x="21614" y="1186"/>
                  </a:lnTo>
                  <a:close/>
                  <a:moveTo>
                    <a:pt x="18125" y="1195"/>
                  </a:moveTo>
                  <a:lnTo>
                    <a:pt x="18109" y="1203"/>
                  </a:lnTo>
                  <a:lnTo>
                    <a:pt x="18116" y="1195"/>
                  </a:lnTo>
                  <a:lnTo>
                    <a:pt x="18104" y="1195"/>
                  </a:lnTo>
                  <a:lnTo>
                    <a:pt x="18125" y="1195"/>
                  </a:lnTo>
                  <a:lnTo>
                    <a:pt x="18125" y="1195"/>
                  </a:lnTo>
                  <a:lnTo>
                    <a:pt x="18125" y="1195"/>
                  </a:lnTo>
                  <a:close/>
                  <a:moveTo>
                    <a:pt x="17910" y="1195"/>
                  </a:moveTo>
                  <a:lnTo>
                    <a:pt x="17915" y="1203"/>
                  </a:lnTo>
                  <a:lnTo>
                    <a:pt x="17889" y="1203"/>
                  </a:lnTo>
                  <a:lnTo>
                    <a:pt x="17910" y="1195"/>
                  </a:lnTo>
                  <a:lnTo>
                    <a:pt x="17910" y="1195"/>
                  </a:lnTo>
                  <a:lnTo>
                    <a:pt x="17910" y="1195"/>
                  </a:lnTo>
                  <a:close/>
                  <a:moveTo>
                    <a:pt x="17927" y="1207"/>
                  </a:moveTo>
                  <a:lnTo>
                    <a:pt x="17948" y="1195"/>
                  </a:lnTo>
                  <a:lnTo>
                    <a:pt x="17979" y="1207"/>
                  </a:lnTo>
                  <a:lnTo>
                    <a:pt x="17927" y="1207"/>
                  </a:lnTo>
                  <a:lnTo>
                    <a:pt x="17927" y="1207"/>
                  </a:lnTo>
                  <a:lnTo>
                    <a:pt x="17927" y="1207"/>
                  </a:lnTo>
                  <a:close/>
                  <a:moveTo>
                    <a:pt x="18002" y="1219"/>
                  </a:moveTo>
                  <a:lnTo>
                    <a:pt x="18033" y="1207"/>
                  </a:lnTo>
                  <a:lnTo>
                    <a:pt x="18033" y="1224"/>
                  </a:lnTo>
                  <a:lnTo>
                    <a:pt x="18002" y="1219"/>
                  </a:lnTo>
                  <a:lnTo>
                    <a:pt x="18002" y="1219"/>
                  </a:lnTo>
                  <a:lnTo>
                    <a:pt x="18002" y="1219"/>
                  </a:lnTo>
                  <a:close/>
                  <a:moveTo>
                    <a:pt x="20846" y="1240"/>
                  </a:moveTo>
                  <a:lnTo>
                    <a:pt x="20830" y="1236"/>
                  </a:lnTo>
                  <a:lnTo>
                    <a:pt x="20858" y="1236"/>
                  </a:lnTo>
                  <a:lnTo>
                    <a:pt x="20846" y="1240"/>
                  </a:lnTo>
                  <a:lnTo>
                    <a:pt x="20846" y="1240"/>
                  </a:lnTo>
                  <a:lnTo>
                    <a:pt x="20846" y="1240"/>
                  </a:lnTo>
                  <a:close/>
                  <a:moveTo>
                    <a:pt x="22013" y="1236"/>
                  </a:moveTo>
                  <a:lnTo>
                    <a:pt x="22072" y="1236"/>
                  </a:lnTo>
                  <a:lnTo>
                    <a:pt x="22115" y="1240"/>
                  </a:lnTo>
                  <a:lnTo>
                    <a:pt x="22174" y="1290"/>
                  </a:lnTo>
                  <a:lnTo>
                    <a:pt x="22181" y="1297"/>
                  </a:lnTo>
                  <a:lnTo>
                    <a:pt x="22174" y="1307"/>
                  </a:lnTo>
                  <a:lnTo>
                    <a:pt x="22181" y="1330"/>
                  </a:lnTo>
                  <a:lnTo>
                    <a:pt x="22098" y="1318"/>
                  </a:lnTo>
                  <a:lnTo>
                    <a:pt x="21992" y="1297"/>
                  </a:lnTo>
                  <a:lnTo>
                    <a:pt x="21926" y="1314"/>
                  </a:lnTo>
                  <a:lnTo>
                    <a:pt x="21909" y="1307"/>
                  </a:lnTo>
                  <a:lnTo>
                    <a:pt x="21964" y="1290"/>
                  </a:lnTo>
                  <a:lnTo>
                    <a:pt x="22013" y="1236"/>
                  </a:lnTo>
                  <a:lnTo>
                    <a:pt x="22013" y="1236"/>
                  </a:lnTo>
                  <a:lnTo>
                    <a:pt x="22013" y="1236"/>
                  </a:lnTo>
                  <a:close/>
                  <a:moveTo>
                    <a:pt x="20776" y="1330"/>
                  </a:moveTo>
                  <a:lnTo>
                    <a:pt x="20754" y="1307"/>
                  </a:lnTo>
                  <a:lnTo>
                    <a:pt x="20754" y="1281"/>
                  </a:lnTo>
                  <a:lnTo>
                    <a:pt x="20771" y="1264"/>
                  </a:lnTo>
                  <a:lnTo>
                    <a:pt x="20809" y="1273"/>
                  </a:lnTo>
                  <a:lnTo>
                    <a:pt x="20804" y="1252"/>
                  </a:lnTo>
                  <a:lnTo>
                    <a:pt x="20820" y="1264"/>
                  </a:lnTo>
                  <a:lnTo>
                    <a:pt x="20842" y="1252"/>
                  </a:lnTo>
                  <a:lnTo>
                    <a:pt x="20880" y="1273"/>
                  </a:lnTo>
                  <a:lnTo>
                    <a:pt x="20896" y="1264"/>
                  </a:lnTo>
                  <a:lnTo>
                    <a:pt x="20901" y="1281"/>
                  </a:lnTo>
                  <a:lnTo>
                    <a:pt x="20927" y="1281"/>
                  </a:lnTo>
                  <a:lnTo>
                    <a:pt x="20917" y="1297"/>
                  </a:lnTo>
                  <a:lnTo>
                    <a:pt x="20917" y="1307"/>
                  </a:lnTo>
                  <a:lnTo>
                    <a:pt x="20972" y="1281"/>
                  </a:lnTo>
                  <a:lnTo>
                    <a:pt x="20981" y="1290"/>
                  </a:lnTo>
                  <a:lnTo>
                    <a:pt x="20965" y="1307"/>
                  </a:lnTo>
                  <a:lnTo>
                    <a:pt x="20988" y="1307"/>
                  </a:lnTo>
                  <a:lnTo>
                    <a:pt x="21002" y="1347"/>
                  </a:lnTo>
                  <a:lnTo>
                    <a:pt x="20972" y="1375"/>
                  </a:lnTo>
                  <a:lnTo>
                    <a:pt x="20981" y="1384"/>
                  </a:lnTo>
                  <a:lnTo>
                    <a:pt x="20972" y="1425"/>
                  </a:lnTo>
                  <a:lnTo>
                    <a:pt x="20981" y="1441"/>
                  </a:lnTo>
                  <a:lnTo>
                    <a:pt x="20965" y="1458"/>
                  </a:lnTo>
                  <a:lnTo>
                    <a:pt x="20863" y="1401"/>
                  </a:lnTo>
                  <a:lnTo>
                    <a:pt x="20700" y="1363"/>
                  </a:lnTo>
                  <a:lnTo>
                    <a:pt x="20717" y="1351"/>
                  </a:lnTo>
                  <a:lnTo>
                    <a:pt x="20754" y="1368"/>
                  </a:lnTo>
                  <a:lnTo>
                    <a:pt x="20766" y="1363"/>
                  </a:lnTo>
                  <a:lnTo>
                    <a:pt x="20771" y="1335"/>
                  </a:lnTo>
                  <a:lnTo>
                    <a:pt x="20787" y="1330"/>
                  </a:lnTo>
                  <a:lnTo>
                    <a:pt x="20776" y="1330"/>
                  </a:lnTo>
                  <a:lnTo>
                    <a:pt x="20776" y="1330"/>
                  </a:lnTo>
                  <a:lnTo>
                    <a:pt x="20776" y="1330"/>
                  </a:lnTo>
                  <a:close/>
                  <a:moveTo>
                    <a:pt x="18213" y="1264"/>
                  </a:moveTo>
                  <a:lnTo>
                    <a:pt x="18201" y="1273"/>
                  </a:lnTo>
                  <a:lnTo>
                    <a:pt x="18168" y="1273"/>
                  </a:lnTo>
                  <a:lnTo>
                    <a:pt x="18213" y="1264"/>
                  </a:lnTo>
                  <a:lnTo>
                    <a:pt x="18213" y="1264"/>
                  </a:lnTo>
                  <a:lnTo>
                    <a:pt x="18213" y="1264"/>
                  </a:lnTo>
                  <a:close/>
                  <a:moveTo>
                    <a:pt x="17747" y="1290"/>
                  </a:moveTo>
                  <a:lnTo>
                    <a:pt x="17731" y="1281"/>
                  </a:lnTo>
                  <a:lnTo>
                    <a:pt x="17752" y="1281"/>
                  </a:lnTo>
                  <a:lnTo>
                    <a:pt x="17747" y="1290"/>
                  </a:lnTo>
                  <a:lnTo>
                    <a:pt x="17747" y="1290"/>
                  </a:lnTo>
                  <a:lnTo>
                    <a:pt x="17747" y="1290"/>
                  </a:lnTo>
                  <a:close/>
                  <a:moveTo>
                    <a:pt x="17402" y="1297"/>
                  </a:moveTo>
                  <a:lnTo>
                    <a:pt x="17412" y="1281"/>
                  </a:lnTo>
                  <a:lnTo>
                    <a:pt x="17457" y="1281"/>
                  </a:lnTo>
                  <a:lnTo>
                    <a:pt x="17440" y="1297"/>
                  </a:lnTo>
                  <a:lnTo>
                    <a:pt x="17407" y="1297"/>
                  </a:lnTo>
                  <a:lnTo>
                    <a:pt x="17412" y="1290"/>
                  </a:lnTo>
                  <a:lnTo>
                    <a:pt x="17402" y="1297"/>
                  </a:lnTo>
                  <a:lnTo>
                    <a:pt x="17402" y="1297"/>
                  </a:lnTo>
                  <a:lnTo>
                    <a:pt x="17402" y="1297"/>
                  </a:lnTo>
                  <a:close/>
                  <a:moveTo>
                    <a:pt x="21002" y="1347"/>
                  </a:moveTo>
                  <a:lnTo>
                    <a:pt x="21002" y="1335"/>
                  </a:lnTo>
                  <a:lnTo>
                    <a:pt x="20993" y="1318"/>
                  </a:lnTo>
                  <a:lnTo>
                    <a:pt x="20993" y="1307"/>
                  </a:lnTo>
                  <a:lnTo>
                    <a:pt x="21002" y="1297"/>
                  </a:lnTo>
                  <a:lnTo>
                    <a:pt x="21009" y="1307"/>
                  </a:lnTo>
                  <a:lnTo>
                    <a:pt x="21019" y="1290"/>
                  </a:lnTo>
                  <a:lnTo>
                    <a:pt x="21009" y="1290"/>
                  </a:lnTo>
                  <a:lnTo>
                    <a:pt x="21026" y="1281"/>
                  </a:lnTo>
                  <a:lnTo>
                    <a:pt x="21090" y="1290"/>
                  </a:lnTo>
                  <a:lnTo>
                    <a:pt x="21094" y="1307"/>
                  </a:lnTo>
                  <a:lnTo>
                    <a:pt x="21116" y="1314"/>
                  </a:lnTo>
                  <a:lnTo>
                    <a:pt x="21111" y="1318"/>
                  </a:lnTo>
                  <a:lnTo>
                    <a:pt x="21154" y="1335"/>
                  </a:lnTo>
                  <a:lnTo>
                    <a:pt x="21149" y="1351"/>
                  </a:lnTo>
                  <a:lnTo>
                    <a:pt x="21170" y="1347"/>
                  </a:lnTo>
                  <a:lnTo>
                    <a:pt x="21154" y="1363"/>
                  </a:lnTo>
                  <a:lnTo>
                    <a:pt x="21111" y="1368"/>
                  </a:lnTo>
                  <a:lnTo>
                    <a:pt x="21111" y="1384"/>
                  </a:lnTo>
                  <a:lnTo>
                    <a:pt x="20993" y="1425"/>
                  </a:lnTo>
                  <a:lnTo>
                    <a:pt x="20988" y="1429"/>
                  </a:lnTo>
                  <a:lnTo>
                    <a:pt x="20993" y="1441"/>
                  </a:lnTo>
                  <a:lnTo>
                    <a:pt x="20972" y="1425"/>
                  </a:lnTo>
                  <a:lnTo>
                    <a:pt x="20981" y="1401"/>
                  </a:lnTo>
                  <a:lnTo>
                    <a:pt x="20988" y="1384"/>
                  </a:lnTo>
                  <a:lnTo>
                    <a:pt x="20981" y="1368"/>
                  </a:lnTo>
                  <a:lnTo>
                    <a:pt x="21002" y="1347"/>
                  </a:lnTo>
                  <a:lnTo>
                    <a:pt x="21002" y="1347"/>
                  </a:lnTo>
                  <a:lnTo>
                    <a:pt x="21002" y="1347"/>
                  </a:lnTo>
                  <a:close/>
                  <a:moveTo>
                    <a:pt x="17013" y="1351"/>
                  </a:moveTo>
                  <a:lnTo>
                    <a:pt x="17029" y="1330"/>
                  </a:lnTo>
                  <a:lnTo>
                    <a:pt x="17024" y="1307"/>
                  </a:lnTo>
                  <a:lnTo>
                    <a:pt x="17062" y="1290"/>
                  </a:lnTo>
                  <a:lnTo>
                    <a:pt x="17117" y="1297"/>
                  </a:lnTo>
                  <a:lnTo>
                    <a:pt x="17088" y="1318"/>
                  </a:lnTo>
                  <a:lnTo>
                    <a:pt x="17133" y="1314"/>
                  </a:lnTo>
                  <a:lnTo>
                    <a:pt x="17143" y="1330"/>
                  </a:lnTo>
                  <a:lnTo>
                    <a:pt x="17050" y="1351"/>
                  </a:lnTo>
                  <a:lnTo>
                    <a:pt x="17013" y="1351"/>
                  </a:lnTo>
                  <a:lnTo>
                    <a:pt x="17013" y="1351"/>
                  </a:lnTo>
                  <a:lnTo>
                    <a:pt x="17013" y="1351"/>
                  </a:lnTo>
                  <a:close/>
                  <a:moveTo>
                    <a:pt x="16134" y="1684"/>
                  </a:moveTo>
                  <a:lnTo>
                    <a:pt x="16089" y="1680"/>
                  </a:lnTo>
                  <a:lnTo>
                    <a:pt x="16080" y="1668"/>
                  </a:lnTo>
                  <a:lnTo>
                    <a:pt x="16080" y="1663"/>
                  </a:lnTo>
                  <a:lnTo>
                    <a:pt x="16058" y="1668"/>
                  </a:lnTo>
                  <a:lnTo>
                    <a:pt x="16075" y="1668"/>
                  </a:lnTo>
                  <a:lnTo>
                    <a:pt x="16089" y="1684"/>
                  </a:lnTo>
                  <a:lnTo>
                    <a:pt x="16075" y="1684"/>
                  </a:lnTo>
                  <a:lnTo>
                    <a:pt x="16063" y="1684"/>
                  </a:lnTo>
                  <a:lnTo>
                    <a:pt x="16080" y="1684"/>
                  </a:lnTo>
                  <a:lnTo>
                    <a:pt x="16037" y="1668"/>
                  </a:lnTo>
                  <a:lnTo>
                    <a:pt x="16047" y="1684"/>
                  </a:lnTo>
                  <a:lnTo>
                    <a:pt x="16037" y="1684"/>
                  </a:lnTo>
                  <a:lnTo>
                    <a:pt x="16021" y="1680"/>
                  </a:lnTo>
                  <a:lnTo>
                    <a:pt x="16025" y="1668"/>
                  </a:lnTo>
                  <a:lnTo>
                    <a:pt x="16004" y="1663"/>
                  </a:lnTo>
                  <a:lnTo>
                    <a:pt x="15983" y="1684"/>
                  </a:lnTo>
                  <a:lnTo>
                    <a:pt x="15938" y="1656"/>
                  </a:lnTo>
                  <a:lnTo>
                    <a:pt x="15933" y="1663"/>
                  </a:lnTo>
                  <a:lnTo>
                    <a:pt x="15954" y="1668"/>
                  </a:lnTo>
                  <a:lnTo>
                    <a:pt x="15928" y="1656"/>
                  </a:lnTo>
                  <a:lnTo>
                    <a:pt x="15862" y="1656"/>
                  </a:lnTo>
                  <a:lnTo>
                    <a:pt x="15858" y="1647"/>
                  </a:lnTo>
                  <a:lnTo>
                    <a:pt x="15879" y="1647"/>
                  </a:lnTo>
                  <a:lnTo>
                    <a:pt x="15886" y="1640"/>
                  </a:lnTo>
                  <a:lnTo>
                    <a:pt x="15862" y="1614"/>
                  </a:lnTo>
                  <a:lnTo>
                    <a:pt x="15917" y="1607"/>
                  </a:lnTo>
                  <a:lnTo>
                    <a:pt x="15862" y="1602"/>
                  </a:lnTo>
                  <a:lnTo>
                    <a:pt x="15862" y="1590"/>
                  </a:lnTo>
                  <a:lnTo>
                    <a:pt x="15879" y="1573"/>
                  </a:lnTo>
                  <a:lnTo>
                    <a:pt x="15895" y="1569"/>
                  </a:lnTo>
                  <a:lnTo>
                    <a:pt x="15862" y="1590"/>
                  </a:lnTo>
                  <a:lnTo>
                    <a:pt x="15848" y="1569"/>
                  </a:lnTo>
                  <a:lnTo>
                    <a:pt x="15862" y="1557"/>
                  </a:lnTo>
                  <a:lnTo>
                    <a:pt x="15858" y="1552"/>
                  </a:lnTo>
                  <a:lnTo>
                    <a:pt x="15824" y="1573"/>
                  </a:lnTo>
                  <a:lnTo>
                    <a:pt x="15803" y="1557"/>
                  </a:lnTo>
                  <a:lnTo>
                    <a:pt x="15803" y="1552"/>
                  </a:lnTo>
                  <a:lnTo>
                    <a:pt x="15787" y="1569"/>
                  </a:lnTo>
                  <a:lnTo>
                    <a:pt x="15777" y="1552"/>
                  </a:lnTo>
                  <a:lnTo>
                    <a:pt x="15772" y="1557"/>
                  </a:lnTo>
                  <a:lnTo>
                    <a:pt x="15777" y="1557"/>
                  </a:lnTo>
                  <a:lnTo>
                    <a:pt x="15749" y="1569"/>
                  </a:lnTo>
                  <a:lnTo>
                    <a:pt x="15735" y="1552"/>
                  </a:lnTo>
                  <a:lnTo>
                    <a:pt x="15718" y="1512"/>
                  </a:lnTo>
                  <a:lnTo>
                    <a:pt x="15735" y="1491"/>
                  </a:lnTo>
                  <a:lnTo>
                    <a:pt x="15749" y="1474"/>
                  </a:lnTo>
                  <a:lnTo>
                    <a:pt x="15787" y="1491"/>
                  </a:lnTo>
                  <a:lnTo>
                    <a:pt x="15787" y="1462"/>
                  </a:lnTo>
                  <a:lnTo>
                    <a:pt x="15820" y="1446"/>
                  </a:lnTo>
                  <a:lnTo>
                    <a:pt x="15810" y="1429"/>
                  </a:lnTo>
                  <a:lnTo>
                    <a:pt x="15841" y="1418"/>
                  </a:lnTo>
                  <a:lnTo>
                    <a:pt x="15810" y="1418"/>
                  </a:lnTo>
                  <a:lnTo>
                    <a:pt x="15820" y="1408"/>
                  </a:lnTo>
                  <a:lnTo>
                    <a:pt x="15848" y="1408"/>
                  </a:lnTo>
                  <a:lnTo>
                    <a:pt x="15787" y="1392"/>
                  </a:lnTo>
                  <a:lnTo>
                    <a:pt x="15832" y="1368"/>
                  </a:lnTo>
                  <a:lnTo>
                    <a:pt x="15858" y="1375"/>
                  </a:lnTo>
                  <a:lnTo>
                    <a:pt x="15841" y="1363"/>
                  </a:lnTo>
                  <a:lnTo>
                    <a:pt x="15858" y="1363"/>
                  </a:lnTo>
                  <a:lnTo>
                    <a:pt x="15841" y="1347"/>
                  </a:lnTo>
                  <a:lnTo>
                    <a:pt x="15858" y="1330"/>
                  </a:lnTo>
                  <a:lnTo>
                    <a:pt x="15886" y="1314"/>
                  </a:lnTo>
                  <a:lnTo>
                    <a:pt x="15917" y="1318"/>
                  </a:lnTo>
                  <a:lnTo>
                    <a:pt x="15966" y="1297"/>
                  </a:lnTo>
                  <a:lnTo>
                    <a:pt x="16075" y="1330"/>
                  </a:lnTo>
                  <a:lnTo>
                    <a:pt x="16080" y="1335"/>
                  </a:lnTo>
                  <a:lnTo>
                    <a:pt x="16025" y="1351"/>
                  </a:lnTo>
                  <a:lnTo>
                    <a:pt x="16075" y="1351"/>
                  </a:lnTo>
                  <a:lnTo>
                    <a:pt x="16063" y="1363"/>
                  </a:lnTo>
                  <a:lnTo>
                    <a:pt x="16021" y="1363"/>
                  </a:lnTo>
                  <a:lnTo>
                    <a:pt x="16058" y="1363"/>
                  </a:lnTo>
                  <a:lnTo>
                    <a:pt x="16047" y="1384"/>
                  </a:lnTo>
                  <a:lnTo>
                    <a:pt x="16004" y="1384"/>
                  </a:lnTo>
                  <a:lnTo>
                    <a:pt x="16042" y="1401"/>
                  </a:lnTo>
                  <a:lnTo>
                    <a:pt x="16025" y="1408"/>
                  </a:lnTo>
                  <a:lnTo>
                    <a:pt x="16021" y="1425"/>
                  </a:lnTo>
                  <a:lnTo>
                    <a:pt x="15987" y="1418"/>
                  </a:lnTo>
                  <a:lnTo>
                    <a:pt x="16009" y="1425"/>
                  </a:lnTo>
                  <a:lnTo>
                    <a:pt x="15983" y="1429"/>
                  </a:lnTo>
                  <a:lnTo>
                    <a:pt x="16004" y="1429"/>
                  </a:lnTo>
                  <a:lnTo>
                    <a:pt x="16004" y="1458"/>
                  </a:lnTo>
                  <a:lnTo>
                    <a:pt x="16009" y="1474"/>
                  </a:lnTo>
                  <a:lnTo>
                    <a:pt x="15987" y="1503"/>
                  </a:lnTo>
                  <a:lnTo>
                    <a:pt x="16009" y="1512"/>
                  </a:lnTo>
                  <a:lnTo>
                    <a:pt x="16021" y="1545"/>
                  </a:lnTo>
                  <a:lnTo>
                    <a:pt x="16058" y="1602"/>
                  </a:lnTo>
                  <a:lnTo>
                    <a:pt x="16117" y="1647"/>
                  </a:lnTo>
                  <a:lnTo>
                    <a:pt x="16155" y="1663"/>
                  </a:lnTo>
                  <a:lnTo>
                    <a:pt x="16143" y="1680"/>
                  </a:lnTo>
                  <a:lnTo>
                    <a:pt x="16096" y="1668"/>
                  </a:lnTo>
                  <a:lnTo>
                    <a:pt x="16134" y="1684"/>
                  </a:lnTo>
                  <a:lnTo>
                    <a:pt x="16134" y="1684"/>
                  </a:lnTo>
                  <a:lnTo>
                    <a:pt x="16134" y="1684"/>
                  </a:lnTo>
                  <a:close/>
                  <a:moveTo>
                    <a:pt x="17105" y="1314"/>
                  </a:moveTo>
                  <a:lnTo>
                    <a:pt x="17121" y="1307"/>
                  </a:lnTo>
                  <a:lnTo>
                    <a:pt x="17105" y="1318"/>
                  </a:lnTo>
                  <a:lnTo>
                    <a:pt x="17105" y="1314"/>
                  </a:lnTo>
                  <a:lnTo>
                    <a:pt x="17105" y="1314"/>
                  </a:lnTo>
                  <a:lnTo>
                    <a:pt x="17105" y="1314"/>
                  </a:lnTo>
                  <a:close/>
                  <a:moveTo>
                    <a:pt x="17461" y="1335"/>
                  </a:moveTo>
                  <a:lnTo>
                    <a:pt x="17457" y="1330"/>
                  </a:lnTo>
                  <a:lnTo>
                    <a:pt x="17499" y="1335"/>
                  </a:lnTo>
                  <a:lnTo>
                    <a:pt x="17461" y="1335"/>
                  </a:lnTo>
                  <a:lnTo>
                    <a:pt x="17461" y="1335"/>
                  </a:lnTo>
                  <a:lnTo>
                    <a:pt x="17461" y="1335"/>
                  </a:lnTo>
                  <a:close/>
                  <a:moveTo>
                    <a:pt x="20535" y="1351"/>
                  </a:moveTo>
                  <a:lnTo>
                    <a:pt x="20506" y="1347"/>
                  </a:lnTo>
                  <a:lnTo>
                    <a:pt x="20523" y="1335"/>
                  </a:lnTo>
                  <a:lnTo>
                    <a:pt x="20549" y="1347"/>
                  </a:lnTo>
                  <a:lnTo>
                    <a:pt x="20535" y="1351"/>
                  </a:lnTo>
                  <a:lnTo>
                    <a:pt x="20535" y="1351"/>
                  </a:lnTo>
                  <a:lnTo>
                    <a:pt x="20535" y="1351"/>
                  </a:lnTo>
                  <a:close/>
                  <a:moveTo>
                    <a:pt x="17315" y="1351"/>
                  </a:moveTo>
                  <a:lnTo>
                    <a:pt x="17336" y="1335"/>
                  </a:lnTo>
                  <a:lnTo>
                    <a:pt x="17369" y="1351"/>
                  </a:lnTo>
                  <a:lnTo>
                    <a:pt x="17353" y="1347"/>
                  </a:lnTo>
                  <a:lnTo>
                    <a:pt x="17353" y="1375"/>
                  </a:lnTo>
                  <a:lnTo>
                    <a:pt x="17315" y="1351"/>
                  </a:lnTo>
                  <a:lnTo>
                    <a:pt x="17315" y="1351"/>
                  </a:lnTo>
                  <a:lnTo>
                    <a:pt x="17315" y="1351"/>
                  </a:lnTo>
                  <a:close/>
                  <a:moveTo>
                    <a:pt x="17629" y="1368"/>
                  </a:moveTo>
                  <a:lnTo>
                    <a:pt x="17672" y="1347"/>
                  </a:lnTo>
                  <a:lnTo>
                    <a:pt x="17693" y="1368"/>
                  </a:lnTo>
                  <a:lnTo>
                    <a:pt x="17693" y="1392"/>
                  </a:lnTo>
                  <a:lnTo>
                    <a:pt x="17683" y="1401"/>
                  </a:lnTo>
                  <a:lnTo>
                    <a:pt x="17629" y="1384"/>
                  </a:lnTo>
                  <a:lnTo>
                    <a:pt x="17629" y="1368"/>
                  </a:lnTo>
                  <a:lnTo>
                    <a:pt x="17629" y="1368"/>
                  </a:lnTo>
                  <a:lnTo>
                    <a:pt x="17629" y="1368"/>
                  </a:lnTo>
                  <a:close/>
                  <a:moveTo>
                    <a:pt x="20695" y="1368"/>
                  </a:moveTo>
                  <a:lnTo>
                    <a:pt x="20787" y="1392"/>
                  </a:lnTo>
                  <a:lnTo>
                    <a:pt x="20724" y="1384"/>
                  </a:lnTo>
                  <a:lnTo>
                    <a:pt x="20695" y="1368"/>
                  </a:lnTo>
                  <a:lnTo>
                    <a:pt x="20695" y="1368"/>
                  </a:lnTo>
                  <a:lnTo>
                    <a:pt x="20695" y="1368"/>
                  </a:lnTo>
                  <a:close/>
                  <a:moveTo>
                    <a:pt x="21170" y="1384"/>
                  </a:moveTo>
                  <a:lnTo>
                    <a:pt x="21111" y="1375"/>
                  </a:lnTo>
                  <a:lnTo>
                    <a:pt x="21149" y="1375"/>
                  </a:lnTo>
                  <a:lnTo>
                    <a:pt x="21182" y="1384"/>
                  </a:lnTo>
                  <a:lnTo>
                    <a:pt x="21170" y="1384"/>
                  </a:lnTo>
                  <a:lnTo>
                    <a:pt x="21170" y="1384"/>
                  </a:lnTo>
                  <a:lnTo>
                    <a:pt x="21170" y="1384"/>
                  </a:lnTo>
                  <a:close/>
                  <a:moveTo>
                    <a:pt x="21040" y="1408"/>
                  </a:moveTo>
                  <a:lnTo>
                    <a:pt x="21111" y="1384"/>
                  </a:lnTo>
                  <a:lnTo>
                    <a:pt x="21187" y="1401"/>
                  </a:lnTo>
                  <a:lnTo>
                    <a:pt x="21040" y="1408"/>
                  </a:lnTo>
                  <a:lnTo>
                    <a:pt x="21040" y="1408"/>
                  </a:lnTo>
                  <a:lnTo>
                    <a:pt x="21040" y="1408"/>
                  </a:lnTo>
                  <a:close/>
                  <a:moveTo>
                    <a:pt x="17223" y="1401"/>
                  </a:moveTo>
                  <a:lnTo>
                    <a:pt x="17239" y="1401"/>
                  </a:lnTo>
                  <a:lnTo>
                    <a:pt x="17239" y="1408"/>
                  </a:lnTo>
                  <a:lnTo>
                    <a:pt x="17223" y="1401"/>
                  </a:lnTo>
                  <a:lnTo>
                    <a:pt x="17223" y="1401"/>
                  </a:lnTo>
                  <a:lnTo>
                    <a:pt x="17223" y="1401"/>
                  </a:lnTo>
                  <a:close/>
                  <a:moveTo>
                    <a:pt x="21102" y="1408"/>
                  </a:moveTo>
                  <a:lnTo>
                    <a:pt x="21144" y="1401"/>
                  </a:lnTo>
                  <a:lnTo>
                    <a:pt x="21154" y="1418"/>
                  </a:lnTo>
                  <a:lnTo>
                    <a:pt x="21144" y="1425"/>
                  </a:lnTo>
                  <a:lnTo>
                    <a:pt x="21102" y="1408"/>
                  </a:lnTo>
                  <a:lnTo>
                    <a:pt x="21102" y="1408"/>
                  </a:lnTo>
                  <a:lnTo>
                    <a:pt x="21102" y="1408"/>
                  </a:lnTo>
                  <a:close/>
                  <a:moveTo>
                    <a:pt x="21002" y="1429"/>
                  </a:moveTo>
                  <a:lnTo>
                    <a:pt x="21002" y="1425"/>
                  </a:lnTo>
                  <a:lnTo>
                    <a:pt x="21078" y="1408"/>
                  </a:lnTo>
                  <a:lnTo>
                    <a:pt x="21144" y="1429"/>
                  </a:lnTo>
                  <a:lnTo>
                    <a:pt x="21182" y="1429"/>
                  </a:lnTo>
                  <a:lnTo>
                    <a:pt x="21198" y="1446"/>
                  </a:lnTo>
                  <a:lnTo>
                    <a:pt x="21187" y="1458"/>
                  </a:lnTo>
                  <a:lnTo>
                    <a:pt x="21203" y="1462"/>
                  </a:lnTo>
                  <a:lnTo>
                    <a:pt x="21182" y="1474"/>
                  </a:lnTo>
                  <a:lnTo>
                    <a:pt x="21198" y="1479"/>
                  </a:lnTo>
                  <a:lnTo>
                    <a:pt x="21187" y="1479"/>
                  </a:lnTo>
                  <a:lnTo>
                    <a:pt x="21149" y="1491"/>
                  </a:lnTo>
                  <a:lnTo>
                    <a:pt x="21064" y="1429"/>
                  </a:lnTo>
                  <a:lnTo>
                    <a:pt x="21002" y="1429"/>
                  </a:lnTo>
                  <a:lnTo>
                    <a:pt x="21002" y="1429"/>
                  </a:lnTo>
                  <a:lnTo>
                    <a:pt x="21002" y="1429"/>
                  </a:lnTo>
                  <a:close/>
                  <a:moveTo>
                    <a:pt x="17511" y="1446"/>
                  </a:moveTo>
                  <a:lnTo>
                    <a:pt x="17563" y="1408"/>
                  </a:lnTo>
                  <a:lnTo>
                    <a:pt x="17617" y="1425"/>
                  </a:lnTo>
                  <a:lnTo>
                    <a:pt x="17570" y="1458"/>
                  </a:lnTo>
                  <a:lnTo>
                    <a:pt x="17520" y="1458"/>
                  </a:lnTo>
                  <a:lnTo>
                    <a:pt x="17511" y="1446"/>
                  </a:lnTo>
                  <a:lnTo>
                    <a:pt x="17511" y="1446"/>
                  </a:lnTo>
                  <a:lnTo>
                    <a:pt x="17511" y="1446"/>
                  </a:lnTo>
                  <a:close/>
                  <a:moveTo>
                    <a:pt x="21791" y="1557"/>
                  </a:moveTo>
                  <a:lnTo>
                    <a:pt x="21775" y="1573"/>
                  </a:lnTo>
                  <a:lnTo>
                    <a:pt x="21720" y="1557"/>
                  </a:lnTo>
                  <a:lnTo>
                    <a:pt x="21775" y="1552"/>
                  </a:lnTo>
                  <a:lnTo>
                    <a:pt x="21791" y="1557"/>
                  </a:lnTo>
                  <a:lnTo>
                    <a:pt x="21791" y="1557"/>
                  </a:lnTo>
                  <a:lnTo>
                    <a:pt x="21791" y="1557"/>
                  </a:lnTo>
                  <a:close/>
                  <a:moveTo>
                    <a:pt x="15832" y="1630"/>
                  </a:moveTo>
                  <a:lnTo>
                    <a:pt x="15810" y="1602"/>
                  </a:lnTo>
                  <a:lnTo>
                    <a:pt x="15777" y="1585"/>
                  </a:lnTo>
                  <a:lnTo>
                    <a:pt x="15810" y="1573"/>
                  </a:lnTo>
                  <a:lnTo>
                    <a:pt x="15832" y="1590"/>
                  </a:lnTo>
                  <a:lnTo>
                    <a:pt x="15810" y="1573"/>
                  </a:lnTo>
                  <a:lnTo>
                    <a:pt x="15820" y="1590"/>
                  </a:lnTo>
                  <a:lnTo>
                    <a:pt x="15848" y="1590"/>
                  </a:lnTo>
                  <a:lnTo>
                    <a:pt x="15848" y="1607"/>
                  </a:lnTo>
                  <a:lnTo>
                    <a:pt x="15832" y="1614"/>
                  </a:lnTo>
                  <a:lnTo>
                    <a:pt x="15841" y="1630"/>
                  </a:lnTo>
                  <a:lnTo>
                    <a:pt x="15832" y="1630"/>
                  </a:lnTo>
                  <a:lnTo>
                    <a:pt x="15832" y="1630"/>
                  </a:lnTo>
                  <a:lnTo>
                    <a:pt x="15832" y="1630"/>
                  </a:lnTo>
                  <a:close/>
                  <a:moveTo>
                    <a:pt x="15848" y="1585"/>
                  </a:moveTo>
                  <a:lnTo>
                    <a:pt x="15841" y="1585"/>
                  </a:lnTo>
                  <a:lnTo>
                    <a:pt x="15858" y="1590"/>
                  </a:lnTo>
                  <a:lnTo>
                    <a:pt x="15848" y="1585"/>
                  </a:lnTo>
                  <a:lnTo>
                    <a:pt x="15848" y="1585"/>
                  </a:lnTo>
                  <a:lnTo>
                    <a:pt x="15848" y="1585"/>
                  </a:lnTo>
                  <a:close/>
                  <a:moveTo>
                    <a:pt x="23383" y="1656"/>
                  </a:moveTo>
                  <a:lnTo>
                    <a:pt x="23374" y="1647"/>
                  </a:lnTo>
                  <a:lnTo>
                    <a:pt x="23362" y="1640"/>
                  </a:lnTo>
                  <a:lnTo>
                    <a:pt x="23383" y="1656"/>
                  </a:lnTo>
                  <a:lnTo>
                    <a:pt x="23383" y="1656"/>
                  </a:lnTo>
                  <a:lnTo>
                    <a:pt x="23383" y="1656"/>
                  </a:lnTo>
                  <a:close/>
                  <a:moveTo>
                    <a:pt x="17941" y="1701"/>
                  </a:moveTo>
                  <a:lnTo>
                    <a:pt x="17948" y="1656"/>
                  </a:lnTo>
                  <a:lnTo>
                    <a:pt x="17953" y="1647"/>
                  </a:lnTo>
                  <a:lnTo>
                    <a:pt x="17969" y="1663"/>
                  </a:lnTo>
                  <a:lnTo>
                    <a:pt x="17953" y="1668"/>
                  </a:lnTo>
                  <a:lnTo>
                    <a:pt x="17953" y="1696"/>
                  </a:lnTo>
                  <a:lnTo>
                    <a:pt x="17941" y="1701"/>
                  </a:lnTo>
                  <a:lnTo>
                    <a:pt x="17941" y="1701"/>
                  </a:lnTo>
                  <a:lnTo>
                    <a:pt x="17941" y="1701"/>
                  </a:lnTo>
                  <a:close/>
                  <a:moveTo>
                    <a:pt x="16117" y="1696"/>
                  </a:moveTo>
                  <a:lnTo>
                    <a:pt x="16101" y="1680"/>
                  </a:lnTo>
                  <a:lnTo>
                    <a:pt x="16127" y="1684"/>
                  </a:lnTo>
                  <a:lnTo>
                    <a:pt x="16117" y="1696"/>
                  </a:lnTo>
                  <a:lnTo>
                    <a:pt x="16117" y="1696"/>
                  </a:lnTo>
                  <a:lnTo>
                    <a:pt x="16117" y="1696"/>
                  </a:lnTo>
                  <a:close/>
                  <a:moveTo>
                    <a:pt x="17979" y="1701"/>
                  </a:moveTo>
                  <a:lnTo>
                    <a:pt x="17965" y="1713"/>
                  </a:lnTo>
                  <a:lnTo>
                    <a:pt x="17979" y="1684"/>
                  </a:lnTo>
                  <a:lnTo>
                    <a:pt x="17979" y="1696"/>
                  </a:lnTo>
                  <a:lnTo>
                    <a:pt x="17979" y="1701"/>
                  </a:lnTo>
                  <a:lnTo>
                    <a:pt x="17979" y="1701"/>
                  </a:lnTo>
                  <a:lnTo>
                    <a:pt x="17979" y="1701"/>
                  </a:lnTo>
                  <a:close/>
                  <a:moveTo>
                    <a:pt x="16316" y="1795"/>
                  </a:moveTo>
                  <a:lnTo>
                    <a:pt x="16295" y="1795"/>
                  </a:lnTo>
                  <a:lnTo>
                    <a:pt x="16290" y="1791"/>
                  </a:lnTo>
                  <a:lnTo>
                    <a:pt x="16295" y="1779"/>
                  </a:lnTo>
                  <a:lnTo>
                    <a:pt x="16278" y="1774"/>
                  </a:lnTo>
                  <a:lnTo>
                    <a:pt x="16252" y="1767"/>
                  </a:lnTo>
                  <a:lnTo>
                    <a:pt x="16264" y="1774"/>
                  </a:lnTo>
                  <a:lnTo>
                    <a:pt x="16257" y="1774"/>
                  </a:lnTo>
                  <a:lnTo>
                    <a:pt x="16226" y="1751"/>
                  </a:lnTo>
                  <a:lnTo>
                    <a:pt x="16226" y="1734"/>
                  </a:lnTo>
                  <a:lnTo>
                    <a:pt x="16209" y="1722"/>
                  </a:lnTo>
                  <a:lnTo>
                    <a:pt x="16240" y="1734"/>
                  </a:lnTo>
                  <a:lnTo>
                    <a:pt x="16226" y="1718"/>
                  </a:lnTo>
                  <a:lnTo>
                    <a:pt x="16257" y="1696"/>
                  </a:lnTo>
                  <a:lnTo>
                    <a:pt x="16349" y="1767"/>
                  </a:lnTo>
                  <a:lnTo>
                    <a:pt x="16361" y="1779"/>
                  </a:lnTo>
                  <a:lnTo>
                    <a:pt x="16316" y="1795"/>
                  </a:lnTo>
                  <a:lnTo>
                    <a:pt x="16316" y="1795"/>
                  </a:lnTo>
                  <a:lnTo>
                    <a:pt x="16316" y="1795"/>
                  </a:lnTo>
                  <a:close/>
                  <a:moveTo>
                    <a:pt x="17927" y="1734"/>
                  </a:moveTo>
                  <a:lnTo>
                    <a:pt x="17932" y="1722"/>
                  </a:lnTo>
                  <a:lnTo>
                    <a:pt x="17948" y="1739"/>
                  </a:lnTo>
                  <a:lnTo>
                    <a:pt x="17927" y="1734"/>
                  </a:lnTo>
                  <a:lnTo>
                    <a:pt x="17927" y="1734"/>
                  </a:lnTo>
                  <a:lnTo>
                    <a:pt x="17927" y="1734"/>
                  </a:lnTo>
                  <a:close/>
                  <a:moveTo>
                    <a:pt x="23995" y="1791"/>
                  </a:moveTo>
                  <a:lnTo>
                    <a:pt x="23988" y="1791"/>
                  </a:lnTo>
                  <a:lnTo>
                    <a:pt x="23988" y="1807"/>
                  </a:lnTo>
                  <a:lnTo>
                    <a:pt x="23979" y="1812"/>
                  </a:lnTo>
                  <a:lnTo>
                    <a:pt x="23957" y="1812"/>
                  </a:lnTo>
                  <a:lnTo>
                    <a:pt x="23882" y="1779"/>
                  </a:lnTo>
                  <a:lnTo>
                    <a:pt x="23920" y="1758"/>
                  </a:lnTo>
                  <a:lnTo>
                    <a:pt x="23995" y="1774"/>
                  </a:lnTo>
                  <a:lnTo>
                    <a:pt x="23995" y="1791"/>
                  </a:lnTo>
                  <a:lnTo>
                    <a:pt x="23995" y="1791"/>
                  </a:lnTo>
                  <a:lnTo>
                    <a:pt x="23995" y="1791"/>
                  </a:lnTo>
                  <a:close/>
                  <a:moveTo>
                    <a:pt x="24050" y="1795"/>
                  </a:moveTo>
                  <a:lnTo>
                    <a:pt x="24033" y="1791"/>
                  </a:lnTo>
                  <a:lnTo>
                    <a:pt x="24050" y="1779"/>
                  </a:lnTo>
                  <a:lnTo>
                    <a:pt x="24050" y="1795"/>
                  </a:lnTo>
                  <a:lnTo>
                    <a:pt x="24050" y="1795"/>
                  </a:lnTo>
                  <a:lnTo>
                    <a:pt x="24050" y="1795"/>
                  </a:lnTo>
                  <a:close/>
                  <a:moveTo>
                    <a:pt x="23433" y="1833"/>
                  </a:moveTo>
                  <a:lnTo>
                    <a:pt x="23433" y="1812"/>
                  </a:lnTo>
                  <a:lnTo>
                    <a:pt x="23450" y="1812"/>
                  </a:lnTo>
                  <a:lnTo>
                    <a:pt x="23450" y="1829"/>
                  </a:lnTo>
                  <a:lnTo>
                    <a:pt x="23433" y="1833"/>
                  </a:lnTo>
                  <a:lnTo>
                    <a:pt x="23433" y="1833"/>
                  </a:lnTo>
                  <a:lnTo>
                    <a:pt x="23433" y="1833"/>
                  </a:lnTo>
                  <a:close/>
                  <a:moveTo>
                    <a:pt x="16814" y="1824"/>
                  </a:moveTo>
                  <a:lnTo>
                    <a:pt x="16835" y="1812"/>
                  </a:lnTo>
                  <a:lnTo>
                    <a:pt x="16831" y="1829"/>
                  </a:lnTo>
                  <a:lnTo>
                    <a:pt x="16814" y="1824"/>
                  </a:lnTo>
                  <a:lnTo>
                    <a:pt x="16814" y="1824"/>
                  </a:lnTo>
                  <a:lnTo>
                    <a:pt x="16814" y="1824"/>
                  </a:lnTo>
                  <a:close/>
                  <a:moveTo>
                    <a:pt x="23433" y="1902"/>
                  </a:moveTo>
                  <a:lnTo>
                    <a:pt x="23438" y="1885"/>
                  </a:lnTo>
                  <a:lnTo>
                    <a:pt x="23416" y="1878"/>
                  </a:lnTo>
                  <a:lnTo>
                    <a:pt x="23416" y="1845"/>
                  </a:lnTo>
                  <a:lnTo>
                    <a:pt x="23412" y="1833"/>
                  </a:lnTo>
                  <a:lnTo>
                    <a:pt x="23416" y="1829"/>
                  </a:lnTo>
                  <a:lnTo>
                    <a:pt x="23433" y="1824"/>
                  </a:lnTo>
                  <a:lnTo>
                    <a:pt x="23428" y="1829"/>
                  </a:lnTo>
                  <a:lnTo>
                    <a:pt x="23433" y="1833"/>
                  </a:lnTo>
                  <a:lnTo>
                    <a:pt x="23433" y="1850"/>
                  </a:lnTo>
                  <a:lnTo>
                    <a:pt x="23438" y="1890"/>
                  </a:lnTo>
                  <a:lnTo>
                    <a:pt x="23433" y="1902"/>
                  </a:lnTo>
                  <a:lnTo>
                    <a:pt x="23433" y="1902"/>
                  </a:lnTo>
                  <a:lnTo>
                    <a:pt x="23433" y="1902"/>
                  </a:lnTo>
                  <a:close/>
                  <a:moveTo>
                    <a:pt x="15496" y="1878"/>
                  </a:moveTo>
                  <a:lnTo>
                    <a:pt x="15508" y="1845"/>
                  </a:lnTo>
                  <a:lnTo>
                    <a:pt x="15555" y="1824"/>
                  </a:lnTo>
                  <a:lnTo>
                    <a:pt x="15631" y="1850"/>
                  </a:lnTo>
                  <a:lnTo>
                    <a:pt x="15647" y="1866"/>
                  </a:lnTo>
                  <a:lnTo>
                    <a:pt x="15631" y="1885"/>
                  </a:lnTo>
                  <a:lnTo>
                    <a:pt x="15643" y="1866"/>
                  </a:lnTo>
                  <a:lnTo>
                    <a:pt x="15631" y="1866"/>
                  </a:lnTo>
                  <a:lnTo>
                    <a:pt x="15588" y="1906"/>
                  </a:lnTo>
                  <a:lnTo>
                    <a:pt x="15534" y="1923"/>
                  </a:lnTo>
                  <a:lnTo>
                    <a:pt x="15496" y="1902"/>
                  </a:lnTo>
                  <a:lnTo>
                    <a:pt x="15496" y="1878"/>
                  </a:lnTo>
                  <a:lnTo>
                    <a:pt x="15496" y="1878"/>
                  </a:lnTo>
                  <a:lnTo>
                    <a:pt x="15496" y="1878"/>
                  </a:lnTo>
                  <a:close/>
                  <a:moveTo>
                    <a:pt x="16814" y="1833"/>
                  </a:moveTo>
                  <a:lnTo>
                    <a:pt x="16814" y="1829"/>
                  </a:lnTo>
                  <a:lnTo>
                    <a:pt x="16831" y="1833"/>
                  </a:lnTo>
                  <a:lnTo>
                    <a:pt x="16814" y="1833"/>
                  </a:lnTo>
                  <a:lnTo>
                    <a:pt x="16814" y="1833"/>
                  </a:lnTo>
                  <a:lnTo>
                    <a:pt x="16814" y="1833"/>
                  </a:lnTo>
                  <a:close/>
                  <a:moveTo>
                    <a:pt x="14513" y="1833"/>
                  </a:moveTo>
                  <a:lnTo>
                    <a:pt x="14530" y="1845"/>
                  </a:lnTo>
                  <a:lnTo>
                    <a:pt x="14497" y="1833"/>
                  </a:lnTo>
                  <a:lnTo>
                    <a:pt x="14513" y="1833"/>
                  </a:lnTo>
                  <a:lnTo>
                    <a:pt x="14513" y="1833"/>
                  </a:lnTo>
                  <a:lnTo>
                    <a:pt x="14513" y="1833"/>
                  </a:lnTo>
                  <a:close/>
                  <a:moveTo>
                    <a:pt x="16273" y="1866"/>
                  </a:moveTo>
                  <a:lnTo>
                    <a:pt x="16235" y="1845"/>
                  </a:lnTo>
                  <a:lnTo>
                    <a:pt x="16264" y="1850"/>
                  </a:lnTo>
                  <a:lnTo>
                    <a:pt x="16273" y="1866"/>
                  </a:lnTo>
                  <a:lnTo>
                    <a:pt x="16273" y="1866"/>
                  </a:lnTo>
                  <a:lnTo>
                    <a:pt x="16273" y="1866"/>
                  </a:lnTo>
                  <a:close/>
                  <a:moveTo>
                    <a:pt x="16134" y="1918"/>
                  </a:moveTo>
                  <a:lnTo>
                    <a:pt x="16181" y="1906"/>
                  </a:lnTo>
                  <a:lnTo>
                    <a:pt x="16127" y="1923"/>
                  </a:lnTo>
                  <a:lnTo>
                    <a:pt x="16134" y="1918"/>
                  </a:lnTo>
                  <a:lnTo>
                    <a:pt x="16134" y="1918"/>
                  </a:lnTo>
                  <a:lnTo>
                    <a:pt x="16134" y="1918"/>
                  </a:lnTo>
                  <a:close/>
                  <a:moveTo>
                    <a:pt x="17013" y="2195"/>
                  </a:moveTo>
                  <a:lnTo>
                    <a:pt x="16982" y="2162"/>
                  </a:lnTo>
                  <a:lnTo>
                    <a:pt x="16958" y="2162"/>
                  </a:lnTo>
                  <a:lnTo>
                    <a:pt x="17029" y="2166"/>
                  </a:lnTo>
                  <a:lnTo>
                    <a:pt x="17029" y="2195"/>
                  </a:lnTo>
                  <a:lnTo>
                    <a:pt x="17013" y="2195"/>
                  </a:lnTo>
                  <a:lnTo>
                    <a:pt x="17013" y="2195"/>
                  </a:lnTo>
                  <a:lnTo>
                    <a:pt x="17013" y="2195"/>
                  </a:lnTo>
                  <a:close/>
                  <a:moveTo>
                    <a:pt x="15102" y="2162"/>
                  </a:moveTo>
                  <a:lnTo>
                    <a:pt x="15106" y="2166"/>
                  </a:lnTo>
                  <a:lnTo>
                    <a:pt x="15092" y="2162"/>
                  </a:lnTo>
                  <a:lnTo>
                    <a:pt x="15102" y="2162"/>
                  </a:lnTo>
                  <a:lnTo>
                    <a:pt x="15102" y="2162"/>
                  </a:lnTo>
                  <a:lnTo>
                    <a:pt x="15102" y="2162"/>
                  </a:lnTo>
                  <a:close/>
                  <a:moveTo>
                    <a:pt x="16975" y="2166"/>
                  </a:moveTo>
                  <a:lnTo>
                    <a:pt x="16975" y="2178"/>
                  </a:lnTo>
                  <a:lnTo>
                    <a:pt x="16975" y="2166"/>
                  </a:lnTo>
                  <a:lnTo>
                    <a:pt x="16975" y="2166"/>
                  </a:lnTo>
                  <a:lnTo>
                    <a:pt x="16975" y="2166"/>
                  </a:lnTo>
                  <a:close/>
                  <a:moveTo>
                    <a:pt x="253" y="2277"/>
                  </a:moveTo>
                  <a:lnTo>
                    <a:pt x="253" y="2273"/>
                  </a:lnTo>
                  <a:lnTo>
                    <a:pt x="265" y="2273"/>
                  </a:lnTo>
                  <a:lnTo>
                    <a:pt x="253" y="2277"/>
                  </a:lnTo>
                  <a:lnTo>
                    <a:pt x="253" y="2277"/>
                  </a:lnTo>
                  <a:lnTo>
                    <a:pt x="253" y="2277"/>
                  </a:lnTo>
                  <a:close/>
                  <a:moveTo>
                    <a:pt x="14632" y="2351"/>
                  </a:moveTo>
                  <a:lnTo>
                    <a:pt x="14632" y="2367"/>
                  </a:lnTo>
                  <a:lnTo>
                    <a:pt x="14622" y="2377"/>
                  </a:lnTo>
                  <a:lnTo>
                    <a:pt x="14606" y="2351"/>
                  </a:lnTo>
                  <a:lnTo>
                    <a:pt x="14632" y="2351"/>
                  </a:lnTo>
                  <a:lnTo>
                    <a:pt x="14632" y="2351"/>
                  </a:lnTo>
                  <a:lnTo>
                    <a:pt x="14632" y="2351"/>
                  </a:lnTo>
                  <a:close/>
                  <a:moveTo>
                    <a:pt x="0" y="2400"/>
                  </a:moveTo>
                  <a:lnTo>
                    <a:pt x="17" y="2384"/>
                  </a:lnTo>
                  <a:lnTo>
                    <a:pt x="38" y="2400"/>
                  </a:lnTo>
                  <a:lnTo>
                    <a:pt x="0" y="2400"/>
                  </a:lnTo>
                  <a:lnTo>
                    <a:pt x="0" y="2400"/>
                  </a:lnTo>
                  <a:lnTo>
                    <a:pt x="0" y="2400"/>
                  </a:lnTo>
                  <a:close/>
                  <a:moveTo>
                    <a:pt x="14946" y="2400"/>
                  </a:moveTo>
                  <a:lnTo>
                    <a:pt x="14955" y="2421"/>
                  </a:lnTo>
                  <a:lnTo>
                    <a:pt x="14913" y="2405"/>
                  </a:lnTo>
                  <a:lnTo>
                    <a:pt x="14941" y="2417"/>
                  </a:lnTo>
                  <a:lnTo>
                    <a:pt x="14929" y="2400"/>
                  </a:lnTo>
                  <a:lnTo>
                    <a:pt x="14946" y="2400"/>
                  </a:lnTo>
                  <a:lnTo>
                    <a:pt x="14946" y="2400"/>
                  </a:lnTo>
                  <a:lnTo>
                    <a:pt x="14946" y="2400"/>
                  </a:lnTo>
                  <a:close/>
                  <a:moveTo>
                    <a:pt x="14639" y="2438"/>
                  </a:moveTo>
                  <a:lnTo>
                    <a:pt x="14643" y="2445"/>
                  </a:lnTo>
                  <a:lnTo>
                    <a:pt x="14632" y="2438"/>
                  </a:lnTo>
                  <a:lnTo>
                    <a:pt x="14639" y="2438"/>
                  </a:lnTo>
                  <a:lnTo>
                    <a:pt x="14639" y="2438"/>
                  </a:lnTo>
                  <a:lnTo>
                    <a:pt x="14639" y="2438"/>
                  </a:lnTo>
                  <a:close/>
                  <a:moveTo>
                    <a:pt x="14119" y="2899"/>
                  </a:moveTo>
                  <a:lnTo>
                    <a:pt x="14131" y="2899"/>
                  </a:lnTo>
                  <a:lnTo>
                    <a:pt x="14119" y="2887"/>
                  </a:lnTo>
                  <a:lnTo>
                    <a:pt x="14119" y="2899"/>
                  </a:lnTo>
                  <a:lnTo>
                    <a:pt x="14119" y="2899"/>
                  </a:lnTo>
                  <a:lnTo>
                    <a:pt x="14119" y="2899"/>
                  </a:lnTo>
                  <a:close/>
                  <a:moveTo>
                    <a:pt x="23572" y="3088"/>
                  </a:moveTo>
                  <a:lnTo>
                    <a:pt x="23596" y="3064"/>
                  </a:lnTo>
                  <a:lnTo>
                    <a:pt x="23610" y="3043"/>
                  </a:lnTo>
                  <a:lnTo>
                    <a:pt x="23596" y="3031"/>
                  </a:lnTo>
                  <a:lnTo>
                    <a:pt x="23655" y="3014"/>
                  </a:lnTo>
                  <a:lnTo>
                    <a:pt x="23665" y="3031"/>
                  </a:lnTo>
                  <a:lnTo>
                    <a:pt x="23665" y="3047"/>
                  </a:lnTo>
                  <a:lnTo>
                    <a:pt x="23627" y="3059"/>
                  </a:lnTo>
                  <a:lnTo>
                    <a:pt x="23579" y="3099"/>
                  </a:lnTo>
                  <a:lnTo>
                    <a:pt x="23572" y="3088"/>
                  </a:lnTo>
                  <a:lnTo>
                    <a:pt x="23572" y="3088"/>
                  </a:lnTo>
                  <a:lnTo>
                    <a:pt x="23572" y="3088"/>
                  </a:lnTo>
                  <a:close/>
                  <a:moveTo>
                    <a:pt x="22665" y="3031"/>
                  </a:moveTo>
                  <a:lnTo>
                    <a:pt x="22682" y="3026"/>
                  </a:lnTo>
                  <a:lnTo>
                    <a:pt x="22665" y="3031"/>
                  </a:lnTo>
                  <a:lnTo>
                    <a:pt x="22665" y="3031"/>
                  </a:lnTo>
                  <a:lnTo>
                    <a:pt x="22665" y="3031"/>
                  </a:lnTo>
                  <a:close/>
                  <a:moveTo>
                    <a:pt x="23773" y="3421"/>
                  </a:moveTo>
                  <a:lnTo>
                    <a:pt x="23773" y="3437"/>
                  </a:lnTo>
                  <a:lnTo>
                    <a:pt x="23806" y="3470"/>
                  </a:lnTo>
                  <a:lnTo>
                    <a:pt x="23806" y="3487"/>
                  </a:lnTo>
                  <a:lnTo>
                    <a:pt x="23778" y="3470"/>
                  </a:lnTo>
                  <a:lnTo>
                    <a:pt x="23752" y="3421"/>
                  </a:lnTo>
                  <a:lnTo>
                    <a:pt x="23773" y="3421"/>
                  </a:lnTo>
                  <a:lnTo>
                    <a:pt x="23773" y="3421"/>
                  </a:lnTo>
                  <a:lnTo>
                    <a:pt x="23773" y="3421"/>
                  </a:lnTo>
                  <a:close/>
                  <a:moveTo>
                    <a:pt x="13606" y="3430"/>
                  </a:moveTo>
                  <a:lnTo>
                    <a:pt x="13611" y="3421"/>
                  </a:lnTo>
                  <a:lnTo>
                    <a:pt x="13665" y="3447"/>
                  </a:lnTo>
                  <a:lnTo>
                    <a:pt x="13699" y="3447"/>
                  </a:lnTo>
                  <a:lnTo>
                    <a:pt x="13720" y="3470"/>
                  </a:lnTo>
                  <a:lnTo>
                    <a:pt x="13715" y="3487"/>
                  </a:lnTo>
                  <a:lnTo>
                    <a:pt x="13703" y="3503"/>
                  </a:lnTo>
                  <a:lnTo>
                    <a:pt x="13715" y="3515"/>
                  </a:lnTo>
                  <a:lnTo>
                    <a:pt x="13618" y="3515"/>
                  </a:lnTo>
                  <a:lnTo>
                    <a:pt x="13505" y="3508"/>
                  </a:lnTo>
                  <a:lnTo>
                    <a:pt x="13552" y="3487"/>
                  </a:lnTo>
                  <a:lnTo>
                    <a:pt x="13526" y="3487"/>
                  </a:lnTo>
                  <a:lnTo>
                    <a:pt x="13519" y="3475"/>
                  </a:lnTo>
                  <a:lnTo>
                    <a:pt x="13510" y="3487"/>
                  </a:lnTo>
                  <a:lnTo>
                    <a:pt x="13519" y="3454"/>
                  </a:lnTo>
                  <a:lnTo>
                    <a:pt x="13552" y="3454"/>
                  </a:lnTo>
                  <a:lnTo>
                    <a:pt x="13580" y="3421"/>
                  </a:lnTo>
                  <a:lnTo>
                    <a:pt x="13590" y="3421"/>
                  </a:lnTo>
                  <a:lnTo>
                    <a:pt x="13557" y="3454"/>
                  </a:lnTo>
                  <a:lnTo>
                    <a:pt x="13606" y="3458"/>
                  </a:lnTo>
                  <a:lnTo>
                    <a:pt x="13606" y="3437"/>
                  </a:lnTo>
                  <a:lnTo>
                    <a:pt x="13606" y="3430"/>
                  </a:lnTo>
                  <a:lnTo>
                    <a:pt x="13606" y="3430"/>
                  </a:lnTo>
                  <a:lnTo>
                    <a:pt x="13606" y="3430"/>
                  </a:lnTo>
                  <a:close/>
                  <a:moveTo>
                    <a:pt x="21744" y="3475"/>
                  </a:moveTo>
                  <a:lnTo>
                    <a:pt x="21765" y="3430"/>
                  </a:lnTo>
                  <a:lnTo>
                    <a:pt x="21803" y="3447"/>
                  </a:lnTo>
                  <a:lnTo>
                    <a:pt x="21775" y="3491"/>
                  </a:lnTo>
                  <a:lnTo>
                    <a:pt x="21758" y="3458"/>
                  </a:lnTo>
                  <a:lnTo>
                    <a:pt x="21744" y="3475"/>
                  </a:lnTo>
                  <a:lnTo>
                    <a:pt x="21744" y="3475"/>
                  </a:lnTo>
                  <a:lnTo>
                    <a:pt x="21744" y="3475"/>
                  </a:lnTo>
                  <a:close/>
                  <a:moveTo>
                    <a:pt x="21694" y="3458"/>
                  </a:moveTo>
                  <a:lnTo>
                    <a:pt x="21737" y="3437"/>
                  </a:lnTo>
                  <a:lnTo>
                    <a:pt x="21728" y="3458"/>
                  </a:lnTo>
                  <a:lnTo>
                    <a:pt x="21694" y="3458"/>
                  </a:lnTo>
                  <a:lnTo>
                    <a:pt x="21694" y="3458"/>
                  </a:lnTo>
                  <a:lnTo>
                    <a:pt x="21694" y="3458"/>
                  </a:lnTo>
                  <a:close/>
                  <a:moveTo>
                    <a:pt x="13498" y="3508"/>
                  </a:moveTo>
                  <a:lnTo>
                    <a:pt x="13488" y="3503"/>
                  </a:lnTo>
                  <a:lnTo>
                    <a:pt x="13510" y="3487"/>
                  </a:lnTo>
                  <a:lnTo>
                    <a:pt x="13498" y="3508"/>
                  </a:lnTo>
                  <a:lnTo>
                    <a:pt x="13498" y="3508"/>
                  </a:lnTo>
                  <a:lnTo>
                    <a:pt x="13498" y="3508"/>
                  </a:lnTo>
                  <a:close/>
                  <a:moveTo>
                    <a:pt x="21765" y="3508"/>
                  </a:moveTo>
                  <a:lnTo>
                    <a:pt x="21758" y="3503"/>
                  </a:lnTo>
                  <a:lnTo>
                    <a:pt x="21765" y="3491"/>
                  </a:lnTo>
                  <a:lnTo>
                    <a:pt x="21765" y="3508"/>
                  </a:lnTo>
                  <a:lnTo>
                    <a:pt x="21765" y="3508"/>
                  </a:lnTo>
                  <a:lnTo>
                    <a:pt x="21765" y="3508"/>
                  </a:lnTo>
                  <a:close/>
                  <a:moveTo>
                    <a:pt x="22072" y="4080"/>
                  </a:moveTo>
                  <a:lnTo>
                    <a:pt x="22068" y="4058"/>
                  </a:lnTo>
                  <a:lnTo>
                    <a:pt x="22072" y="4030"/>
                  </a:lnTo>
                  <a:lnTo>
                    <a:pt x="22084" y="3973"/>
                  </a:lnTo>
                  <a:lnTo>
                    <a:pt x="22084" y="3903"/>
                  </a:lnTo>
                  <a:lnTo>
                    <a:pt x="22072" y="3891"/>
                  </a:lnTo>
                  <a:lnTo>
                    <a:pt x="22089" y="3825"/>
                  </a:lnTo>
                  <a:lnTo>
                    <a:pt x="22084" y="3791"/>
                  </a:lnTo>
                  <a:lnTo>
                    <a:pt x="22051" y="3751"/>
                  </a:lnTo>
                  <a:lnTo>
                    <a:pt x="22051" y="3714"/>
                  </a:lnTo>
                  <a:lnTo>
                    <a:pt x="22061" y="3692"/>
                  </a:lnTo>
                  <a:lnTo>
                    <a:pt x="22068" y="3643"/>
                  </a:lnTo>
                  <a:lnTo>
                    <a:pt x="22061" y="3614"/>
                  </a:lnTo>
                  <a:lnTo>
                    <a:pt x="22089" y="3598"/>
                  </a:lnTo>
                  <a:lnTo>
                    <a:pt x="22089" y="3614"/>
                  </a:lnTo>
                  <a:lnTo>
                    <a:pt x="22105" y="3614"/>
                  </a:lnTo>
                  <a:lnTo>
                    <a:pt x="22122" y="3598"/>
                  </a:lnTo>
                  <a:lnTo>
                    <a:pt x="22115" y="3598"/>
                  </a:lnTo>
                  <a:lnTo>
                    <a:pt x="22105" y="3581"/>
                  </a:lnTo>
                  <a:lnTo>
                    <a:pt x="22122" y="3586"/>
                  </a:lnTo>
                  <a:lnTo>
                    <a:pt x="22127" y="3581"/>
                  </a:lnTo>
                  <a:lnTo>
                    <a:pt x="22127" y="3565"/>
                  </a:lnTo>
                  <a:lnTo>
                    <a:pt x="22115" y="3581"/>
                  </a:lnTo>
                  <a:lnTo>
                    <a:pt x="22122" y="3558"/>
                  </a:lnTo>
                  <a:lnTo>
                    <a:pt x="22098" y="3525"/>
                  </a:lnTo>
                  <a:lnTo>
                    <a:pt x="22122" y="3525"/>
                  </a:lnTo>
                  <a:lnTo>
                    <a:pt x="22122" y="3508"/>
                  </a:lnTo>
                  <a:lnTo>
                    <a:pt x="22143" y="3541"/>
                  </a:lnTo>
                  <a:lnTo>
                    <a:pt x="22136" y="3569"/>
                  </a:lnTo>
                  <a:lnTo>
                    <a:pt x="22153" y="3598"/>
                  </a:lnTo>
                  <a:lnTo>
                    <a:pt x="22153" y="3614"/>
                  </a:lnTo>
                  <a:lnTo>
                    <a:pt x="22160" y="3619"/>
                  </a:lnTo>
                  <a:lnTo>
                    <a:pt x="22169" y="3659"/>
                  </a:lnTo>
                  <a:lnTo>
                    <a:pt x="22169" y="3697"/>
                  </a:lnTo>
                  <a:lnTo>
                    <a:pt x="22160" y="3714"/>
                  </a:lnTo>
                  <a:lnTo>
                    <a:pt x="22160" y="3692"/>
                  </a:lnTo>
                  <a:lnTo>
                    <a:pt x="22153" y="3709"/>
                  </a:lnTo>
                  <a:lnTo>
                    <a:pt x="22153" y="3747"/>
                  </a:lnTo>
                  <a:lnTo>
                    <a:pt x="22169" y="3768"/>
                  </a:lnTo>
                  <a:lnTo>
                    <a:pt x="22160" y="3791"/>
                  </a:lnTo>
                  <a:lnTo>
                    <a:pt x="22169" y="3791"/>
                  </a:lnTo>
                  <a:lnTo>
                    <a:pt x="22169" y="3780"/>
                  </a:lnTo>
                  <a:lnTo>
                    <a:pt x="22174" y="3808"/>
                  </a:lnTo>
                  <a:lnTo>
                    <a:pt x="22169" y="3808"/>
                  </a:lnTo>
                  <a:lnTo>
                    <a:pt x="22181" y="3820"/>
                  </a:lnTo>
                  <a:lnTo>
                    <a:pt x="22198" y="3903"/>
                  </a:lnTo>
                  <a:lnTo>
                    <a:pt x="22212" y="3936"/>
                  </a:lnTo>
                  <a:lnTo>
                    <a:pt x="22245" y="4023"/>
                  </a:lnTo>
                  <a:lnTo>
                    <a:pt x="22261" y="4040"/>
                  </a:lnTo>
                  <a:lnTo>
                    <a:pt x="22266" y="4063"/>
                  </a:lnTo>
                  <a:lnTo>
                    <a:pt x="22245" y="4030"/>
                  </a:lnTo>
                  <a:lnTo>
                    <a:pt x="22212" y="4006"/>
                  </a:lnTo>
                  <a:lnTo>
                    <a:pt x="22169" y="3990"/>
                  </a:lnTo>
                  <a:lnTo>
                    <a:pt x="22169" y="4002"/>
                  </a:lnTo>
                  <a:lnTo>
                    <a:pt x="22191" y="4002"/>
                  </a:lnTo>
                  <a:lnTo>
                    <a:pt x="22160" y="4006"/>
                  </a:lnTo>
                  <a:lnTo>
                    <a:pt x="22143" y="4023"/>
                  </a:lnTo>
                  <a:lnTo>
                    <a:pt x="22143" y="4040"/>
                  </a:lnTo>
                  <a:lnTo>
                    <a:pt x="22115" y="4117"/>
                  </a:lnTo>
                  <a:lnTo>
                    <a:pt x="22115" y="4141"/>
                  </a:lnTo>
                  <a:lnTo>
                    <a:pt x="22122" y="4158"/>
                  </a:lnTo>
                  <a:lnTo>
                    <a:pt x="22143" y="4191"/>
                  </a:lnTo>
                  <a:lnTo>
                    <a:pt x="22160" y="4236"/>
                  </a:lnTo>
                  <a:lnTo>
                    <a:pt x="22169" y="4245"/>
                  </a:lnTo>
                  <a:lnTo>
                    <a:pt x="22169" y="4228"/>
                  </a:lnTo>
                  <a:lnTo>
                    <a:pt x="22174" y="4228"/>
                  </a:lnTo>
                  <a:lnTo>
                    <a:pt x="22181" y="4269"/>
                  </a:lnTo>
                  <a:lnTo>
                    <a:pt x="22174" y="4302"/>
                  </a:lnTo>
                  <a:lnTo>
                    <a:pt x="22169" y="4252"/>
                  </a:lnTo>
                  <a:lnTo>
                    <a:pt x="22127" y="4252"/>
                  </a:lnTo>
                  <a:lnTo>
                    <a:pt x="22122" y="4236"/>
                  </a:lnTo>
                  <a:lnTo>
                    <a:pt x="22105" y="4252"/>
                  </a:lnTo>
                  <a:lnTo>
                    <a:pt x="22084" y="4306"/>
                  </a:lnTo>
                  <a:lnTo>
                    <a:pt x="22068" y="4302"/>
                  </a:lnTo>
                  <a:lnTo>
                    <a:pt x="22061" y="4252"/>
                  </a:lnTo>
                  <a:lnTo>
                    <a:pt x="22072" y="4207"/>
                  </a:lnTo>
                  <a:lnTo>
                    <a:pt x="22072" y="4158"/>
                  </a:lnTo>
                  <a:lnTo>
                    <a:pt x="22089" y="4125"/>
                  </a:lnTo>
                  <a:lnTo>
                    <a:pt x="22084" y="4096"/>
                  </a:lnTo>
                  <a:lnTo>
                    <a:pt x="22072" y="4080"/>
                  </a:lnTo>
                  <a:lnTo>
                    <a:pt x="22072" y="4080"/>
                  </a:lnTo>
                  <a:lnTo>
                    <a:pt x="22072" y="4080"/>
                  </a:lnTo>
                  <a:close/>
                  <a:moveTo>
                    <a:pt x="23017" y="3846"/>
                  </a:moveTo>
                  <a:lnTo>
                    <a:pt x="23022" y="3846"/>
                  </a:lnTo>
                  <a:lnTo>
                    <a:pt x="23034" y="3858"/>
                  </a:lnTo>
                  <a:lnTo>
                    <a:pt x="23022" y="3858"/>
                  </a:lnTo>
                  <a:lnTo>
                    <a:pt x="23017" y="3846"/>
                  </a:lnTo>
                  <a:lnTo>
                    <a:pt x="23017" y="3846"/>
                  </a:lnTo>
                  <a:lnTo>
                    <a:pt x="23017" y="3846"/>
                  </a:lnTo>
                  <a:close/>
                  <a:moveTo>
                    <a:pt x="23088" y="3874"/>
                  </a:moveTo>
                  <a:lnTo>
                    <a:pt x="23072" y="3874"/>
                  </a:lnTo>
                  <a:lnTo>
                    <a:pt x="23072" y="3862"/>
                  </a:lnTo>
                  <a:lnTo>
                    <a:pt x="23088" y="3858"/>
                  </a:lnTo>
                  <a:lnTo>
                    <a:pt x="23088" y="3874"/>
                  </a:lnTo>
                  <a:lnTo>
                    <a:pt x="23088" y="3874"/>
                  </a:lnTo>
                  <a:lnTo>
                    <a:pt x="23088" y="3874"/>
                  </a:lnTo>
                  <a:close/>
                  <a:moveTo>
                    <a:pt x="23001" y="3931"/>
                  </a:moveTo>
                  <a:lnTo>
                    <a:pt x="23001" y="3903"/>
                  </a:lnTo>
                  <a:lnTo>
                    <a:pt x="23034" y="3895"/>
                  </a:lnTo>
                  <a:lnTo>
                    <a:pt x="23050" y="3874"/>
                  </a:lnTo>
                  <a:lnTo>
                    <a:pt x="23060" y="3862"/>
                  </a:lnTo>
                  <a:lnTo>
                    <a:pt x="23072" y="3891"/>
                  </a:lnTo>
                  <a:lnTo>
                    <a:pt x="23050" y="3914"/>
                  </a:lnTo>
                  <a:lnTo>
                    <a:pt x="23001" y="3931"/>
                  </a:lnTo>
                  <a:lnTo>
                    <a:pt x="23001" y="3931"/>
                  </a:lnTo>
                  <a:lnTo>
                    <a:pt x="23001" y="3931"/>
                  </a:lnTo>
                  <a:close/>
                  <a:moveTo>
                    <a:pt x="22946" y="3957"/>
                  </a:moveTo>
                  <a:lnTo>
                    <a:pt x="22946" y="3952"/>
                  </a:lnTo>
                  <a:lnTo>
                    <a:pt x="22946" y="3957"/>
                  </a:lnTo>
                  <a:lnTo>
                    <a:pt x="22946" y="3957"/>
                  </a:lnTo>
                  <a:lnTo>
                    <a:pt x="22946" y="3957"/>
                  </a:lnTo>
                  <a:close/>
                  <a:moveTo>
                    <a:pt x="22953" y="4002"/>
                  </a:moveTo>
                  <a:lnTo>
                    <a:pt x="22968" y="3973"/>
                  </a:lnTo>
                  <a:lnTo>
                    <a:pt x="22979" y="3969"/>
                  </a:lnTo>
                  <a:lnTo>
                    <a:pt x="22968" y="3990"/>
                  </a:lnTo>
                  <a:lnTo>
                    <a:pt x="22968" y="4002"/>
                  </a:lnTo>
                  <a:lnTo>
                    <a:pt x="22953" y="4002"/>
                  </a:lnTo>
                  <a:lnTo>
                    <a:pt x="22953" y="4002"/>
                  </a:lnTo>
                  <a:lnTo>
                    <a:pt x="22953" y="4002"/>
                  </a:lnTo>
                  <a:close/>
                  <a:moveTo>
                    <a:pt x="22946" y="4014"/>
                  </a:moveTo>
                  <a:lnTo>
                    <a:pt x="22953" y="4014"/>
                  </a:lnTo>
                  <a:lnTo>
                    <a:pt x="22953" y="4023"/>
                  </a:lnTo>
                  <a:lnTo>
                    <a:pt x="22946" y="4014"/>
                  </a:lnTo>
                  <a:lnTo>
                    <a:pt x="22946" y="4014"/>
                  </a:lnTo>
                  <a:lnTo>
                    <a:pt x="22946" y="4014"/>
                  </a:lnTo>
                  <a:close/>
                  <a:moveTo>
                    <a:pt x="22916" y="4058"/>
                  </a:moveTo>
                  <a:lnTo>
                    <a:pt x="22925" y="4040"/>
                  </a:lnTo>
                  <a:lnTo>
                    <a:pt x="22930" y="4040"/>
                  </a:lnTo>
                  <a:lnTo>
                    <a:pt x="22916" y="4058"/>
                  </a:lnTo>
                  <a:lnTo>
                    <a:pt x="22916" y="4058"/>
                  </a:lnTo>
                  <a:lnTo>
                    <a:pt x="22916" y="4058"/>
                  </a:lnTo>
                  <a:close/>
                  <a:moveTo>
                    <a:pt x="22861" y="4117"/>
                  </a:moveTo>
                  <a:lnTo>
                    <a:pt x="22854" y="4113"/>
                  </a:lnTo>
                  <a:lnTo>
                    <a:pt x="22861" y="4113"/>
                  </a:lnTo>
                  <a:lnTo>
                    <a:pt x="22861" y="4117"/>
                  </a:lnTo>
                  <a:lnTo>
                    <a:pt x="22861" y="4117"/>
                  </a:lnTo>
                  <a:lnTo>
                    <a:pt x="22861" y="4117"/>
                  </a:lnTo>
                  <a:close/>
                  <a:moveTo>
                    <a:pt x="22807" y="4179"/>
                  </a:moveTo>
                  <a:lnTo>
                    <a:pt x="22816" y="4179"/>
                  </a:lnTo>
                  <a:lnTo>
                    <a:pt x="22807" y="4179"/>
                  </a:lnTo>
                  <a:lnTo>
                    <a:pt x="22807" y="4179"/>
                  </a:lnTo>
                  <a:lnTo>
                    <a:pt x="22807" y="4179"/>
                  </a:lnTo>
                  <a:close/>
                  <a:moveTo>
                    <a:pt x="22791" y="4195"/>
                  </a:moveTo>
                  <a:lnTo>
                    <a:pt x="22779" y="4224"/>
                  </a:lnTo>
                  <a:lnTo>
                    <a:pt x="22753" y="4228"/>
                  </a:lnTo>
                  <a:lnTo>
                    <a:pt x="22791" y="4195"/>
                  </a:lnTo>
                  <a:lnTo>
                    <a:pt x="22791" y="4195"/>
                  </a:lnTo>
                  <a:lnTo>
                    <a:pt x="22791" y="4195"/>
                  </a:lnTo>
                  <a:close/>
                  <a:moveTo>
                    <a:pt x="22602" y="4340"/>
                  </a:moveTo>
                  <a:lnTo>
                    <a:pt x="22613" y="4318"/>
                  </a:lnTo>
                  <a:lnTo>
                    <a:pt x="22628" y="4302"/>
                  </a:lnTo>
                  <a:lnTo>
                    <a:pt x="22661" y="4285"/>
                  </a:lnTo>
                  <a:lnTo>
                    <a:pt x="22665" y="4285"/>
                  </a:lnTo>
                  <a:lnTo>
                    <a:pt x="22644" y="4306"/>
                  </a:lnTo>
                  <a:lnTo>
                    <a:pt x="22613" y="4335"/>
                  </a:lnTo>
                  <a:lnTo>
                    <a:pt x="22602" y="4340"/>
                  </a:lnTo>
                  <a:lnTo>
                    <a:pt x="22602" y="4340"/>
                  </a:lnTo>
                  <a:lnTo>
                    <a:pt x="22602" y="4340"/>
                  </a:lnTo>
                  <a:close/>
                  <a:moveTo>
                    <a:pt x="22413" y="4446"/>
                  </a:moveTo>
                  <a:lnTo>
                    <a:pt x="22413" y="4434"/>
                  </a:lnTo>
                  <a:lnTo>
                    <a:pt x="22439" y="4417"/>
                  </a:lnTo>
                  <a:lnTo>
                    <a:pt x="22429" y="4413"/>
                  </a:lnTo>
                  <a:lnTo>
                    <a:pt x="22483" y="4373"/>
                  </a:lnTo>
                  <a:lnTo>
                    <a:pt x="22483" y="4363"/>
                  </a:lnTo>
                  <a:lnTo>
                    <a:pt x="22493" y="4356"/>
                  </a:lnTo>
                  <a:lnTo>
                    <a:pt x="22500" y="4373"/>
                  </a:lnTo>
                  <a:lnTo>
                    <a:pt x="22514" y="4373"/>
                  </a:lnTo>
                  <a:lnTo>
                    <a:pt x="22547" y="4347"/>
                  </a:lnTo>
                  <a:lnTo>
                    <a:pt x="22552" y="4347"/>
                  </a:lnTo>
                  <a:lnTo>
                    <a:pt x="22552" y="4363"/>
                  </a:lnTo>
                  <a:lnTo>
                    <a:pt x="22514" y="4373"/>
                  </a:lnTo>
                  <a:lnTo>
                    <a:pt x="22476" y="4396"/>
                  </a:lnTo>
                  <a:lnTo>
                    <a:pt x="22467" y="4396"/>
                  </a:lnTo>
                  <a:lnTo>
                    <a:pt x="22462" y="4413"/>
                  </a:lnTo>
                  <a:lnTo>
                    <a:pt x="22413" y="4446"/>
                  </a:lnTo>
                  <a:lnTo>
                    <a:pt x="22413" y="4446"/>
                  </a:lnTo>
                  <a:lnTo>
                    <a:pt x="22413" y="4446"/>
                  </a:lnTo>
                  <a:close/>
                  <a:moveTo>
                    <a:pt x="22370" y="4434"/>
                  </a:moveTo>
                  <a:lnTo>
                    <a:pt x="22391" y="4446"/>
                  </a:lnTo>
                  <a:lnTo>
                    <a:pt x="22354" y="4467"/>
                  </a:lnTo>
                  <a:lnTo>
                    <a:pt x="22337" y="4491"/>
                  </a:lnTo>
                  <a:lnTo>
                    <a:pt x="22332" y="4491"/>
                  </a:lnTo>
                  <a:lnTo>
                    <a:pt x="22320" y="4512"/>
                  </a:lnTo>
                  <a:lnTo>
                    <a:pt x="22316" y="4507"/>
                  </a:lnTo>
                  <a:lnTo>
                    <a:pt x="22316" y="4500"/>
                  </a:lnTo>
                  <a:lnTo>
                    <a:pt x="22337" y="4474"/>
                  </a:lnTo>
                  <a:lnTo>
                    <a:pt x="22370" y="4434"/>
                  </a:lnTo>
                  <a:lnTo>
                    <a:pt x="22370" y="4434"/>
                  </a:lnTo>
                  <a:lnTo>
                    <a:pt x="22370" y="4434"/>
                  </a:lnTo>
                  <a:close/>
                  <a:moveTo>
                    <a:pt x="15463" y="4484"/>
                  </a:moveTo>
                  <a:lnTo>
                    <a:pt x="15454" y="4484"/>
                  </a:lnTo>
                  <a:lnTo>
                    <a:pt x="15463" y="4484"/>
                  </a:lnTo>
                  <a:lnTo>
                    <a:pt x="15463" y="4484"/>
                  </a:lnTo>
                  <a:lnTo>
                    <a:pt x="15463" y="4484"/>
                  </a:lnTo>
                  <a:close/>
                  <a:moveTo>
                    <a:pt x="22413" y="4491"/>
                  </a:moveTo>
                  <a:lnTo>
                    <a:pt x="22408" y="4507"/>
                  </a:lnTo>
                  <a:lnTo>
                    <a:pt x="22396" y="4507"/>
                  </a:lnTo>
                  <a:lnTo>
                    <a:pt x="22396" y="4500"/>
                  </a:lnTo>
                  <a:lnTo>
                    <a:pt x="22413" y="4491"/>
                  </a:lnTo>
                  <a:lnTo>
                    <a:pt x="22413" y="4491"/>
                  </a:lnTo>
                  <a:lnTo>
                    <a:pt x="22413" y="4491"/>
                  </a:lnTo>
                  <a:close/>
                  <a:moveTo>
                    <a:pt x="22370" y="4524"/>
                  </a:moveTo>
                  <a:lnTo>
                    <a:pt x="22370" y="4528"/>
                  </a:lnTo>
                  <a:lnTo>
                    <a:pt x="22358" y="4524"/>
                  </a:lnTo>
                  <a:lnTo>
                    <a:pt x="22370" y="4524"/>
                  </a:lnTo>
                  <a:lnTo>
                    <a:pt x="22370" y="4524"/>
                  </a:lnTo>
                  <a:lnTo>
                    <a:pt x="22370" y="4524"/>
                  </a:lnTo>
                  <a:close/>
                  <a:moveTo>
                    <a:pt x="21366" y="4566"/>
                  </a:moveTo>
                  <a:lnTo>
                    <a:pt x="21359" y="4566"/>
                  </a:lnTo>
                  <a:lnTo>
                    <a:pt x="21366" y="4562"/>
                  </a:lnTo>
                  <a:lnTo>
                    <a:pt x="21366" y="4566"/>
                  </a:lnTo>
                  <a:lnTo>
                    <a:pt x="21366" y="4566"/>
                  </a:lnTo>
                  <a:lnTo>
                    <a:pt x="21366" y="4566"/>
                  </a:lnTo>
                  <a:close/>
                </a:path>
              </a:pathLst>
            </a:custGeom>
            <a:solidFill>
              <a:schemeClr val="bg2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00" name="Freeform 544">
              <a:extLst>
                <a:ext uri="{FF2B5EF4-FFF2-40B4-BE49-F238E27FC236}">
                  <a16:creationId xmlns:a16="http://schemas.microsoft.com/office/drawing/2014/main" id="{86271F8E-583D-4920-9916-C85FEF9251DA}"/>
                </a:ext>
              </a:extLst>
            </p:cNvPr>
            <p:cNvSpPr>
              <a:spLocks/>
            </p:cNvSpPr>
            <p:nvPr/>
          </p:nvSpPr>
          <p:spPr bwMode="gray">
            <a:xfrm>
              <a:off x="6471487" y="2753611"/>
              <a:ext cx="22101" cy="19340"/>
            </a:xfrm>
            <a:custGeom>
              <a:avLst/>
              <a:gdLst>
                <a:gd name="T0" fmla="*/ 16 w 144"/>
                <a:gd name="T1" fmla="*/ 126 h 126"/>
                <a:gd name="T2" fmla="*/ 9 w 144"/>
                <a:gd name="T3" fmla="*/ 119 h 126"/>
                <a:gd name="T4" fmla="*/ 0 w 144"/>
                <a:gd name="T5" fmla="*/ 97 h 126"/>
                <a:gd name="T6" fmla="*/ 21 w 144"/>
                <a:gd name="T7" fmla="*/ 88 h 126"/>
                <a:gd name="T8" fmla="*/ 21 w 144"/>
                <a:gd name="T9" fmla="*/ 64 h 126"/>
                <a:gd name="T10" fmla="*/ 30 w 144"/>
                <a:gd name="T11" fmla="*/ 43 h 126"/>
                <a:gd name="T12" fmla="*/ 54 w 144"/>
                <a:gd name="T13" fmla="*/ 26 h 126"/>
                <a:gd name="T14" fmla="*/ 68 w 144"/>
                <a:gd name="T15" fmla="*/ 26 h 126"/>
                <a:gd name="T16" fmla="*/ 85 w 144"/>
                <a:gd name="T17" fmla="*/ 34 h 126"/>
                <a:gd name="T18" fmla="*/ 106 w 144"/>
                <a:gd name="T19" fmla="*/ 0 h 126"/>
                <a:gd name="T20" fmla="*/ 118 w 144"/>
                <a:gd name="T21" fmla="*/ 0 h 126"/>
                <a:gd name="T22" fmla="*/ 122 w 144"/>
                <a:gd name="T23" fmla="*/ 26 h 126"/>
                <a:gd name="T24" fmla="*/ 129 w 144"/>
                <a:gd name="T25" fmla="*/ 34 h 126"/>
                <a:gd name="T26" fmla="*/ 139 w 144"/>
                <a:gd name="T27" fmla="*/ 50 h 126"/>
                <a:gd name="T28" fmla="*/ 139 w 144"/>
                <a:gd name="T29" fmla="*/ 64 h 126"/>
                <a:gd name="T30" fmla="*/ 144 w 144"/>
                <a:gd name="T31" fmla="*/ 71 h 126"/>
                <a:gd name="T32" fmla="*/ 139 w 144"/>
                <a:gd name="T33" fmla="*/ 97 h 126"/>
                <a:gd name="T34" fmla="*/ 122 w 144"/>
                <a:gd name="T35" fmla="*/ 97 h 126"/>
                <a:gd name="T36" fmla="*/ 106 w 144"/>
                <a:gd name="T37" fmla="*/ 97 h 126"/>
                <a:gd name="T38" fmla="*/ 92 w 144"/>
                <a:gd name="T39" fmla="*/ 104 h 126"/>
                <a:gd name="T40" fmla="*/ 75 w 144"/>
                <a:gd name="T41" fmla="*/ 97 h 126"/>
                <a:gd name="T42" fmla="*/ 68 w 144"/>
                <a:gd name="T43" fmla="*/ 126 h 126"/>
                <a:gd name="T44" fmla="*/ 37 w 144"/>
                <a:gd name="T45" fmla="*/ 126 h 126"/>
                <a:gd name="T46" fmla="*/ 37 w 144"/>
                <a:gd name="T47" fmla="*/ 119 h 126"/>
                <a:gd name="T48" fmla="*/ 21 w 144"/>
                <a:gd name="T49" fmla="*/ 109 h 126"/>
                <a:gd name="T50" fmla="*/ 16 w 144"/>
                <a:gd name="T51" fmla="*/ 109 h 126"/>
                <a:gd name="T52" fmla="*/ 16 w 144"/>
                <a:gd name="T53" fmla="*/ 126 h 126"/>
                <a:gd name="T54" fmla="*/ 16 w 144"/>
                <a:gd name="T55" fmla="*/ 126 h 126"/>
                <a:gd name="T56" fmla="*/ 16 w 144"/>
                <a:gd name="T57" fmla="*/ 126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44" h="126">
                  <a:moveTo>
                    <a:pt x="16" y="126"/>
                  </a:moveTo>
                  <a:lnTo>
                    <a:pt x="9" y="119"/>
                  </a:lnTo>
                  <a:lnTo>
                    <a:pt x="0" y="97"/>
                  </a:lnTo>
                  <a:lnTo>
                    <a:pt x="21" y="88"/>
                  </a:lnTo>
                  <a:lnTo>
                    <a:pt x="21" y="64"/>
                  </a:lnTo>
                  <a:lnTo>
                    <a:pt x="30" y="43"/>
                  </a:lnTo>
                  <a:lnTo>
                    <a:pt x="54" y="26"/>
                  </a:lnTo>
                  <a:lnTo>
                    <a:pt x="68" y="26"/>
                  </a:lnTo>
                  <a:lnTo>
                    <a:pt x="85" y="34"/>
                  </a:lnTo>
                  <a:lnTo>
                    <a:pt x="106" y="0"/>
                  </a:lnTo>
                  <a:lnTo>
                    <a:pt x="118" y="0"/>
                  </a:lnTo>
                  <a:lnTo>
                    <a:pt x="122" y="26"/>
                  </a:lnTo>
                  <a:lnTo>
                    <a:pt x="129" y="34"/>
                  </a:lnTo>
                  <a:lnTo>
                    <a:pt x="139" y="50"/>
                  </a:lnTo>
                  <a:lnTo>
                    <a:pt x="139" y="64"/>
                  </a:lnTo>
                  <a:lnTo>
                    <a:pt x="144" y="71"/>
                  </a:lnTo>
                  <a:lnTo>
                    <a:pt x="139" y="97"/>
                  </a:lnTo>
                  <a:lnTo>
                    <a:pt x="122" y="97"/>
                  </a:lnTo>
                  <a:lnTo>
                    <a:pt x="106" y="97"/>
                  </a:lnTo>
                  <a:lnTo>
                    <a:pt x="92" y="104"/>
                  </a:lnTo>
                  <a:lnTo>
                    <a:pt x="75" y="97"/>
                  </a:lnTo>
                  <a:lnTo>
                    <a:pt x="68" y="126"/>
                  </a:lnTo>
                  <a:lnTo>
                    <a:pt x="37" y="126"/>
                  </a:lnTo>
                  <a:lnTo>
                    <a:pt x="37" y="119"/>
                  </a:lnTo>
                  <a:lnTo>
                    <a:pt x="21" y="109"/>
                  </a:lnTo>
                  <a:lnTo>
                    <a:pt x="16" y="109"/>
                  </a:lnTo>
                  <a:lnTo>
                    <a:pt x="16" y="126"/>
                  </a:lnTo>
                  <a:lnTo>
                    <a:pt x="16" y="126"/>
                  </a:lnTo>
                  <a:lnTo>
                    <a:pt x="16" y="126"/>
                  </a:lnTo>
                  <a:close/>
                </a:path>
              </a:pathLst>
            </a:custGeom>
            <a:solidFill>
              <a:schemeClr val="bg2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01" name="Freeform 545">
              <a:extLst>
                <a:ext uri="{FF2B5EF4-FFF2-40B4-BE49-F238E27FC236}">
                  <a16:creationId xmlns:a16="http://schemas.microsoft.com/office/drawing/2014/main" id="{DE484467-E366-4B7E-B854-77092E909A3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532723" y="2373719"/>
              <a:ext cx="227603" cy="194321"/>
            </a:xfrm>
            <a:custGeom>
              <a:avLst/>
              <a:gdLst>
                <a:gd name="T0" fmla="*/ 997 w 1483"/>
                <a:gd name="T1" fmla="*/ 1070 h 1266"/>
                <a:gd name="T2" fmla="*/ 694 w 1483"/>
                <a:gd name="T3" fmla="*/ 1139 h 1266"/>
                <a:gd name="T4" fmla="*/ 619 w 1483"/>
                <a:gd name="T5" fmla="*/ 1127 h 1266"/>
                <a:gd name="T6" fmla="*/ 609 w 1483"/>
                <a:gd name="T7" fmla="*/ 1193 h 1266"/>
                <a:gd name="T8" fmla="*/ 581 w 1483"/>
                <a:gd name="T9" fmla="*/ 1209 h 1266"/>
                <a:gd name="T10" fmla="*/ 567 w 1483"/>
                <a:gd name="T11" fmla="*/ 1172 h 1266"/>
                <a:gd name="T12" fmla="*/ 550 w 1483"/>
                <a:gd name="T13" fmla="*/ 1127 h 1266"/>
                <a:gd name="T14" fmla="*/ 475 w 1483"/>
                <a:gd name="T15" fmla="*/ 1044 h 1266"/>
                <a:gd name="T16" fmla="*/ 463 w 1483"/>
                <a:gd name="T17" fmla="*/ 1011 h 1266"/>
                <a:gd name="T18" fmla="*/ 441 w 1483"/>
                <a:gd name="T19" fmla="*/ 971 h 1266"/>
                <a:gd name="T20" fmla="*/ 378 w 1483"/>
                <a:gd name="T21" fmla="*/ 921 h 1266"/>
                <a:gd name="T22" fmla="*/ 323 w 1483"/>
                <a:gd name="T23" fmla="*/ 860 h 1266"/>
                <a:gd name="T24" fmla="*/ 312 w 1483"/>
                <a:gd name="T25" fmla="*/ 805 h 1266"/>
                <a:gd name="T26" fmla="*/ 278 w 1483"/>
                <a:gd name="T27" fmla="*/ 654 h 1266"/>
                <a:gd name="T28" fmla="*/ 189 w 1483"/>
                <a:gd name="T29" fmla="*/ 572 h 1266"/>
                <a:gd name="T30" fmla="*/ 172 w 1483"/>
                <a:gd name="T31" fmla="*/ 510 h 1266"/>
                <a:gd name="T32" fmla="*/ 156 w 1483"/>
                <a:gd name="T33" fmla="*/ 489 h 1266"/>
                <a:gd name="T34" fmla="*/ 47 w 1483"/>
                <a:gd name="T35" fmla="*/ 326 h 1266"/>
                <a:gd name="T36" fmla="*/ 0 w 1483"/>
                <a:gd name="T37" fmla="*/ 321 h 1266"/>
                <a:gd name="T38" fmla="*/ 106 w 1483"/>
                <a:gd name="T39" fmla="*/ 239 h 1266"/>
                <a:gd name="T40" fmla="*/ 210 w 1483"/>
                <a:gd name="T41" fmla="*/ 177 h 1266"/>
                <a:gd name="T42" fmla="*/ 172 w 1483"/>
                <a:gd name="T43" fmla="*/ 50 h 1266"/>
                <a:gd name="T44" fmla="*/ 408 w 1483"/>
                <a:gd name="T45" fmla="*/ 17 h 1266"/>
                <a:gd name="T46" fmla="*/ 718 w 1483"/>
                <a:gd name="T47" fmla="*/ 239 h 1266"/>
                <a:gd name="T48" fmla="*/ 928 w 1483"/>
                <a:gd name="T49" fmla="*/ 288 h 1266"/>
                <a:gd name="T50" fmla="*/ 987 w 1483"/>
                <a:gd name="T51" fmla="*/ 326 h 1266"/>
                <a:gd name="T52" fmla="*/ 1004 w 1483"/>
                <a:gd name="T53" fmla="*/ 345 h 1266"/>
                <a:gd name="T54" fmla="*/ 1034 w 1483"/>
                <a:gd name="T55" fmla="*/ 378 h 1266"/>
                <a:gd name="T56" fmla="*/ 1051 w 1483"/>
                <a:gd name="T57" fmla="*/ 387 h 1266"/>
                <a:gd name="T58" fmla="*/ 1089 w 1483"/>
                <a:gd name="T59" fmla="*/ 432 h 1266"/>
                <a:gd name="T60" fmla="*/ 1105 w 1483"/>
                <a:gd name="T61" fmla="*/ 461 h 1266"/>
                <a:gd name="T62" fmla="*/ 1089 w 1483"/>
                <a:gd name="T63" fmla="*/ 489 h 1266"/>
                <a:gd name="T64" fmla="*/ 1122 w 1483"/>
                <a:gd name="T65" fmla="*/ 531 h 1266"/>
                <a:gd name="T66" fmla="*/ 1143 w 1483"/>
                <a:gd name="T67" fmla="*/ 583 h 1266"/>
                <a:gd name="T68" fmla="*/ 1176 w 1483"/>
                <a:gd name="T69" fmla="*/ 588 h 1266"/>
                <a:gd name="T70" fmla="*/ 1186 w 1483"/>
                <a:gd name="T71" fmla="*/ 600 h 1266"/>
                <a:gd name="T72" fmla="*/ 1197 w 1483"/>
                <a:gd name="T73" fmla="*/ 626 h 1266"/>
                <a:gd name="T74" fmla="*/ 1450 w 1483"/>
                <a:gd name="T75" fmla="*/ 737 h 1266"/>
                <a:gd name="T76" fmla="*/ 1436 w 1483"/>
                <a:gd name="T77" fmla="*/ 938 h 1266"/>
                <a:gd name="T78" fmla="*/ 9 w 1483"/>
                <a:gd name="T79" fmla="*/ 333 h 1266"/>
                <a:gd name="T80" fmla="*/ 0 w 1483"/>
                <a:gd name="T81" fmla="*/ 326 h 1266"/>
                <a:gd name="T82" fmla="*/ 1051 w 1483"/>
                <a:gd name="T83" fmla="*/ 383 h 1266"/>
                <a:gd name="T84" fmla="*/ 1051 w 1483"/>
                <a:gd name="T85" fmla="*/ 383 h 1266"/>
                <a:gd name="T86" fmla="*/ 517 w 1483"/>
                <a:gd name="T87" fmla="*/ 1172 h 1266"/>
                <a:gd name="T88" fmla="*/ 517 w 1483"/>
                <a:gd name="T89" fmla="*/ 1172 h 1266"/>
                <a:gd name="T90" fmla="*/ 517 w 1483"/>
                <a:gd name="T91" fmla="*/ 1172 h 1266"/>
                <a:gd name="T92" fmla="*/ 512 w 1483"/>
                <a:gd name="T93" fmla="*/ 1181 h 1266"/>
                <a:gd name="T94" fmla="*/ 529 w 1483"/>
                <a:gd name="T95" fmla="*/ 1181 h 1266"/>
                <a:gd name="T96" fmla="*/ 534 w 1483"/>
                <a:gd name="T97" fmla="*/ 1200 h 12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483" h="1266">
                  <a:moveTo>
                    <a:pt x="1436" y="938"/>
                  </a:moveTo>
                  <a:lnTo>
                    <a:pt x="1230" y="1016"/>
                  </a:lnTo>
                  <a:lnTo>
                    <a:pt x="997" y="1070"/>
                  </a:lnTo>
                  <a:lnTo>
                    <a:pt x="824" y="1266"/>
                  </a:lnTo>
                  <a:lnTo>
                    <a:pt x="824" y="1193"/>
                  </a:lnTo>
                  <a:lnTo>
                    <a:pt x="694" y="1139"/>
                  </a:lnTo>
                  <a:lnTo>
                    <a:pt x="656" y="1143"/>
                  </a:lnTo>
                  <a:lnTo>
                    <a:pt x="635" y="1127"/>
                  </a:lnTo>
                  <a:lnTo>
                    <a:pt x="619" y="1127"/>
                  </a:lnTo>
                  <a:lnTo>
                    <a:pt x="609" y="1139"/>
                  </a:lnTo>
                  <a:lnTo>
                    <a:pt x="604" y="1172"/>
                  </a:lnTo>
                  <a:lnTo>
                    <a:pt x="609" y="1193"/>
                  </a:lnTo>
                  <a:lnTo>
                    <a:pt x="604" y="1193"/>
                  </a:lnTo>
                  <a:lnTo>
                    <a:pt x="593" y="1200"/>
                  </a:lnTo>
                  <a:lnTo>
                    <a:pt x="581" y="1209"/>
                  </a:lnTo>
                  <a:lnTo>
                    <a:pt x="581" y="1193"/>
                  </a:lnTo>
                  <a:lnTo>
                    <a:pt x="567" y="1176"/>
                  </a:lnTo>
                  <a:lnTo>
                    <a:pt x="567" y="1172"/>
                  </a:lnTo>
                  <a:lnTo>
                    <a:pt x="555" y="1155"/>
                  </a:lnTo>
                  <a:lnTo>
                    <a:pt x="550" y="1160"/>
                  </a:lnTo>
                  <a:lnTo>
                    <a:pt x="550" y="1127"/>
                  </a:lnTo>
                  <a:lnTo>
                    <a:pt x="500" y="1098"/>
                  </a:lnTo>
                  <a:lnTo>
                    <a:pt x="484" y="1061"/>
                  </a:lnTo>
                  <a:lnTo>
                    <a:pt x="475" y="1044"/>
                  </a:lnTo>
                  <a:lnTo>
                    <a:pt x="475" y="1028"/>
                  </a:lnTo>
                  <a:lnTo>
                    <a:pt x="463" y="1016"/>
                  </a:lnTo>
                  <a:lnTo>
                    <a:pt x="463" y="1011"/>
                  </a:lnTo>
                  <a:lnTo>
                    <a:pt x="458" y="1004"/>
                  </a:lnTo>
                  <a:lnTo>
                    <a:pt x="446" y="987"/>
                  </a:lnTo>
                  <a:lnTo>
                    <a:pt x="441" y="971"/>
                  </a:lnTo>
                  <a:lnTo>
                    <a:pt x="441" y="959"/>
                  </a:lnTo>
                  <a:lnTo>
                    <a:pt x="392" y="921"/>
                  </a:lnTo>
                  <a:lnTo>
                    <a:pt x="378" y="921"/>
                  </a:lnTo>
                  <a:lnTo>
                    <a:pt x="366" y="905"/>
                  </a:lnTo>
                  <a:lnTo>
                    <a:pt x="349" y="883"/>
                  </a:lnTo>
                  <a:lnTo>
                    <a:pt x="323" y="860"/>
                  </a:lnTo>
                  <a:lnTo>
                    <a:pt x="323" y="843"/>
                  </a:lnTo>
                  <a:lnTo>
                    <a:pt x="323" y="827"/>
                  </a:lnTo>
                  <a:lnTo>
                    <a:pt x="312" y="805"/>
                  </a:lnTo>
                  <a:lnTo>
                    <a:pt x="323" y="765"/>
                  </a:lnTo>
                  <a:lnTo>
                    <a:pt x="316" y="749"/>
                  </a:lnTo>
                  <a:lnTo>
                    <a:pt x="278" y="654"/>
                  </a:lnTo>
                  <a:lnTo>
                    <a:pt x="257" y="638"/>
                  </a:lnTo>
                  <a:lnTo>
                    <a:pt x="203" y="609"/>
                  </a:lnTo>
                  <a:lnTo>
                    <a:pt x="189" y="572"/>
                  </a:lnTo>
                  <a:lnTo>
                    <a:pt x="193" y="572"/>
                  </a:lnTo>
                  <a:lnTo>
                    <a:pt x="189" y="548"/>
                  </a:lnTo>
                  <a:lnTo>
                    <a:pt x="172" y="510"/>
                  </a:lnTo>
                  <a:lnTo>
                    <a:pt x="156" y="498"/>
                  </a:lnTo>
                  <a:lnTo>
                    <a:pt x="151" y="494"/>
                  </a:lnTo>
                  <a:lnTo>
                    <a:pt x="156" y="489"/>
                  </a:lnTo>
                  <a:lnTo>
                    <a:pt x="139" y="477"/>
                  </a:lnTo>
                  <a:lnTo>
                    <a:pt x="118" y="437"/>
                  </a:lnTo>
                  <a:lnTo>
                    <a:pt x="47" y="326"/>
                  </a:lnTo>
                  <a:lnTo>
                    <a:pt x="14" y="321"/>
                  </a:lnTo>
                  <a:lnTo>
                    <a:pt x="9" y="326"/>
                  </a:lnTo>
                  <a:lnTo>
                    <a:pt x="0" y="321"/>
                  </a:lnTo>
                  <a:lnTo>
                    <a:pt x="14" y="288"/>
                  </a:lnTo>
                  <a:lnTo>
                    <a:pt x="30" y="222"/>
                  </a:lnTo>
                  <a:lnTo>
                    <a:pt x="106" y="239"/>
                  </a:lnTo>
                  <a:lnTo>
                    <a:pt x="139" y="215"/>
                  </a:lnTo>
                  <a:lnTo>
                    <a:pt x="156" y="182"/>
                  </a:lnTo>
                  <a:lnTo>
                    <a:pt x="210" y="177"/>
                  </a:lnTo>
                  <a:lnTo>
                    <a:pt x="215" y="144"/>
                  </a:lnTo>
                  <a:lnTo>
                    <a:pt x="241" y="139"/>
                  </a:lnTo>
                  <a:lnTo>
                    <a:pt x="172" y="50"/>
                  </a:lnTo>
                  <a:lnTo>
                    <a:pt x="316" y="9"/>
                  </a:lnTo>
                  <a:lnTo>
                    <a:pt x="323" y="0"/>
                  </a:lnTo>
                  <a:lnTo>
                    <a:pt x="408" y="17"/>
                  </a:lnTo>
                  <a:lnTo>
                    <a:pt x="484" y="66"/>
                  </a:lnTo>
                  <a:lnTo>
                    <a:pt x="534" y="83"/>
                  </a:lnTo>
                  <a:lnTo>
                    <a:pt x="718" y="239"/>
                  </a:lnTo>
                  <a:lnTo>
                    <a:pt x="841" y="239"/>
                  </a:lnTo>
                  <a:lnTo>
                    <a:pt x="907" y="250"/>
                  </a:lnTo>
                  <a:lnTo>
                    <a:pt x="928" y="288"/>
                  </a:lnTo>
                  <a:lnTo>
                    <a:pt x="971" y="288"/>
                  </a:lnTo>
                  <a:lnTo>
                    <a:pt x="982" y="288"/>
                  </a:lnTo>
                  <a:lnTo>
                    <a:pt x="987" y="326"/>
                  </a:lnTo>
                  <a:lnTo>
                    <a:pt x="1004" y="345"/>
                  </a:lnTo>
                  <a:lnTo>
                    <a:pt x="1004" y="350"/>
                  </a:lnTo>
                  <a:lnTo>
                    <a:pt x="1004" y="345"/>
                  </a:lnTo>
                  <a:lnTo>
                    <a:pt x="1004" y="361"/>
                  </a:lnTo>
                  <a:lnTo>
                    <a:pt x="1034" y="366"/>
                  </a:lnTo>
                  <a:lnTo>
                    <a:pt x="1034" y="378"/>
                  </a:lnTo>
                  <a:lnTo>
                    <a:pt x="1025" y="378"/>
                  </a:lnTo>
                  <a:lnTo>
                    <a:pt x="1041" y="399"/>
                  </a:lnTo>
                  <a:lnTo>
                    <a:pt x="1051" y="387"/>
                  </a:lnTo>
                  <a:lnTo>
                    <a:pt x="1067" y="404"/>
                  </a:lnTo>
                  <a:lnTo>
                    <a:pt x="1096" y="437"/>
                  </a:lnTo>
                  <a:lnTo>
                    <a:pt x="1089" y="432"/>
                  </a:lnTo>
                  <a:lnTo>
                    <a:pt x="1089" y="444"/>
                  </a:lnTo>
                  <a:lnTo>
                    <a:pt x="1096" y="456"/>
                  </a:lnTo>
                  <a:lnTo>
                    <a:pt x="1105" y="461"/>
                  </a:lnTo>
                  <a:lnTo>
                    <a:pt x="1096" y="477"/>
                  </a:lnTo>
                  <a:lnTo>
                    <a:pt x="1089" y="472"/>
                  </a:lnTo>
                  <a:lnTo>
                    <a:pt x="1089" y="489"/>
                  </a:lnTo>
                  <a:lnTo>
                    <a:pt x="1105" y="515"/>
                  </a:lnTo>
                  <a:lnTo>
                    <a:pt x="1096" y="510"/>
                  </a:lnTo>
                  <a:lnTo>
                    <a:pt x="1122" y="531"/>
                  </a:lnTo>
                  <a:lnTo>
                    <a:pt x="1126" y="555"/>
                  </a:lnTo>
                  <a:lnTo>
                    <a:pt x="1143" y="583"/>
                  </a:lnTo>
                  <a:lnTo>
                    <a:pt x="1143" y="583"/>
                  </a:lnTo>
                  <a:lnTo>
                    <a:pt x="1148" y="600"/>
                  </a:lnTo>
                  <a:lnTo>
                    <a:pt x="1176" y="588"/>
                  </a:lnTo>
                  <a:lnTo>
                    <a:pt x="1176" y="588"/>
                  </a:lnTo>
                  <a:lnTo>
                    <a:pt x="1176" y="600"/>
                  </a:lnTo>
                  <a:lnTo>
                    <a:pt x="1181" y="588"/>
                  </a:lnTo>
                  <a:lnTo>
                    <a:pt x="1186" y="600"/>
                  </a:lnTo>
                  <a:lnTo>
                    <a:pt x="1176" y="609"/>
                  </a:lnTo>
                  <a:lnTo>
                    <a:pt x="1197" y="621"/>
                  </a:lnTo>
                  <a:lnTo>
                    <a:pt x="1197" y="626"/>
                  </a:lnTo>
                  <a:lnTo>
                    <a:pt x="1268" y="716"/>
                  </a:lnTo>
                  <a:lnTo>
                    <a:pt x="1445" y="737"/>
                  </a:lnTo>
                  <a:lnTo>
                    <a:pt x="1450" y="737"/>
                  </a:lnTo>
                  <a:lnTo>
                    <a:pt x="1483" y="789"/>
                  </a:lnTo>
                  <a:lnTo>
                    <a:pt x="1436" y="938"/>
                  </a:lnTo>
                  <a:lnTo>
                    <a:pt x="1436" y="938"/>
                  </a:lnTo>
                  <a:lnTo>
                    <a:pt x="1436" y="938"/>
                  </a:lnTo>
                  <a:close/>
                  <a:moveTo>
                    <a:pt x="0" y="326"/>
                  </a:moveTo>
                  <a:lnTo>
                    <a:pt x="9" y="333"/>
                  </a:lnTo>
                  <a:lnTo>
                    <a:pt x="0" y="333"/>
                  </a:lnTo>
                  <a:lnTo>
                    <a:pt x="0" y="326"/>
                  </a:lnTo>
                  <a:lnTo>
                    <a:pt x="0" y="326"/>
                  </a:lnTo>
                  <a:lnTo>
                    <a:pt x="0" y="326"/>
                  </a:lnTo>
                  <a:close/>
                  <a:moveTo>
                    <a:pt x="1051" y="383"/>
                  </a:moveTo>
                  <a:lnTo>
                    <a:pt x="1051" y="383"/>
                  </a:lnTo>
                  <a:lnTo>
                    <a:pt x="1058" y="383"/>
                  </a:lnTo>
                  <a:lnTo>
                    <a:pt x="1051" y="383"/>
                  </a:lnTo>
                  <a:lnTo>
                    <a:pt x="1051" y="383"/>
                  </a:lnTo>
                  <a:lnTo>
                    <a:pt x="1051" y="383"/>
                  </a:lnTo>
                  <a:close/>
                  <a:moveTo>
                    <a:pt x="517" y="1172"/>
                  </a:moveTo>
                  <a:lnTo>
                    <a:pt x="517" y="1172"/>
                  </a:lnTo>
                  <a:lnTo>
                    <a:pt x="529" y="1181"/>
                  </a:lnTo>
                  <a:lnTo>
                    <a:pt x="512" y="1176"/>
                  </a:lnTo>
                  <a:lnTo>
                    <a:pt x="517" y="1172"/>
                  </a:lnTo>
                  <a:lnTo>
                    <a:pt x="517" y="1172"/>
                  </a:lnTo>
                  <a:lnTo>
                    <a:pt x="517" y="1172"/>
                  </a:lnTo>
                  <a:lnTo>
                    <a:pt x="517" y="1172"/>
                  </a:lnTo>
                  <a:close/>
                  <a:moveTo>
                    <a:pt x="534" y="1200"/>
                  </a:moveTo>
                  <a:lnTo>
                    <a:pt x="534" y="1193"/>
                  </a:lnTo>
                  <a:lnTo>
                    <a:pt x="512" y="1181"/>
                  </a:lnTo>
                  <a:lnTo>
                    <a:pt x="512" y="1176"/>
                  </a:lnTo>
                  <a:lnTo>
                    <a:pt x="517" y="1181"/>
                  </a:lnTo>
                  <a:lnTo>
                    <a:pt x="529" y="1181"/>
                  </a:lnTo>
                  <a:lnTo>
                    <a:pt x="529" y="1181"/>
                  </a:lnTo>
                  <a:lnTo>
                    <a:pt x="534" y="1176"/>
                  </a:lnTo>
                  <a:lnTo>
                    <a:pt x="534" y="1200"/>
                  </a:lnTo>
                  <a:lnTo>
                    <a:pt x="534" y="1200"/>
                  </a:lnTo>
                  <a:lnTo>
                    <a:pt x="534" y="1200"/>
                  </a:lnTo>
                  <a:close/>
                </a:path>
              </a:pathLst>
            </a:custGeom>
            <a:solidFill>
              <a:schemeClr val="bg2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02" name="Freeform 546">
              <a:extLst>
                <a:ext uri="{FF2B5EF4-FFF2-40B4-BE49-F238E27FC236}">
                  <a16:creationId xmlns:a16="http://schemas.microsoft.com/office/drawing/2014/main" id="{5A390C95-2B38-4AF4-9CCC-1E3ED1785EA7}"/>
                </a:ext>
              </a:extLst>
            </p:cNvPr>
            <p:cNvSpPr>
              <a:spLocks/>
            </p:cNvSpPr>
            <p:nvPr/>
          </p:nvSpPr>
          <p:spPr bwMode="gray">
            <a:xfrm>
              <a:off x="5553860" y="2180165"/>
              <a:ext cx="2456" cy="3223"/>
            </a:xfrm>
            <a:custGeom>
              <a:avLst/>
              <a:gdLst>
                <a:gd name="T0" fmla="*/ 5 w 16"/>
                <a:gd name="T1" fmla="*/ 0 h 21"/>
                <a:gd name="T2" fmla="*/ 5 w 16"/>
                <a:gd name="T3" fmla="*/ 4 h 21"/>
                <a:gd name="T4" fmla="*/ 5 w 16"/>
                <a:gd name="T5" fmla="*/ 4 h 21"/>
                <a:gd name="T6" fmla="*/ 16 w 16"/>
                <a:gd name="T7" fmla="*/ 21 h 21"/>
                <a:gd name="T8" fmla="*/ 5 w 16"/>
                <a:gd name="T9" fmla="*/ 21 h 21"/>
                <a:gd name="T10" fmla="*/ 0 w 16"/>
                <a:gd name="T11" fmla="*/ 0 h 21"/>
                <a:gd name="T12" fmla="*/ 5 w 16"/>
                <a:gd name="T13" fmla="*/ 0 h 21"/>
                <a:gd name="T14" fmla="*/ 5 w 16"/>
                <a:gd name="T15" fmla="*/ 0 h 21"/>
                <a:gd name="T16" fmla="*/ 5 w 16"/>
                <a:gd name="T17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21">
                  <a:moveTo>
                    <a:pt x="5" y="0"/>
                  </a:moveTo>
                  <a:lnTo>
                    <a:pt x="5" y="4"/>
                  </a:lnTo>
                  <a:lnTo>
                    <a:pt x="5" y="4"/>
                  </a:lnTo>
                  <a:lnTo>
                    <a:pt x="16" y="21"/>
                  </a:lnTo>
                  <a:lnTo>
                    <a:pt x="5" y="21"/>
                  </a:lnTo>
                  <a:lnTo>
                    <a:pt x="0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close/>
                </a:path>
              </a:pathLst>
            </a:custGeom>
            <a:solidFill>
              <a:schemeClr val="bg2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03" name="Freeform 547">
              <a:extLst>
                <a:ext uri="{FF2B5EF4-FFF2-40B4-BE49-F238E27FC236}">
                  <a16:creationId xmlns:a16="http://schemas.microsoft.com/office/drawing/2014/main" id="{55873959-827B-4872-9856-4550F989F261}"/>
                </a:ext>
              </a:extLst>
            </p:cNvPr>
            <p:cNvSpPr>
              <a:spLocks/>
            </p:cNvSpPr>
            <p:nvPr/>
          </p:nvSpPr>
          <p:spPr bwMode="gray">
            <a:xfrm>
              <a:off x="5485257" y="2548086"/>
              <a:ext cx="767" cy="2609"/>
            </a:xfrm>
            <a:custGeom>
              <a:avLst/>
              <a:gdLst>
                <a:gd name="T0" fmla="*/ 5 w 5"/>
                <a:gd name="T1" fmla="*/ 17 h 17"/>
                <a:gd name="T2" fmla="*/ 0 w 5"/>
                <a:gd name="T3" fmla="*/ 0 h 17"/>
                <a:gd name="T4" fmla="*/ 5 w 5"/>
                <a:gd name="T5" fmla="*/ 0 h 17"/>
                <a:gd name="T6" fmla="*/ 5 w 5"/>
                <a:gd name="T7" fmla="*/ 17 h 17"/>
                <a:gd name="T8" fmla="*/ 5 w 5"/>
                <a:gd name="T9" fmla="*/ 17 h 17"/>
                <a:gd name="T10" fmla="*/ 5 w 5"/>
                <a:gd name="T11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17">
                  <a:moveTo>
                    <a:pt x="5" y="17"/>
                  </a:moveTo>
                  <a:lnTo>
                    <a:pt x="0" y="0"/>
                  </a:lnTo>
                  <a:lnTo>
                    <a:pt x="5" y="0"/>
                  </a:lnTo>
                  <a:lnTo>
                    <a:pt x="5" y="17"/>
                  </a:lnTo>
                  <a:lnTo>
                    <a:pt x="5" y="17"/>
                  </a:lnTo>
                  <a:lnTo>
                    <a:pt x="5" y="17"/>
                  </a:lnTo>
                  <a:close/>
                </a:path>
              </a:pathLst>
            </a:custGeom>
            <a:solidFill>
              <a:schemeClr val="bg2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04" name="Freeform 548">
              <a:extLst>
                <a:ext uri="{FF2B5EF4-FFF2-40B4-BE49-F238E27FC236}">
                  <a16:creationId xmlns:a16="http://schemas.microsoft.com/office/drawing/2014/main" id="{B29B708E-978F-4EFA-870A-14B8A5B507AB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658879" y="2792445"/>
              <a:ext cx="100373" cy="54797"/>
            </a:xfrm>
            <a:custGeom>
              <a:avLst/>
              <a:gdLst>
                <a:gd name="T0" fmla="*/ 654 w 654"/>
                <a:gd name="T1" fmla="*/ 17 h 357"/>
                <a:gd name="T2" fmla="*/ 638 w 654"/>
                <a:gd name="T3" fmla="*/ 12 h 357"/>
                <a:gd name="T4" fmla="*/ 647 w 654"/>
                <a:gd name="T5" fmla="*/ 0 h 357"/>
                <a:gd name="T6" fmla="*/ 654 w 654"/>
                <a:gd name="T7" fmla="*/ 17 h 357"/>
                <a:gd name="T8" fmla="*/ 654 w 654"/>
                <a:gd name="T9" fmla="*/ 17 h 357"/>
                <a:gd name="T10" fmla="*/ 654 w 654"/>
                <a:gd name="T11" fmla="*/ 17 h 357"/>
                <a:gd name="T12" fmla="*/ 7 w 654"/>
                <a:gd name="T13" fmla="*/ 357 h 357"/>
                <a:gd name="T14" fmla="*/ 0 w 654"/>
                <a:gd name="T15" fmla="*/ 352 h 357"/>
                <a:gd name="T16" fmla="*/ 23 w 654"/>
                <a:gd name="T17" fmla="*/ 352 h 357"/>
                <a:gd name="T18" fmla="*/ 7 w 654"/>
                <a:gd name="T19" fmla="*/ 357 h 357"/>
                <a:gd name="T20" fmla="*/ 7 w 654"/>
                <a:gd name="T21" fmla="*/ 357 h 357"/>
                <a:gd name="T22" fmla="*/ 7 w 654"/>
                <a:gd name="T23" fmla="*/ 357 h 3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54" h="357">
                  <a:moveTo>
                    <a:pt x="654" y="17"/>
                  </a:moveTo>
                  <a:lnTo>
                    <a:pt x="638" y="12"/>
                  </a:lnTo>
                  <a:lnTo>
                    <a:pt x="647" y="0"/>
                  </a:lnTo>
                  <a:lnTo>
                    <a:pt x="654" y="17"/>
                  </a:lnTo>
                  <a:lnTo>
                    <a:pt x="654" y="17"/>
                  </a:lnTo>
                  <a:lnTo>
                    <a:pt x="654" y="17"/>
                  </a:lnTo>
                  <a:close/>
                  <a:moveTo>
                    <a:pt x="7" y="357"/>
                  </a:moveTo>
                  <a:lnTo>
                    <a:pt x="0" y="352"/>
                  </a:lnTo>
                  <a:lnTo>
                    <a:pt x="23" y="352"/>
                  </a:lnTo>
                  <a:lnTo>
                    <a:pt x="7" y="357"/>
                  </a:lnTo>
                  <a:lnTo>
                    <a:pt x="7" y="357"/>
                  </a:lnTo>
                  <a:lnTo>
                    <a:pt x="7" y="357"/>
                  </a:lnTo>
                  <a:close/>
                </a:path>
              </a:pathLst>
            </a:custGeom>
            <a:solidFill>
              <a:schemeClr val="bg2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05" name="Freeform 549">
              <a:extLst>
                <a:ext uri="{FF2B5EF4-FFF2-40B4-BE49-F238E27FC236}">
                  <a16:creationId xmlns:a16="http://schemas.microsoft.com/office/drawing/2014/main" id="{F50CE289-577D-4562-8F48-F7DDCA58721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316630" y="2990757"/>
              <a:ext cx="252313" cy="312203"/>
            </a:xfrm>
            <a:custGeom>
              <a:avLst/>
              <a:gdLst>
                <a:gd name="T0" fmla="*/ 449 w 1644"/>
                <a:gd name="T1" fmla="*/ 289 h 2034"/>
                <a:gd name="T2" fmla="*/ 437 w 1644"/>
                <a:gd name="T3" fmla="*/ 355 h 2034"/>
                <a:gd name="T4" fmla="*/ 534 w 1644"/>
                <a:gd name="T5" fmla="*/ 350 h 2034"/>
                <a:gd name="T6" fmla="*/ 588 w 1644"/>
                <a:gd name="T7" fmla="*/ 260 h 2034"/>
                <a:gd name="T8" fmla="*/ 664 w 1644"/>
                <a:gd name="T9" fmla="*/ 272 h 2034"/>
                <a:gd name="T10" fmla="*/ 718 w 1644"/>
                <a:gd name="T11" fmla="*/ 289 h 2034"/>
                <a:gd name="T12" fmla="*/ 805 w 1644"/>
                <a:gd name="T13" fmla="*/ 199 h 2034"/>
                <a:gd name="T14" fmla="*/ 881 w 1644"/>
                <a:gd name="T15" fmla="*/ 123 h 2034"/>
                <a:gd name="T16" fmla="*/ 923 w 1644"/>
                <a:gd name="T17" fmla="*/ 90 h 2034"/>
                <a:gd name="T18" fmla="*/ 1020 w 1644"/>
                <a:gd name="T19" fmla="*/ 22 h 2034"/>
                <a:gd name="T20" fmla="*/ 1075 w 1644"/>
                <a:gd name="T21" fmla="*/ 0 h 2034"/>
                <a:gd name="T22" fmla="*/ 1188 w 1644"/>
                <a:gd name="T23" fmla="*/ 22 h 2034"/>
                <a:gd name="T24" fmla="*/ 1226 w 1644"/>
                <a:gd name="T25" fmla="*/ 144 h 2034"/>
                <a:gd name="T26" fmla="*/ 1226 w 1644"/>
                <a:gd name="T27" fmla="*/ 293 h 2034"/>
                <a:gd name="T28" fmla="*/ 1171 w 1644"/>
                <a:gd name="T29" fmla="*/ 293 h 2034"/>
                <a:gd name="T30" fmla="*/ 1157 w 1644"/>
                <a:gd name="T31" fmla="*/ 355 h 2034"/>
                <a:gd name="T32" fmla="*/ 1238 w 1644"/>
                <a:gd name="T33" fmla="*/ 400 h 2034"/>
                <a:gd name="T34" fmla="*/ 1297 w 1644"/>
                <a:gd name="T35" fmla="*/ 366 h 2034"/>
                <a:gd name="T36" fmla="*/ 1221 w 1644"/>
                <a:gd name="T37" fmla="*/ 522 h 2034"/>
                <a:gd name="T38" fmla="*/ 1167 w 1644"/>
                <a:gd name="T39" fmla="*/ 605 h 2034"/>
                <a:gd name="T40" fmla="*/ 990 w 1644"/>
                <a:gd name="T41" fmla="*/ 815 h 2034"/>
                <a:gd name="T42" fmla="*/ 848 w 1644"/>
                <a:gd name="T43" fmla="*/ 910 h 2034"/>
                <a:gd name="T44" fmla="*/ 794 w 1644"/>
                <a:gd name="T45" fmla="*/ 926 h 2034"/>
                <a:gd name="T46" fmla="*/ 734 w 1644"/>
                <a:gd name="T47" fmla="*/ 943 h 2034"/>
                <a:gd name="T48" fmla="*/ 626 w 1644"/>
                <a:gd name="T49" fmla="*/ 938 h 2034"/>
                <a:gd name="T50" fmla="*/ 517 w 1644"/>
                <a:gd name="T51" fmla="*/ 959 h 2034"/>
                <a:gd name="T52" fmla="*/ 453 w 1644"/>
                <a:gd name="T53" fmla="*/ 959 h 2034"/>
                <a:gd name="T54" fmla="*/ 394 w 1644"/>
                <a:gd name="T55" fmla="*/ 992 h 2034"/>
                <a:gd name="T56" fmla="*/ 345 w 1644"/>
                <a:gd name="T57" fmla="*/ 964 h 2034"/>
                <a:gd name="T58" fmla="*/ 307 w 1644"/>
                <a:gd name="T59" fmla="*/ 943 h 2034"/>
                <a:gd name="T60" fmla="*/ 286 w 1644"/>
                <a:gd name="T61" fmla="*/ 959 h 2034"/>
                <a:gd name="T62" fmla="*/ 286 w 1644"/>
                <a:gd name="T63" fmla="*/ 922 h 2034"/>
                <a:gd name="T64" fmla="*/ 248 w 1644"/>
                <a:gd name="T65" fmla="*/ 848 h 2034"/>
                <a:gd name="T66" fmla="*/ 260 w 1644"/>
                <a:gd name="T67" fmla="*/ 832 h 2034"/>
                <a:gd name="T68" fmla="*/ 269 w 1644"/>
                <a:gd name="T69" fmla="*/ 759 h 2034"/>
                <a:gd name="T70" fmla="*/ 151 w 1644"/>
                <a:gd name="T71" fmla="*/ 522 h 2034"/>
                <a:gd name="T72" fmla="*/ 168 w 1644"/>
                <a:gd name="T73" fmla="*/ 461 h 2034"/>
                <a:gd name="T74" fmla="*/ 205 w 1644"/>
                <a:gd name="T75" fmla="*/ 466 h 2034"/>
                <a:gd name="T76" fmla="*/ 222 w 1644"/>
                <a:gd name="T77" fmla="*/ 515 h 2034"/>
                <a:gd name="T78" fmla="*/ 302 w 1644"/>
                <a:gd name="T79" fmla="*/ 515 h 2034"/>
                <a:gd name="T80" fmla="*/ 340 w 1644"/>
                <a:gd name="T81" fmla="*/ 511 h 2034"/>
                <a:gd name="T82" fmla="*/ 394 w 1644"/>
                <a:gd name="T83" fmla="*/ 482 h 2034"/>
                <a:gd name="T84" fmla="*/ 394 w 1644"/>
                <a:gd name="T85" fmla="*/ 199 h 2034"/>
                <a:gd name="T86" fmla="*/ 966 w 1644"/>
                <a:gd name="T87" fmla="*/ 511 h 2034"/>
                <a:gd name="T88" fmla="*/ 886 w 1644"/>
                <a:gd name="T89" fmla="*/ 577 h 2034"/>
                <a:gd name="T90" fmla="*/ 935 w 1644"/>
                <a:gd name="T91" fmla="*/ 659 h 2034"/>
                <a:gd name="T92" fmla="*/ 1011 w 1644"/>
                <a:gd name="T93" fmla="*/ 622 h 2034"/>
                <a:gd name="T94" fmla="*/ 1042 w 1644"/>
                <a:gd name="T95" fmla="*/ 577 h 2034"/>
                <a:gd name="T96" fmla="*/ 1049 w 1644"/>
                <a:gd name="T97" fmla="*/ 539 h 2034"/>
                <a:gd name="T98" fmla="*/ 1011 w 1644"/>
                <a:gd name="T99" fmla="*/ 511 h 2034"/>
                <a:gd name="T100" fmla="*/ 21 w 1644"/>
                <a:gd name="T101" fmla="*/ 78 h 2034"/>
                <a:gd name="T102" fmla="*/ 0 w 1644"/>
                <a:gd name="T103" fmla="*/ 55 h 2034"/>
                <a:gd name="T104" fmla="*/ 5 w 1644"/>
                <a:gd name="T105" fmla="*/ 38 h 2034"/>
                <a:gd name="T106" fmla="*/ 1644 w 1644"/>
                <a:gd name="T107" fmla="*/ 2034 h 2034"/>
                <a:gd name="T108" fmla="*/ 1644 w 1644"/>
                <a:gd name="T109" fmla="*/ 2029 h 2034"/>
                <a:gd name="T110" fmla="*/ 1644 w 1644"/>
                <a:gd name="T111" fmla="*/ 2034 h 20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644" h="2034">
                  <a:moveTo>
                    <a:pt x="394" y="199"/>
                  </a:moveTo>
                  <a:lnTo>
                    <a:pt x="416" y="222"/>
                  </a:lnTo>
                  <a:lnTo>
                    <a:pt x="449" y="289"/>
                  </a:lnTo>
                  <a:lnTo>
                    <a:pt x="453" y="310"/>
                  </a:lnTo>
                  <a:lnTo>
                    <a:pt x="432" y="333"/>
                  </a:lnTo>
                  <a:lnTo>
                    <a:pt x="437" y="355"/>
                  </a:lnTo>
                  <a:lnTo>
                    <a:pt x="508" y="366"/>
                  </a:lnTo>
                  <a:lnTo>
                    <a:pt x="517" y="350"/>
                  </a:lnTo>
                  <a:lnTo>
                    <a:pt x="534" y="350"/>
                  </a:lnTo>
                  <a:lnTo>
                    <a:pt x="546" y="326"/>
                  </a:lnTo>
                  <a:lnTo>
                    <a:pt x="579" y="300"/>
                  </a:lnTo>
                  <a:lnTo>
                    <a:pt x="588" y="260"/>
                  </a:lnTo>
                  <a:lnTo>
                    <a:pt x="600" y="244"/>
                  </a:lnTo>
                  <a:lnTo>
                    <a:pt x="633" y="239"/>
                  </a:lnTo>
                  <a:lnTo>
                    <a:pt x="664" y="272"/>
                  </a:lnTo>
                  <a:lnTo>
                    <a:pt x="685" y="272"/>
                  </a:lnTo>
                  <a:lnTo>
                    <a:pt x="697" y="277"/>
                  </a:lnTo>
                  <a:lnTo>
                    <a:pt x="718" y="289"/>
                  </a:lnTo>
                  <a:lnTo>
                    <a:pt x="777" y="272"/>
                  </a:lnTo>
                  <a:lnTo>
                    <a:pt x="789" y="255"/>
                  </a:lnTo>
                  <a:lnTo>
                    <a:pt x="805" y="199"/>
                  </a:lnTo>
                  <a:lnTo>
                    <a:pt x="843" y="189"/>
                  </a:lnTo>
                  <a:lnTo>
                    <a:pt x="869" y="166"/>
                  </a:lnTo>
                  <a:lnTo>
                    <a:pt x="881" y="123"/>
                  </a:lnTo>
                  <a:lnTo>
                    <a:pt x="914" y="95"/>
                  </a:lnTo>
                  <a:lnTo>
                    <a:pt x="919" y="95"/>
                  </a:lnTo>
                  <a:lnTo>
                    <a:pt x="923" y="90"/>
                  </a:lnTo>
                  <a:lnTo>
                    <a:pt x="952" y="74"/>
                  </a:lnTo>
                  <a:lnTo>
                    <a:pt x="973" y="38"/>
                  </a:lnTo>
                  <a:lnTo>
                    <a:pt x="1020" y="22"/>
                  </a:lnTo>
                  <a:lnTo>
                    <a:pt x="1027" y="12"/>
                  </a:lnTo>
                  <a:lnTo>
                    <a:pt x="1049" y="12"/>
                  </a:lnTo>
                  <a:lnTo>
                    <a:pt x="1075" y="0"/>
                  </a:lnTo>
                  <a:lnTo>
                    <a:pt x="1120" y="17"/>
                  </a:lnTo>
                  <a:lnTo>
                    <a:pt x="1157" y="17"/>
                  </a:lnTo>
                  <a:lnTo>
                    <a:pt x="1188" y="22"/>
                  </a:lnTo>
                  <a:lnTo>
                    <a:pt x="1205" y="78"/>
                  </a:lnTo>
                  <a:lnTo>
                    <a:pt x="1205" y="107"/>
                  </a:lnTo>
                  <a:lnTo>
                    <a:pt x="1226" y="144"/>
                  </a:lnTo>
                  <a:lnTo>
                    <a:pt x="1238" y="178"/>
                  </a:lnTo>
                  <a:lnTo>
                    <a:pt x="1238" y="293"/>
                  </a:lnTo>
                  <a:lnTo>
                    <a:pt x="1226" y="293"/>
                  </a:lnTo>
                  <a:lnTo>
                    <a:pt x="1195" y="277"/>
                  </a:lnTo>
                  <a:lnTo>
                    <a:pt x="1188" y="277"/>
                  </a:lnTo>
                  <a:lnTo>
                    <a:pt x="1171" y="293"/>
                  </a:lnTo>
                  <a:lnTo>
                    <a:pt x="1150" y="326"/>
                  </a:lnTo>
                  <a:lnTo>
                    <a:pt x="1150" y="355"/>
                  </a:lnTo>
                  <a:lnTo>
                    <a:pt x="1157" y="355"/>
                  </a:lnTo>
                  <a:lnTo>
                    <a:pt x="1171" y="388"/>
                  </a:lnTo>
                  <a:lnTo>
                    <a:pt x="1205" y="400"/>
                  </a:lnTo>
                  <a:lnTo>
                    <a:pt x="1238" y="400"/>
                  </a:lnTo>
                  <a:lnTo>
                    <a:pt x="1238" y="355"/>
                  </a:lnTo>
                  <a:lnTo>
                    <a:pt x="1242" y="366"/>
                  </a:lnTo>
                  <a:lnTo>
                    <a:pt x="1297" y="366"/>
                  </a:lnTo>
                  <a:lnTo>
                    <a:pt x="1259" y="494"/>
                  </a:lnTo>
                  <a:lnTo>
                    <a:pt x="1238" y="522"/>
                  </a:lnTo>
                  <a:lnTo>
                    <a:pt x="1221" y="522"/>
                  </a:lnTo>
                  <a:lnTo>
                    <a:pt x="1188" y="565"/>
                  </a:lnTo>
                  <a:lnTo>
                    <a:pt x="1167" y="605"/>
                  </a:lnTo>
                  <a:lnTo>
                    <a:pt x="1167" y="605"/>
                  </a:lnTo>
                  <a:lnTo>
                    <a:pt x="1096" y="716"/>
                  </a:lnTo>
                  <a:lnTo>
                    <a:pt x="1049" y="742"/>
                  </a:lnTo>
                  <a:lnTo>
                    <a:pt x="990" y="815"/>
                  </a:lnTo>
                  <a:lnTo>
                    <a:pt x="952" y="848"/>
                  </a:lnTo>
                  <a:lnTo>
                    <a:pt x="886" y="886"/>
                  </a:lnTo>
                  <a:lnTo>
                    <a:pt x="848" y="910"/>
                  </a:lnTo>
                  <a:lnTo>
                    <a:pt x="794" y="910"/>
                  </a:lnTo>
                  <a:lnTo>
                    <a:pt x="789" y="922"/>
                  </a:lnTo>
                  <a:lnTo>
                    <a:pt x="794" y="926"/>
                  </a:lnTo>
                  <a:lnTo>
                    <a:pt x="739" y="926"/>
                  </a:lnTo>
                  <a:lnTo>
                    <a:pt x="739" y="926"/>
                  </a:lnTo>
                  <a:lnTo>
                    <a:pt x="734" y="943"/>
                  </a:lnTo>
                  <a:lnTo>
                    <a:pt x="647" y="926"/>
                  </a:lnTo>
                  <a:lnTo>
                    <a:pt x="633" y="926"/>
                  </a:lnTo>
                  <a:lnTo>
                    <a:pt x="626" y="938"/>
                  </a:lnTo>
                  <a:lnTo>
                    <a:pt x="572" y="926"/>
                  </a:lnTo>
                  <a:lnTo>
                    <a:pt x="541" y="938"/>
                  </a:lnTo>
                  <a:lnTo>
                    <a:pt x="517" y="959"/>
                  </a:lnTo>
                  <a:lnTo>
                    <a:pt x="503" y="959"/>
                  </a:lnTo>
                  <a:lnTo>
                    <a:pt x="486" y="959"/>
                  </a:lnTo>
                  <a:lnTo>
                    <a:pt x="453" y="959"/>
                  </a:lnTo>
                  <a:lnTo>
                    <a:pt x="449" y="964"/>
                  </a:lnTo>
                  <a:lnTo>
                    <a:pt x="427" y="964"/>
                  </a:lnTo>
                  <a:lnTo>
                    <a:pt x="394" y="992"/>
                  </a:lnTo>
                  <a:lnTo>
                    <a:pt x="373" y="992"/>
                  </a:lnTo>
                  <a:lnTo>
                    <a:pt x="345" y="976"/>
                  </a:lnTo>
                  <a:lnTo>
                    <a:pt x="345" y="964"/>
                  </a:lnTo>
                  <a:lnTo>
                    <a:pt x="340" y="959"/>
                  </a:lnTo>
                  <a:lnTo>
                    <a:pt x="307" y="959"/>
                  </a:lnTo>
                  <a:lnTo>
                    <a:pt x="307" y="943"/>
                  </a:lnTo>
                  <a:lnTo>
                    <a:pt x="307" y="938"/>
                  </a:lnTo>
                  <a:lnTo>
                    <a:pt x="286" y="938"/>
                  </a:lnTo>
                  <a:lnTo>
                    <a:pt x="286" y="959"/>
                  </a:lnTo>
                  <a:lnTo>
                    <a:pt x="274" y="955"/>
                  </a:lnTo>
                  <a:lnTo>
                    <a:pt x="269" y="926"/>
                  </a:lnTo>
                  <a:lnTo>
                    <a:pt x="286" y="922"/>
                  </a:lnTo>
                  <a:lnTo>
                    <a:pt x="286" y="903"/>
                  </a:lnTo>
                  <a:lnTo>
                    <a:pt x="253" y="848"/>
                  </a:lnTo>
                  <a:lnTo>
                    <a:pt x="248" y="848"/>
                  </a:lnTo>
                  <a:lnTo>
                    <a:pt x="236" y="832"/>
                  </a:lnTo>
                  <a:lnTo>
                    <a:pt x="253" y="827"/>
                  </a:lnTo>
                  <a:lnTo>
                    <a:pt x="260" y="832"/>
                  </a:lnTo>
                  <a:lnTo>
                    <a:pt x="269" y="815"/>
                  </a:lnTo>
                  <a:lnTo>
                    <a:pt x="274" y="794"/>
                  </a:lnTo>
                  <a:lnTo>
                    <a:pt x="269" y="759"/>
                  </a:lnTo>
                  <a:lnTo>
                    <a:pt x="198" y="631"/>
                  </a:lnTo>
                  <a:lnTo>
                    <a:pt x="168" y="539"/>
                  </a:lnTo>
                  <a:lnTo>
                    <a:pt x="151" y="522"/>
                  </a:lnTo>
                  <a:lnTo>
                    <a:pt x="146" y="499"/>
                  </a:lnTo>
                  <a:lnTo>
                    <a:pt x="160" y="494"/>
                  </a:lnTo>
                  <a:lnTo>
                    <a:pt x="168" y="461"/>
                  </a:lnTo>
                  <a:lnTo>
                    <a:pt x="184" y="454"/>
                  </a:lnTo>
                  <a:lnTo>
                    <a:pt x="198" y="466"/>
                  </a:lnTo>
                  <a:lnTo>
                    <a:pt x="205" y="466"/>
                  </a:lnTo>
                  <a:lnTo>
                    <a:pt x="205" y="511"/>
                  </a:lnTo>
                  <a:lnTo>
                    <a:pt x="222" y="511"/>
                  </a:lnTo>
                  <a:lnTo>
                    <a:pt x="222" y="515"/>
                  </a:lnTo>
                  <a:lnTo>
                    <a:pt x="248" y="515"/>
                  </a:lnTo>
                  <a:lnTo>
                    <a:pt x="260" y="522"/>
                  </a:lnTo>
                  <a:lnTo>
                    <a:pt x="302" y="515"/>
                  </a:lnTo>
                  <a:lnTo>
                    <a:pt x="328" y="522"/>
                  </a:lnTo>
                  <a:lnTo>
                    <a:pt x="340" y="522"/>
                  </a:lnTo>
                  <a:lnTo>
                    <a:pt x="340" y="511"/>
                  </a:lnTo>
                  <a:lnTo>
                    <a:pt x="357" y="511"/>
                  </a:lnTo>
                  <a:lnTo>
                    <a:pt x="361" y="494"/>
                  </a:lnTo>
                  <a:lnTo>
                    <a:pt x="394" y="482"/>
                  </a:lnTo>
                  <a:lnTo>
                    <a:pt x="394" y="199"/>
                  </a:lnTo>
                  <a:lnTo>
                    <a:pt x="394" y="199"/>
                  </a:lnTo>
                  <a:lnTo>
                    <a:pt x="394" y="199"/>
                  </a:lnTo>
                  <a:close/>
                  <a:moveTo>
                    <a:pt x="1011" y="511"/>
                  </a:moveTo>
                  <a:lnTo>
                    <a:pt x="994" y="499"/>
                  </a:lnTo>
                  <a:lnTo>
                    <a:pt x="966" y="511"/>
                  </a:lnTo>
                  <a:lnTo>
                    <a:pt x="923" y="532"/>
                  </a:lnTo>
                  <a:lnTo>
                    <a:pt x="902" y="572"/>
                  </a:lnTo>
                  <a:lnTo>
                    <a:pt x="886" y="577"/>
                  </a:lnTo>
                  <a:lnTo>
                    <a:pt x="902" y="610"/>
                  </a:lnTo>
                  <a:lnTo>
                    <a:pt x="914" y="631"/>
                  </a:lnTo>
                  <a:lnTo>
                    <a:pt x="935" y="659"/>
                  </a:lnTo>
                  <a:lnTo>
                    <a:pt x="957" y="659"/>
                  </a:lnTo>
                  <a:lnTo>
                    <a:pt x="978" y="622"/>
                  </a:lnTo>
                  <a:lnTo>
                    <a:pt x="1011" y="622"/>
                  </a:lnTo>
                  <a:lnTo>
                    <a:pt x="1032" y="605"/>
                  </a:lnTo>
                  <a:lnTo>
                    <a:pt x="1032" y="577"/>
                  </a:lnTo>
                  <a:lnTo>
                    <a:pt x="1042" y="577"/>
                  </a:lnTo>
                  <a:lnTo>
                    <a:pt x="1042" y="572"/>
                  </a:lnTo>
                  <a:lnTo>
                    <a:pt x="1058" y="555"/>
                  </a:lnTo>
                  <a:lnTo>
                    <a:pt x="1049" y="539"/>
                  </a:lnTo>
                  <a:lnTo>
                    <a:pt x="1011" y="511"/>
                  </a:lnTo>
                  <a:lnTo>
                    <a:pt x="1011" y="511"/>
                  </a:lnTo>
                  <a:lnTo>
                    <a:pt x="1011" y="511"/>
                  </a:lnTo>
                  <a:close/>
                  <a:moveTo>
                    <a:pt x="5" y="38"/>
                  </a:moveTo>
                  <a:lnTo>
                    <a:pt x="16" y="38"/>
                  </a:lnTo>
                  <a:lnTo>
                    <a:pt x="21" y="78"/>
                  </a:lnTo>
                  <a:lnTo>
                    <a:pt x="0" y="78"/>
                  </a:lnTo>
                  <a:lnTo>
                    <a:pt x="0" y="66"/>
                  </a:lnTo>
                  <a:lnTo>
                    <a:pt x="0" y="55"/>
                  </a:lnTo>
                  <a:lnTo>
                    <a:pt x="0" y="66"/>
                  </a:lnTo>
                  <a:lnTo>
                    <a:pt x="5" y="66"/>
                  </a:lnTo>
                  <a:lnTo>
                    <a:pt x="5" y="38"/>
                  </a:lnTo>
                  <a:lnTo>
                    <a:pt x="5" y="38"/>
                  </a:lnTo>
                  <a:lnTo>
                    <a:pt x="5" y="38"/>
                  </a:lnTo>
                  <a:close/>
                  <a:moveTo>
                    <a:pt x="1644" y="2034"/>
                  </a:moveTo>
                  <a:lnTo>
                    <a:pt x="1627" y="2029"/>
                  </a:lnTo>
                  <a:lnTo>
                    <a:pt x="1637" y="2022"/>
                  </a:lnTo>
                  <a:lnTo>
                    <a:pt x="1644" y="2029"/>
                  </a:lnTo>
                  <a:lnTo>
                    <a:pt x="1644" y="2034"/>
                  </a:lnTo>
                  <a:lnTo>
                    <a:pt x="1644" y="2034"/>
                  </a:lnTo>
                  <a:lnTo>
                    <a:pt x="1644" y="2034"/>
                  </a:lnTo>
                  <a:close/>
                </a:path>
              </a:pathLst>
            </a:custGeom>
            <a:solidFill>
              <a:schemeClr val="bg2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06" name="Freeform 550">
              <a:extLst>
                <a:ext uri="{FF2B5EF4-FFF2-40B4-BE49-F238E27FC236}">
                  <a16:creationId xmlns:a16="http://schemas.microsoft.com/office/drawing/2014/main" id="{C4DA4231-9012-4D33-A971-6F2A41495E13}"/>
                </a:ext>
              </a:extLst>
            </p:cNvPr>
            <p:cNvSpPr>
              <a:spLocks/>
            </p:cNvSpPr>
            <p:nvPr/>
          </p:nvSpPr>
          <p:spPr bwMode="gray">
            <a:xfrm>
              <a:off x="5973307" y="2555300"/>
              <a:ext cx="66762" cy="50039"/>
            </a:xfrm>
            <a:custGeom>
              <a:avLst/>
              <a:gdLst>
                <a:gd name="T0" fmla="*/ 163 w 435"/>
                <a:gd name="T1" fmla="*/ 305 h 326"/>
                <a:gd name="T2" fmla="*/ 92 w 435"/>
                <a:gd name="T3" fmla="*/ 322 h 326"/>
                <a:gd name="T4" fmla="*/ 45 w 435"/>
                <a:gd name="T5" fmla="*/ 322 h 326"/>
                <a:gd name="T6" fmla="*/ 75 w 435"/>
                <a:gd name="T7" fmla="*/ 310 h 326"/>
                <a:gd name="T8" fmla="*/ 130 w 435"/>
                <a:gd name="T9" fmla="*/ 310 h 326"/>
                <a:gd name="T10" fmla="*/ 137 w 435"/>
                <a:gd name="T11" fmla="*/ 293 h 326"/>
                <a:gd name="T12" fmla="*/ 137 w 435"/>
                <a:gd name="T13" fmla="*/ 293 h 326"/>
                <a:gd name="T14" fmla="*/ 130 w 435"/>
                <a:gd name="T15" fmla="*/ 310 h 326"/>
                <a:gd name="T16" fmla="*/ 99 w 435"/>
                <a:gd name="T17" fmla="*/ 293 h 326"/>
                <a:gd name="T18" fmla="*/ 75 w 435"/>
                <a:gd name="T19" fmla="*/ 310 h 326"/>
                <a:gd name="T20" fmla="*/ 59 w 435"/>
                <a:gd name="T21" fmla="*/ 293 h 326"/>
                <a:gd name="T22" fmla="*/ 54 w 435"/>
                <a:gd name="T23" fmla="*/ 272 h 326"/>
                <a:gd name="T24" fmla="*/ 113 w 435"/>
                <a:gd name="T25" fmla="*/ 267 h 326"/>
                <a:gd name="T26" fmla="*/ 151 w 435"/>
                <a:gd name="T27" fmla="*/ 251 h 326"/>
                <a:gd name="T28" fmla="*/ 222 w 435"/>
                <a:gd name="T29" fmla="*/ 267 h 326"/>
                <a:gd name="T30" fmla="*/ 260 w 435"/>
                <a:gd name="T31" fmla="*/ 251 h 326"/>
                <a:gd name="T32" fmla="*/ 222 w 435"/>
                <a:gd name="T33" fmla="*/ 251 h 326"/>
                <a:gd name="T34" fmla="*/ 191 w 435"/>
                <a:gd name="T35" fmla="*/ 232 h 326"/>
                <a:gd name="T36" fmla="*/ 168 w 435"/>
                <a:gd name="T37" fmla="*/ 215 h 326"/>
                <a:gd name="T38" fmla="*/ 137 w 435"/>
                <a:gd name="T39" fmla="*/ 232 h 326"/>
                <a:gd name="T40" fmla="*/ 59 w 435"/>
                <a:gd name="T41" fmla="*/ 222 h 326"/>
                <a:gd name="T42" fmla="*/ 54 w 435"/>
                <a:gd name="T43" fmla="*/ 222 h 326"/>
                <a:gd name="T44" fmla="*/ 75 w 435"/>
                <a:gd name="T45" fmla="*/ 194 h 326"/>
                <a:gd name="T46" fmla="*/ 59 w 435"/>
                <a:gd name="T47" fmla="*/ 199 h 326"/>
                <a:gd name="T48" fmla="*/ 21 w 435"/>
                <a:gd name="T49" fmla="*/ 156 h 326"/>
                <a:gd name="T50" fmla="*/ 0 w 435"/>
                <a:gd name="T51" fmla="*/ 156 h 326"/>
                <a:gd name="T52" fmla="*/ 21 w 435"/>
                <a:gd name="T53" fmla="*/ 140 h 326"/>
                <a:gd name="T54" fmla="*/ 66 w 435"/>
                <a:gd name="T55" fmla="*/ 74 h 326"/>
                <a:gd name="T56" fmla="*/ 83 w 435"/>
                <a:gd name="T57" fmla="*/ 17 h 326"/>
                <a:gd name="T58" fmla="*/ 175 w 435"/>
                <a:gd name="T59" fmla="*/ 0 h 326"/>
                <a:gd name="T60" fmla="*/ 255 w 435"/>
                <a:gd name="T61" fmla="*/ 50 h 326"/>
                <a:gd name="T62" fmla="*/ 272 w 435"/>
                <a:gd name="T63" fmla="*/ 50 h 326"/>
                <a:gd name="T64" fmla="*/ 283 w 435"/>
                <a:gd name="T65" fmla="*/ 50 h 326"/>
                <a:gd name="T66" fmla="*/ 309 w 435"/>
                <a:gd name="T67" fmla="*/ 100 h 326"/>
                <a:gd name="T68" fmla="*/ 326 w 435"/>
                <a:gd name="T69" fmla="*/ 107 h 326"/>
                <a:gd name="T70" fmla="*/ 347 w 435"/>
                <a:gd name="T71" fmla="*/ 128 h 326"/>
                <a:gd name="T72" fmla="*/ 368 w 435"/>
                <a:gd name="T73" fmla="*/ 178 h 326"/>
                <a:gd name="T74" fmla="*/ 385 w 435"/>
                <a:gd name="T75" fmla="*/ 215 h 326"/>
                <a:gd name="T76" fmla="*/ 401 w 435"/>
                <a:gd name="T77" fmla="*/ 256 h 326"/>
                <a:gd name="T78" fmla="*/ 406 w 435"/>
                <a:gd name="T79" fmla="*/ 251 h 326"/>
                <a:gd name="T80" fmla="*/ 435 w 435"/>
                <a:gd name="T81" fmla="*/ 322 h 326"/>
                <a:gd name="T82" fmla="*/ 364 w 435"/>
                <a:gd name="T83" fmla="*/ 326 h 326"/>
                <a:gd name="T84" fmla="*/ 309 w 435"/>
                <a:gd name="T85" fmla="*/ 322 h 326"/>
                <a:gd name="T86" fmla="*/ 260 w 435"/>
                <a:gd name="T87" fmla="*/ 305 h 326"/>
                <a:gd name="T88" fmla="*/ 222 w 435"/>
                <a:gd name="T89" fmla="*/ 305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435" h="326">
                  <a:moveTo>
                    <a:pt x="222" y="305"/>
                  </a:moveTo>
                  <a:lnTo>
                    <a:pt x="163" y="305"/>
                  </a:lnTo>
                  <a:lnTo>
                    <a:pt x="120" y="322"/>
                  </a:lnTo>
                  <a:lnTo>
                    <a:pt x="92" y="322"/>
                  </a:lnTo>
                  <a:lnTo>
                    <a:pt x="54" y="326"/>
                  </a:lnTo>
                  <a:lnTo>
                    <a:pt x="45" y="322"/>
                  </a:lnTo>
                  <a:lnTo>
                    <a:pt x="59" y="305"/>
                  </a:lnTo>
                  <a:lnTo>
                    <a:pt x="75" y="310"/>
                  </a:lnTo>
                  <a:lnTo>
                    <a:pt x="99" y="305"/>
                  </a:lnTo>
                  <a:lnTo>
                    <a:pt x="130" y="310"/>
                  </a:lnTo>
                  <a:lnTo>
                    <a:pt x="137" y="305"/>
                  </a:lnTo>
                  <a:lnTo>
                    <a:pt x="137" y="293"/>
                  </a:lnTo>
                  <a:lnTo>
                    <a:pt x="146" y="289"/>
                  </a:lnTo>
                  <a:lnTo>
                    <a:pt x="137" y="293"/>
                  </a:lnTo>
                  <a:lnTo>
                    <a:pt x="137" y="305"/>
                  </a:lnTo>
                  <a:lnTo>
                    <a:pt x="130" y="310"/>
                  </a:lnTo>
                  <a:lnTo>
                    <a:pt x="109" y="310"/>
                  </a:lnTo>
                  <a:lnTo>
                    <a:pt x="99" y="293"/>
                  </a:lnTo>
                  <a:lnTo>
                    <a:pt x="99" y="305"/>
                  </a:lnTo>
                  <a:lnTo>
                    <a:pt x="75" y="310"/>
                  </a:lnTo>
                  <a:lnTo>
                    <a:pt x="59" y="305"/>
                  </a:lnTo>
                  <a:lnTo>
                    <a:pt x="59" y="293"/>
                  </a:lnTo>
                  <a:lnTo>
                    <a:pt x="54" y="310"/>
                  </a:lnTo>
                  <a:lnTo>
                    <a:pt x="54" y="272"/>
                  </a:lnTo>
                  <a:lnTo>
                    <a:pt x="54" y="267"/>
                  </a:lnTo>
                  <a:lnTo>
                    <a:pt x="113" y="267"/>
                  </a:lnTo>
                  <a:lnTo>
                    <a:pt x="113" y="256"/>
                  </a:lnTo>
                  <a:lnTo>
                    <a:pt x="151" y="251"/>
                  </a:lnTo>
                  <a:lnTo>
                    <a:pt x="168" y="232"/>
                  </a:lnTo>
                  <a:lnTo>
                    <a:pt x="222" y="267"/>
                  </a:lnTo>
                  <a:lnTo>
                    <a:pt x="255" y="256"/>
                  </a:lnTo>
                  <a:lnTo>
                    <a:pt x="260" y="251"/>
                  </a:lnTo>
                  <a:lnTo>
                    <a:pt x="243" y="232"/>
                  </a:lnTo>
                  <a:lnTo>
                    <a:pt x="222" y="251"/>
                  </a:lnTo>
                  <a:lnTo>
                    <a:pt x="205" y="232"/>
                  </a:lnTo>
                  <a:lnTo>
                    <a:pt x="191" y="232"/>
                  </a:lnTo>
                  <a:lnTo>
                    <a:pt x="184" y="222"/>
                  </a:lnTo>
                  <a:lnTo>
                    <a:pt x="168" y="215"/>
                  </a:lnTo>
                  <a:lnTo>
                    <a:pt x="146" y="222"/>
                  </a:lnTo>
                  <a:lnTo>
                    <a:pt x="137" y="232"/>
                  </a:lnTo>
                  <a:lnTo>
                    <a:pt x="59" y="232"/>
                  </a:lnTo>
                  <a:lnTo>
                    <a:pt x="59" y="222"/>
                  </a:lnTo>
                  <a:lnTo>
                    <a:pt x="66" y="211"/>
                  </a:lnTo>
                  <a:lnTo>
                    <a:pt x="54" y="222"/>
                  </a:lnTo>
                  <a:lnTo>
                    <a:pt x="54" y="211"/>
                  </a:lnTo>
                  <a:lnTo>
                    <a:pt x="75" y="194"/>
                  </a:lnTo>
                  <a:lnTo>
                    <a:pt x="66" y="194"/>
                  </a:lnTo>
                  <a:lnTo>
                    <a:pt x="59" y="199"/>
                  </a:lnTo>
                  <a:lnTo>
                    <a:pt x="45" y="199"/>
                  </a:lnTo>
                  <a:lnTo>
                    <a:pt x="21" y="156"/>
                  </a:lnTo>
                  <a:lnTo>
                    <a:pt x="7" y="156"/>
                  </a:lnTo>
                  <a:lnTo>
                    <a:pt x="0" y="156"/>
                  </a:lnTo>
                  <a:lnTo>
                    <a:pt x="0" y="156"/>
                  </a:lnTo>
                  <a:lnTo>
                    <a:pt x="21" y="140"/>
                  </a:lnTo>
                  <a:lnTo>
                    <a:pt x="45" y="111"/>
                  </a:lnTo>
                  <a:lnTo>
                    <a:pt x="66" y="74"/>
                  </a:lnTo>
                  <a:lnTo>
                    <a:pt x="66" y="50"/>
                  </a:lnTo>
                  <a:lnTo>
                    <a:pt x="83" y="17"/>
                  </a:lnTo>
                  <a:lnTo>
                    <a:pt x="130" y="17"/>
                  </a:lnTo>
                  <a:lnTo>
                    <a:pt x="175" y="0"/>
                  </a:lnTo>
                  <a:lnTo>
                    <a:pt x="222" y="12"/>
                  </a:lnTo>
                  <a:lnTo>
                    <a:pt x="255" y="50"/>
                  </a:lnTo>
                  <a:lnTo>
                    <a:pt x="260" y="45"/>
                  </a:lnTo>
                  <a:lnTo>
                    <a:pt x="272" y="50"/>
                  </a:lnTo>
                  <a:lnTo>
                    <a:pt x="276" y="50"/>
                  </a:lnTo>
                  <a:lnTo>
                    <a:pt x="283" y="50"/>
                  </a:lnTo>
                  <a:lnTo>
                    <a:pt x="298" y="83"/>
                  </a:lnTo>
                  <a:lnTo>
                    <a:pt x="309" y="100"/>
                  </a:lnTo>
                  <a:lnTo>
                    <a:pt x="314" y="100"/>
                  </a:lnTo>
                  <a:lnTo>
                    <a:pt x="326" y="107"/>
                  </a:lnTo>
                  <a:lnTo>
                    <a:pt x="326" y="111"/>
                  </a:lnTo>
                  <a:lnTo>
                    <a:pt x="347" y="128"/>
                  </a:lnTo>
                  <a:lnTo>
                    <a:pt x="368" y="144"/>
                  </a:lnTo>
                  <a:lnTo>
                    <a:pt x="368" y="178"/>
                  </a:lnTo>
                  <a:lnTo>
                    <a:pt x="385" y="194"/>
                  </a:lnTo>
                  <a:lnTo>
                    <a:pt x="385" y="215"/>
                  </a:lnTo>
                  <a:lnTo>
                    <a:pt x="380" y="232"/>
                  </a:lnTo>
                  <a:lnTo>
                    <a:pt x="401" y="256"/>
                  </a:lnTo>
                  <a:lnTo>
                    <a:pt x="401" y="251"/>
                  </a:lnTo>
                  <a:lnTo>
                    <a:pt x="406" y="251"/>
                  </a:lnTo>
                  <a:lnTo>
                    <a:pt x="435" y="277"/>
                  </a:lnTo>
                  <a:lnTo>
                    <a:pt x="435" y="322"/>
                  </a:lnTo>
                  <a:lnTo>
                    <a:pt x="385" y="322"/>
                  </a:lnTo>
                  <a:lnTo>
                    <a:pt x="364" y="326"/>
                  </a:lnTo>
                  <a:lnTo>
                    <a:pt x="326" y="310"/>
                  </a:lnTo>
                  <a:lnTo>
                    <a:pt x="309" y="322"/>
                  </a:lnTo>
                  <a:lnTo>
                    <a:pt x="309" y="305"/>
                  </a:lnTo>
                  <a:lnTo>
                    <a:pt x="260" y="305"/>
                  </a:lnTo>
                  <a:lnTo>
                    <a:pt x="222" y="305"/>
                  </a:lnTo>
                  <a:lnTo>
                    <a:pt x="222" y="305"/>
                  </a:lnTo>
                  <a:lnTo>
                    <a:pt x="222" y="305"/>
                  </a:lnTo>
                  <a:close/>
                </a:path>
              </a:pathLst>
            </a:custGeom>
            <a:solidFill>
              <a:schemeClr val="bg2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07" name="Freeform 551">
              <a:extLst>
                <a:ext uri="{FF2B5EF4-FFF2-40B4-BE49-F238E27FC236}">
                  <a16:creationId xmlns:a16="http://schemas.microsoft.com/office/drawing/2014/main" id="{B8B238F0-51B7-47DF-9638-D331627B1CB2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006304" y="2829437"/>
              <a:ext cx="92852" cy="343669"/>
            </a:xfrm>
            <a:custGeom>
              <a:avLst/>
              <a:gdLst>
                <a:gd name="T0" fmla="*/ 0 w 605"/>
                <a:gd name="T1" fmla="*/ 5 h 2239"/>
                <a:gd name="T2" fmla="*/ 0 w 605"/>
                <a:gd name="T3" fmla="*/ 0 h 2239"/>
                <a:gd name="T4" fmla="*/ 5 w 605"/>
                <a:gd name="T5" fmla="*/ 5 h 2239"/>
                <a:gd name="T6" fmla="*/ 0 w 605"/>
                <a:gd name="T7" fmla="*/ 5 h 2239"/>
                <a:gd name="T8" fmla="*/ 0 w 605"/>
                <a:gd name="T9" fmla="*/ 5 h 2239"/>
                <a:gd name="T10" fmla="*/ 0 w 605"/>
                <a:gd name="T11" fmla="*/ 5 h 2239"/>
                <a:gd name="T12" fmla="*/ 605 w 605"/>
                <a:gd name="T13" fmla="*/ 593 h 2239"/>
                <a:gd name="T14" fmla="*/ 600 w 605"/>
                <a:gd name="T15" fmla="*/ 593 h 2239"/>
                <a:gd name="T16" fmla="*/ 605 w 605"/>
                <a:gd name="T17" fmla="*/ 588 h 2239"/>
                <a:gd name="T18" fmla="*/ 605 w 605"/>
                <a:gd name="T19" fmla="*/ 593 h 2239"/>
                <a:gd name="T20" fmla="*/ 605 w 605"/>
                <a:gd name="T21" fmla="*/ 593 h 2239"/>
                <a:gd name="T22" fmla="*/ 605 w 605"/>
                <a:gd name="T23" fmla="*/ 593 h 2239"/>
                <a:gd name="T24" fmla="*/ 146 w 605"/>
                <a:gd name="T25" fmla="*/ 2239 h 2239"/>
                <a:gd name="T26" fmla="*/ 146 w 605"/>
                <a:gd name="T27" fmla="*/ 2235 h 2239"/>
                <a:gd name="T28" fmla="*/ 151 w 605"/>
                <a:gd name="T29" fmla="*/ 2235 h 2239"/>
                <a:gd name="T30" fmla="*/ 146 w 605"/>
                <a:gd name="T31" fmla="*/ 2239 h 2239"/>
                <a:gd name="T32" fmla="*/ 146 w 605"/>
                <a:gd name="T33" fmla="*/ 2239 h 2239"/>
                <a:gd name="T34" fmla="*/ 146 w 605"/>
                <a:gd name="T35" fmla="*/ 2239 h 2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605" h="2239">
                  <a:moveTo>
                    <a:pt x="0" y="5"/>
                  </a:moveTo>
                  <a:lnTo>
                    <a:pt x="0" y="0"/>
                  </a:lnTo>
                  <a:lnTo>
                    <a:pt x="5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close/>
                  <a:moveTo>
                    <a:pt x="605" y="593"/>
                  </a:moveTo>
                  <a:lnTo>
                    <a:pt x="600" y="593"/>
                  </a:lnTo>
                  <a:lnTo>
                    <a:pt x="605" y="588"/>
                  </a:lnTo>
                  <a:lnTo>
                    <a:pt x="605" y="593"/>
                  </a:lnTo>
                  <a:lnTo>
                    <a:pt x="605" y="593"/>
                  </a:lnTo>
                  <a:lnTo>
                    <a:pt x="605" y="593"/>
                  </a:lnTo>
                  <a:close/>
                  <a:moveTo>
                    <a:pt x="146" y="2239"/>
                  </a:moveTo>
                  <a:lnTo>
                    <a:pt x="146" y="2235"/>
                  </a:lnTo>
                  <a:lnTo>
                    <a:pt x="151" y="2235"/>
                  </a:lnTo>
                  <a:lnTo>
                    <a:pt x="146" y="2239"/>
                  </a:lnTo>
                  <a:lnTo>
                    <a:pt x="146" y="2239"/>
                  </a:lnTo>
                  <a:lnTo>
                    <a:pt x="146" y="2239"/>
                  </a:lnTo>
                  <a:close/>
                </a:path>
              </a:pathLst>
            </a:custGeom>
            <a:solidFill>
              <a:schemeClr val="bg2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08" name="Freeform 552">
              <a:extLst>
                <a:ext uri="{FF2B5EF4-FFF2-40B4-BE49-F238E27FC236}">
                  <a16:creationId xmlns:a16="http://schemas.microsoft.com/office/drawing/2014/main" id="{A90265CA-D780-46FD-8F6C-CD3B8564F6A1}"/>
                </a:ext>
              </a:extLst>
            </p:cNvPr>
            <p:cNvSpPr>
              <a:spLocks/>
            </p:cNvSpPr>
            <p:nvPr/>
          </p:nvSpPr>
          <p:spPr bwMode="gray">
            <a:xfrm>
              <a:off x="6306040" y="2182621"/>
              <a:ext cx="33458" cy="20261"/>
            </a:xfrm>
            <a:custGeom>
              <a:avLst/>
              <a:gdLst>
                <a:gd name="T0" fmla="*/ 22 w 218"/>
                <a:gd name="T1" fmla="*/ 28 h 132"/>
                <a:gd name="T2" fmla="*/ 74 w 218"/>
                <a:gd name="T3" fmla="*/ 45 h 132"/>
                <a:gd name="T4" fmla="*/ 102 w 218"/>
                <a:gd name="T5" fmla="*/ 38 h 132"/>
                <a:gd name="T6" fmla="*/ 102 w 218"/>
                <a:gd name="T7" fmla="*/ 21 h 132"/>
                <a:gd name="T8" fmla="*/ 166 w 218"/>
                <a:gd name="T9" fmla="*/ 12 h 132"/>
                <a:gd name="T10" fmla="*/ 180 w 218"/>
                <a:gd name="T11" fmla="*/ 0 h 132"/>
                <a:gd name="T12" fmla="*/ 208 w 218"/>
                <a:gd name="T13" fmla="*/ 5 h 132"/>
                <a:gd name="T14" fmla="*/ 196 w 218"/>
                <a:gd name="T15" fmla="*/ 12 h 132"/>
                <a:gd name="T16" fmla="*/ 218 w 218"/>
                <a:gd name="T17" fmla="*/ 38 h 132"/>
                <a:gd name="T18" fmla="*/ 196 w 218"/>
                <a:gd name="T19" fmla="*/ 28 h 132"/>
                <a:gd name="T20" fmla="*/ 196 w 218"/>
                <a:gd name="T21" fmla="*/ 45 h 132"/>
                <a:gd name="T22" fmla="*/ 154 w 218"/>
                <a:gd name="T23" fmla="*/ 62 h 132"/>
                <a:gd name="T24" fmla="*/ 154 w 218"/>
                <a:gd name="T25" fmla="*/ 66 h 132"/>
                <a:gd name="T26" fmla="*/ 159 w 218"/>
                <a:gd name="T27" fmla="*/ 78 h 132"/>
                <a:gd name="T28" fmla="*/ 159 w 218"/>
                <a:gd name="T29" fmla="*/ 95 h 132"/>
                <a:gd name="T30" fmla="*/ 128 w 218"/>
                <a:gd name="T31" fmla="*/ 99 h 132"/>
                <a:gd name="T32" fmla="*/ 128 w 218"/>
                <a:gd name="T33" fmla="*/ 111 h 132"/>
                <a:gd name="T34" fmla="*/ 137 w 218"/>
                <a:gd name="T35" fmla="*/ 111 h 132"/>
                <a:gd name="T36" fmla="*/ 128 w 218"/>
                <a:gd name="T37" fmla="*/ 123 h 132"/>
                <a:gd name="T38" fmla="*/ 123 w 218"/>
                <a:gd name="T39" fmla="*/ 132 h 132"/>
                <a:gd name="T40" fmla="*/ 102 w 218"/>
                <a:gd name="T41" fmla="*/ 123 h 132"/>
                <a:gd name="T42" fmla="*/ 85 w 218"/>
                <a:gd name="T43" fmla="*/ 111 h 132"/>
                <a:gd name="T44" fmla="*/ 69 w 218"/>
                <a:gd name="T45" fmla="*/ 123 h 132"/>
                <a:gd name="T46" fmla="*/ 15 w 218"/>
                <a:gd name="T47" fmla="*/ 123 h 132"/>
                <a:gd name="T48" fmla="*/ 22 w 218"/>
                <a:gd name="T49" fmla="*/ 116 h 132"/>
                <a:gd name="T50" fmla="*/ 22 w 218"/>
                <a:gd name="T51" fmla="*/ 116 h 132"/>
                <a:gd name="T52" fmla="*/ 36 w 218"/>
                <a:gd name="T53" fmla="*/ 111 h 132"/>
                <a:gd name="T54" fmla="*/ 15 w 218"/>
                <a:gd name="T55" fmla="*/ 95 h 132"/>
                <a:gd name="T56" fmla="*/ 15 w 218"/>
                <a:gd name="T57" fmla="*/ 78 h 132"/>
                <a:gd name="T58" fmla="*/ 5 w 218"/>
                <a:gd name="T59" fmla="*/ 78 h 132"/>
                <a:gd name="T60" fmla="*/ 15 w 218"/>
                <a:gd name="T61" fmla="*/ 62 h 132"/>
                <a:gd name="T62" fmla="*/ 0 w 218"/>
                <a:gd name="T63" fmla="*/ 62 h 132"/>
                <a:gd name="T64" fmla="*/ 0 w 218"/>
                <a:gd name="T65" fmla="*/ 54 h 132"/>
                <a:gd name="T66" fmla="*/ 22 w 218"/>
                <a:gd name="T67" fmla="*/ 28 h 132"/>
                <a:gd name="T68" fmla="*/ 22 w 218"/>
                <a:gd name="T69" fmla="*/ 28 h 132"/>
                <a:gd name="T70" fmla="*/ 22 w 218"/>
                <a:gd name="T71" fmla="*/ 28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18" h="132">
                  <a:moveTo>
                    <a:pt x="22" y="28"/>
                  </a:moveTo>
                  <a:lnTo>
                    <a:pt x="74" y="45"/>
                  </a:lnTo>
                  <a:lnTo>
                    <a:pt x="102" y="38"/>
                  </a:lnTo>
                  <a:lnTo>
                    <a:pt x="102" y="21"/>
                  </a:lnTo>
                  <a:lnTo>
                    <a:pt x="166" y="12"/>
                  </a:lnTo>
                  <a:lnTo>
                    <a:pt x="180" y="0"/>
                  </a:lnTo>
                  <a:lnTo>
                    <a:pt x="208" y="5"/>
                  </a:lnTo>
                  <a:lnTo>
                    <a:pt x="196" y="12"/>
                  </a:lnTo>
                  <a:lnTo>
                    <a:pt x="218" y="38"/>
                  </a:lnTo>
                  <a:lnTo>
                    <a:pt x="196" y="28"/>
                  </a:lnTo>
                  <a:lnTo>
                    <a:pt x="196" y="45"/>
                  </a:lnTo>
                  <a:lnTo>
                    <a:pt x="154" y="62"/>
                  </a:lnTo>
                  <a:lnTo>
                    <a:pt x="154" y="66"/>
                  </a:lnTo>
                  <a:lnTo>
                    <a:pt x="159" y="78"/>
                  </a:lnTo>
                  <a:lnTo>
                    <a:pt x="159" y="95"/>
                  </a:lnTo>
                  <a:lnTo>
                    <a:pt x="128" y="99"/>
                  </a:lnTo>
                  <a:lnTo>
                    <a:pt x="128" y="111"/>
                  </a:lnTo>
                  <a:lnTo>
                    <a:pt x="137" y="111"/>
                  </a:lnTo>
                  <a:lnTo>
                    <a:pt x="128" y="123"/>
                  </a:lnTo>
                  <a:lnTo>
                    <a:pt x="123" y="132"/>
                  </a:lnTo>
                  <a:lnTo>
                    <a:pt x="102" y="123"/>
                  </a:lnTo>
                  <a:lnTo>
                    <a:pt x="85" y="111"/>
                  </a:lnTo>
                  <a:lnTo>
                    <a:pt x="69" y="123"/>
                  </a:lnTo>
                  <a:lnTo>
                    <a:pt x="15" y="123"/>
                  </a:lnTo>
                  <a:lnTo>
                    <a:pt x="22" y="116"/>
                  </a:lnTo>
                  <a:lnTo>
                    <a:pt x="22" y="116"/>
                  </a:lnTo>
                  <a:lnTo>
                    <a:pt x="36" y="111"/>
                  </a:lnTo>
                  <a:lnTo>
                    <a:pt x="15" y="95"/>
                  </a:lnTo>
                  <a:lnTo>
                    <a:pt x="15" y="78"/>
                  </a:lnTo>
                  <a:lnTo>
                    <a:pt x="5" y="78"/>
                  </a:lnTo>
                  <a:lnTo>
                    <a:pt x="15" y="62"/>
                  </a:lnTo>
                  <a:lnTo>
                    <a:pt x="0" y="62"/>
                  </a:lnTo>
                  <a:lnTo>
                    <a:pt x="0" y="54"/>
                  </a:lnTo>
                  <a:lnTo>
                    <a:pt x="22" y="28"/>
                  </a:lnTo>
                  <a:lnTo>
                    <a:pt x="22" y="28"/>
                  </a:lnTo>
                  <a:lnTo>
                    <a:pt x="22" y="28"/>
                  </a:lnTo>
                  <a:close/>
                </a:path>
              </a:pathLst>
            </a:custGeom>
            <a:solidFill>
              <a:schemeClr val="bg2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09" name="Freeform 553">
              <a:extLst>
                <a:ext uri="{FF2B5EF4-FFF2-40B4-BE49-F238E27FC236}">
                  <a16:creationId xmlns:a16="http://schemas.microsoft.com/office/drawing/2014/main" id="{B44B410A-880A-4190-B5BD-5916D7FC251D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018275" y="2631125"/>
              <a:ext cx="32997" cy="34843"/>
            </a:xfrm>
            <a:custGeom>
              <a:avLst/>
              <a:gdLst>
                <a:gd name="T0" fmla="*/ 165 w 215"/>
                <a:gd name="T1" fmla="*/ 184 h 227"/>
                <a:gd name="T2" fmla="*/ 139 w 215"/>
                <a:gd name="T3" fmla="*/ 206 h 227"/>
                <a:gd name="T4" fmla="*/ 127 w 215"/>
                <a:gd name="T5" fmla="*/ 227 h 227"/>
                <a:gd name="T6" fmla="*/ 97 w 215"/>
                <a:gd name="T7" fmla="*/ 217 h 227"/>
                <a:gd name="T8" fmla="*/ 52 w 215"/>
                <a:gd name="T9" fmla="*/ 189 h 227"/>
                <a:gd name="T10" fmla="*/ 59 w 215"/>
                <a:gd name="T11" fmla="*/ 184 h 227"/>
                <a:gd name="T12" fmla="*/ 75 w 215"/>
                <a:gd name="T13" fmla="*/ 173 h 227"/>
                <a:gd name="T14" fmla="*/ 59 w 215"/>
                <a:gd name="T15" fmla="*/ 184 h 227"/>
                <a:gd name="T16" fmla="*/ 21 w 215"/>
                <a:gd name="T17" fmla="*/ 161 h 227"/>
                <a:gd name="T18" fmla="*/ 30 w 215"/>
                <a:gd name="T19" fmla="*/ 151 h 227"/>
                <a:gd name="T20" fmla="*/ 21 w 215"/>
                <a:gd name="T21" fmla="*/ 128 h 227"/>
                <a:gd name="T22" fmla="*/ 16 w 215"/>
                <a:gd name="T23" fmla="*/ 132 h 227"/>
                <a:gd name="T24" fmla="*/ 0 w 215"/>
                <a:gd name="T25" fmla="*/ 111 h 227"/>
                <a:gd name="T26" fmla="*/ 16 w 215"/>
                <a:gd name="T27" fmla="*/ 116 h 227"/>
                <a:gd name="T28" fmla="*/ 16 w 215"/>
                <a:gd name="T29" fmla="*/ 116 h 227"/>
                <a:gd name="T30" fmla="*/ 30 w 215"/>
                <a:gd name="T31" fmla="*/ 111 h 227"/>
                <a:gd name="T32" fmla="*/ 5 w 215"/>
                <a:gd name="T33" fmla="*/ 111 h 227"/>
                <a:gd name="T34" fmla="*/ 5 w 215"/>
                <a:gd name="T35" fmla="*/ 90 h 227"/>
                <a:gd name="T36" fmla="*/ 16 w 215"/>
                <a:gd name="T37" fmla="*/ 90 h 227"/>
                <a:gd name="T38" fmla="*/ 0 w 215"/>
                <a:gd name="T39" fmla="*/ 73 h 227"/>
                <a:gd name="T40" fmla="*/ 16 w 215"/>
                <a:gd name="T41" fmla="*/ 73 h 227"/>
                <a:gd name="T42" fmla="*/ 21 w 215"/>
                <a:gd name="T43" fmla="*/ 57 h 227"/>
                <a:gd name="T44" fmla="*/ 42 w 215"/>
                <a:gd name="T45" fmla="*/ 50 h 227"/>
                <a:gd name="T46" fmla="*/ 59 w 215"/>
                <a:gd name="T47" fmla="*/ 5 h 227"/>
                <a:gd name="T48" fmla="*/ 75 w 215"/>
                <a:gd name="T49" fmla="*/ 5 h 227"/>
                <a:gd name="T50" fmla="*/ 85 w 215"/>
                <a:gd name="T51" fmla="*/ 17 h 227"/>
                <a:gd name="T52" fmla="*/ 97 w 215"/>
                <a:gd name="T53" fmla="*/ 5 h 227"/>
                <a:gd name="T54" fmla="*/ 97 w 215"/>
                <a:gd name="T55" fmla="*/ 0 h 227"/>
                <a:gd name="T56" fmla="*/ 144 w 215"/>
                <a:gd name="T57" fmla="*/ 0 h 227"/>
                <a:gd name="T58" fmla="*/ 182 w 215"/>
                <a:gd name="T59" fmla="*/ 57 h 227"/>
                <a:gd name="T60" fmla="*/ 177 w 215"/>
                <a:gd name="T61" fmla="*/ 73 h 227"/>
                <a:gd name="T62" fmla="*/ 193 w 215"/>
                <a:gd name="T63" fmla="*/ 73 h 227"/>
                <a:gd name="T64" fmla="*/ 193 w 215"/>
                <a:gd name="T65" fmla="*/ 90 h 227"/>
                <a:gd name="T66" fmla="*/ 198 w 215"/>
                <a:gd name="T67" fmla="*/ 95 h 227"/>
                <a:gd name="T68" fmla="*/ 182 w 215"/>
                <a:gd name="T69" fmla="*/ 128 h 227"/>
                <a:gd name="T70" fmla="*/ 215 w 215"/>
                <a:gd name="T71" fmla="*/ 111 h 227"/>
                <a:gd name="T72" fmla="*/ 203 w 215"/>
                <a:gd name="T73" fmla="*/ 132 h 227"/>
                <a:gd name="T74" fmla="*/ 193 w 215"/>
                <a:gd name="T75" fmla="*/ 144 h 227"/>
                <a:gd name="T76" fmla="*/ 193 w 215"/>
                <a:gd name="T77" fmla="*/ 168 h 227"/>
                <a:gd name="T78" fmla="*/ 165 w 215"/>
                <a:gd name="T79" fmla="*/ 184 h 227"/>
                <a:gd name="T80" fmla="*/ 165 w 215"/>
                <a:gd name="T81" fmla="*/ 184 h 227"/>
                <a:gd name="T82" fmla="*/ 165 w 215"/>
                <a:gd name="T83" fmla="*/ 184 h 227"/>
                <a:gd name="T84" fmla="*/ 30 w 215"/>
                <a:gd name="T85" fmla="*/ 173 h 227"/>
                <a:gd name="T86" fmla="*/ 52 w 215"/>
                <a:gd name="T87" fmla="*/ 173 h 227"/>
                <a:gd name="T88" fmla="*/ 52 w 215"/>
                <a:gd name="T89" fmla="*/ 184 h 227"/>
                <a:gd name="T90" fmla="*/ 52 w 215"/>
                <a:gd name="T91" fmla="*/ 189 h 227"/>
                <a:gd name="T92" fmla="*/ 21 w 215"/>
                <a:gd name="T93" fmla="*/ 184 h 227"/>
                <a:gd name="T94" fmla="*/ 30 w 215"/>
                <a:gd name="T95" fmla="*/ 173 h 227"/>
                <a:gd name="T96" fmla="*/ 30 w 215"/>
                <a:gd name="T97" fmla="*/ 173 h 227"/>
                <a:gd name="T98" fmla="*/ 30 w 215"/>
                <a:gd name="T99" fmla="*/ 173 h 2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215" h="227">
                  <a:moveTo>
                    <a:pt x="165" y="184"/>
                  </a:moveTo>
                  <a:lnTo>
                    <a:pt x="139" y="206"/>
                  </a:lnTo>
                  <a:lnTo>
                    <a:pt x="127" y="227"/>
                  </a:lnTo>
                  <a:lnTo>
                    <a:pt x="97" y="217"/>
                  </a:lnTo>
                  <a:lnTo>
                    <a:pt x="52" y="189"/>
                  </a:lnTo>
                  <a:lnTo>
                    <a:pt x="59" y="184"/>
                  </a:lnTo>
                  <a:lnTo>
                    <a:pt x="75" y="173"/>
                  </a:lnTo>
                  <a:lnTo>
                    <a:pt x="59" y="184"/>
                  </a:lnTo>
                  <a:lnTo>
                    <a:pt x="21" y="161"/>
                  </a:lnTo>
                  <a:lnTo>
                    <a:pt x="30" y="151"/>
                  </a:lnTo>
                  <a:lnTo>
                    <a:pt x="21" y="128"/>
                  </a:lnTo>
                  <a:lnTo>
                    <a:pt x="16" y="132"/>
                  </a:lnTo>
                  <a:lnTo>
                    <a:pt x="0" y="111"/>
                  </a:lnTo>
                  <a:lnTo>
                    <a:pt x="16" y="116"/>
                  </a:lnTo>
                  <a:lnTo>
                    <a:pt x="16" y="116"/>
                  </a:lnTo>
                  <a:lnTo>
                    <a:pt x="30" y="111"/>
                  </a:lnTo>
                  <a:lnTo>
                    <a:pt x="5" y="111"/>
                  </a:lnTo>
                  <a:lnTo>
                    <a:pt x="5" y="90"/>
                  </a:lnTo>
                  <a:lnTo>
                    <a:pt x="16" y="90"/>
                  </a:lnTo>
                  <a:lnTo>
                    <a:pt x="0" y="73"/>
                  </a:lnTo>
                  <a:lnTo>
                    <a:pt x="16" y="73"/>
                  </a:lnTo>
                  <a:lnTo>
                    <a:pt x="21" y="57"/>
                  </a:lnTo>
                  <a:lnTo>
                    <a:pt x="42" y="50"/>
                  </a:lnTo>
                  <a:lnTo>
                    <a:pt x="59" y="5"/>
                  </a:lnTo>
                  <a:lnTo>
                    <a:pt x="75" y="5"/>
                  </a:lnTo>
                  <a:lnTo>
                    <a:pt x="85" y="17"/>
                  </a:lnTo>
                  <a:lnTo>
                    <a:pt x="97" y="5"/>
                  </a:lnTo>
                  <a:lnTo>
                    <a:pt x="97" y="0"/>
                  </a:lnTo>
                  <a:lnTo>
                    <a:pt x="144" y="0"/>
                  </a:lnTo>
                  <a:lnTo>
                    <a:pt x="182" y="57"/>
                  </a:lnTo>
                  <a:lnTo>
                    <a:pt x="177" y="73"/>
                  </a:lnTo>
                  <a:lnTo>
                    <a:pt x="193" y="73"/>
                  </a:lnTo>
                  <a:lnTo>
                    <a:pt x="193" y="90"/>
                  </a:lnTo>
                  <a:lnTo>
                    <a:pt x="198" y="95"/>
                  </a:lnTo>
                  <a:lnTo>
                    <a:pt x="182" y="128"/>
                  </a:lnTo>
                  <a:lnTo>
                    <a:pt x="215" y="111"/>
                  </a:lnTo>
                  <a:lnTo>
                    <a:pt x="203" y="132"/>
                  </a:lnTo>
                  <a:lnTo>
                    <a:pt x="193" y="144"/>
                  </a:lnTo>
                  <a:lnTo>
                    <a:pt x="193" y="168"/>
                  </a:lnTo>
                  <a:lnTo>
                    <a:pt x="165" y="184"/>
                  </a:lnTo>
                  <a:lnTo>
                    <a:pt x="165" y="184"/>
                  </a:lnTo>
                  <a:lnTo>
                    <a:pt x="165" y="184"/>
                  </a:lnTo>
                  <a:close/>
                  <a:moveTo>
                    <a:pt x="30" y="173"/>
                  </a:moveTo>
                  <a:lnTo>
                    <a:pt x="52" y="173"/>
                  </a:lnTo>
                  <a:lnTo>
                    <a:pt x="52" y="184"/>
                  </a:lnTo>
                  <a:lnTo>
                    <a:pt x="52" y="189"/>
                  </a:lnTo>
                  <a:lnTo>
                    <a:pt x="21" y="184"/>
                  </a:lnTo>
                  <a:lnTo>
                    <a:pt x="30" y="173"/>
                  </a:lnTo>
                  <a:lnTo>
                    <a:pt x="30" y="173"/>
                  </a:lnTo>
                  <a:lnTo>
                    <a:pt x="30" y="173"/>
                  </a:lnTo>
                  <a:close/>
                </a:path>
              </a:pathLst>
            </a:custGeom>
            <a:solidFill>
              <a:schemeClr val="bg2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10" name="Freeform 554">
              <a:extLst>
                <a:ext uri="{FF2B5EF4-FFF2-40B4-BE49-F238E27FC236}">
                  <a16:creationId xmlns:a16="http://schemas.microsoft.com/office/drawing/2014/main" id="{DF29236F-3A7D-4592-A07B-03607C0BA34D}"/>
                </a:ext>
              </a:extLst>
            </p:cNvPr>
            <p:cNvSpPr>
              <a:spLocks/>
            </p:cNvSpPr>
            <p:nvPr/>
          </p:nvSpPr>
          <p:spPr bwMode="gray">
            <a:xfrm>
              <a:off x="6294837" y="2222222"/>
              <a:ext cx="1842" cy="1382"/>
            </a:xfrm>
            <a:custGeom>
              <a:avLst/>
              <a:gdLst>
                <a:gd name="T0" fmla="*/ 0 w 12"/>
                <a:gd name="T1" fmla="*/ 0 h 9"/>
                <a:gd name="T2" fmla="*/ 12 w 12"/>
                <a:gd name="T3" fmla="*/ 0 h 9"/>
                <a:gd name="T4" fmla="*/ 0 w 12"/>
                <a:gd name="T5" fmla="*/ 9 h 9"/>
                <a:gd name="T6" fmla="*/ 0 w 12"/>
                <a:gd name="T7" fmla="*/ 0 h 9"/>
                <a:gd name="T8" fmla="*/ 0 w 12"/>
                <a:gd name="T9" fmla="*/ 0 h 9"/>
                <a:gd name="T10" fmla="*/ 0 w 12"/>
                <a:gd name="T11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9">
                  <a:moveTo>
                    <a:pt x="0" y="0"/>
                  </a:moveTo>
                  <a:lnTo>
                    <a:pt x="12" y="0"/>
                  </a:lnTo>
                  <a:lnTo>
                    <a:pt x="0" y="9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2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11" name="Freeform 555">
              <a:extLst>
                <a:ext uri="{FF2B5EF4-FFF2-40B4-BE49-F238E27FC236}">
                  <a16:creationId xmlns:a16="http://schemas.microsoft.com/office/drawing/2014/main" id="{435F6F12-5A23-41B0-B577-8A0CAA1BB3D2}"/>
                </a:ext>
              </a:extLst>
            </p:cNvPr>
            <p:cNvSpPr>
              <a:spLocks/>
            </p:cNvSpPr>
            <p:nvPr/>
          </p:nvSpPr>
          <p:spPr bwMode="gray">
            <a:xfrm>
              <a:off x="7276616" y="2727211"/>
              <a:ext cx="3683" cy="768"/>
            </a:xfrm>
            <a:custGeom>
              <a:avLst/>
              <a:gdLst>
                <a:gd name="T0" fmla="*/ 24 w 24"/>
                <a:gd name="T1" fmla="*/ 0 h 5"/>
                <a:gd name="T2" fmla="*/ 16 w 24"/>
                <a:gd name="T3" fmla="*/ 5 h 5"/>
                <a:gd name="T4" fmla="*/ 0 w 24"/>
                <a:gd name="T5" fmla="*/ 5 h 5"/>
                <a:gd name="T6" fmla="*/ 7 w 24"/>
                <a:gd name="T7" fmla="*/ 0 h 5"/>
                <a:gd name="T8" fmla="*/ 24 w 24"/>
                <a:gd name="T9" fmla="*/ 0 h 5"/>
                <a:gd name="T10" fmla="*/ 24 w 24"/>
                <a:gd name="T11" fmla="*/ 0 h 5"/>
                <a:gd name="T12" fmla="*/ 24 w 24"/>
                <a:gd name="T13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5">
                  <a:moveTo>
                    <a:pt x="24" y="0"/>
                  </a:moveTo>
                  <a:lnTo>
                    <a:pt x="16" y="5"/>
                  </a:lnTo>
                  <a:lnTo>
                    <a:pt x="0" y="5"/>
                  </a:lnTo>
                  <a:lnTo>
                    <a:pt x="7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close/>
                </a:path>
              </a:pathLst>
            </a:custGeom>
            <a:solidFill>
              <a:schemeClr val="bg2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12" name="Freeform 556">
              <a:extLst>
                <a:ext uri="{FF2B5EF4-FFF2-40B4-BE49-F238E27FC236}">
                  <a16:creationId xmlns:a16="http://schemas.microsoft.com/office/drawing/2014/main" id="{1CDA43DA-8A6A-49C9-AF41-881C672481CF}"/>
                </a:ext>
              </a:extLst>
            </p:cNvPr>
            <p:cNvSpPr>
              <a:spLocks/>
            </p:cNvSpPr>
            <p:nvPr/>
          </p:nvSpPr>
          <p:spPr bwMode="gray">
            <a:xfrm>
              <a:off x="6603014" y="2608715"/>
              <a:ext cx="111269" cy="152264"/>
            </a:xfrm>
            <a:custGeom>
              <a:avLst/>
              <a:gdLst>
                <a:gd name="T0" fmla="*/ 130 w 725"/>
                <a:gd name="T1" fmla="*/ 555 h 992"/>
                <a:gd name="T2" fmla="*/ 184 w 725"/>
                <a:gd name="T3" fmla="*/ 515 h 992"/>
                <a:gd name="T4" fmla="*/ 276 w 725"/>
                <a:gd name="T5" fmla="*/ 515 h 992"/>
                <a:gd name="T6" fmla="*/ 416 w 725"/>
                <a:gd name="T7" fmla="*/ 295 h 992"/>
                <a:gd name="T8" fmla="*/ 184 w 725"/>
                <a:gd name="T9" fmla="*/ 193 h 992"/>
                <a:gd name="T10" fmla="*/ 151 w 725"/>
                <a:gd name="T11" fmla="*/ 151 h 992"/>
                <a:gd name="T12" fmla="*/ 130 w 725"/>
                <a:gd name="T13" fmla="*/ 127 h 992"/>
                <a:gd name="T14" fmla="*/ 130 w 725"/>
                <a:gd name="T15" fmla="*/ 73 h 992"/>
                <a:gd name="T16" fmla="*/ 168 w 725"/>
                <a:gd name="T17" fmla="*/ 49 h 992"/>
                <a:gd name="T18" fmla="*/ 234 w 725"/>
                <a:gd name="T19" fmla="*/ 111 h 992"/>
                <a:gd name="T20" fmla="*/ 331 w 725"/>
                <a:gd name="T21" fmla="*/ 85 h 992"/>
                <a:gd name="T22" fmla="*/ 449 w 725"/>
                <a:gd name="T23" fmla="*/ 66 h 992"/>
                <a:gd name="T24" fmla="*/ 503 w 725"/>
                <a:gd name="T25" fmla="*/ 66 h 992"/>
                <a:gd name="T26" fmla="*/ 557 w 725"/>
                <a:gd name="T27" fmla="*/ 56 h 992"/>
                <a:gd name="T28" fmla="*/ 600 w 725"/>
                <a:gd name="T29" fmla="*/ 40 h 992"/>
                <a:gd name="T30" fmla="*/ 654 w 725"/>
                <a:gd name="T31" fmla="*/ 28 h 992"/>
                <a:gd name="T32" fmla="*/ 687 w 725"/>
                <a:gd name="T33" fmla="*/ 0 h 992"/>
                <a:gd name="T34" fmla="*/ 704 w 725"/>
                <a:gd name="T35" fmla="*/ 49 h 992"/>
                <a:gd name="T36" fmla="*/ 709 w 725"/>
                <a:gd name="T37" fmla="*/ 66 h 992"/>
                <a:gd name="T38" fmla="*/ 704 w 725"/>
                <a:gd name="T39" fmla="*/ 111 h 992"/>
                <a:gd name="T40" fmla="*/ 709 w 725"/>
                <a:gd name="T41" fmla="*/ 106 h 992"/>
                <a:gd name="T42" fmla="*/ 725 w 725"/>
                <a:gd name="T43" fmla="*/ 122 h 992"/>
                <a:gd name="T44" fmla="*/ 692 w 725"/>
                <a:gd name="T45" fmla="*/ 122 h 992"/>
                <a:gd name="T46" fmla="*/ 654 w 725"/>
                <a:gd name="T47" fmla="*/ 233 h 992"/>
                <a:gd name="T48" fmla="*/ 616 w 725"/>
                <a:gd name="T49" fmla="*/ 295 h 992"/>
                <a:gd name="T50" fmla="*/ 569 w 725"/>
                <a:gd name="T51" fmla="*/ 382 h 992"/>
                <a:gd name="T52" fmla="*/ 487 w 725"/>
                <a:gd name="T53" fmla="*/ 548 h 992"/>
                <a:gd name="T54" fmla="*/ 243 w 725"/>
                <a:gd name="T55" fmla="*/ 753 h 992"/>
                <a:gd name="T56" fmla="*/ 71 w 725"/>
                <a:gd name="T57" fmla="*/ 937 h 992"/>
                <a:gd name="T58" fmla="*/ 0 w 725"/>
                <a:gd name="T59" fmla="*/ 937 h 992"/>
                <a:gd name="T60" fmla="*/ 21 w 725"/>
                <a:gd name="T61" fmla="*/ 642 h 992"/>
                <a:gd name="T62" fmla="*/ 71 w 725"/>
                <a:gd name="T63" fmla="*/ 571 h 992"/>
                <a:gd name="T64" fmla="*/ 71 w 725"/>
                <a:gd name="T65" fmla="*/ 571 h 9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725" h="992">
                  <a:moveTo>
                    <a:pt x="71" y="571"/>
                  </a:moveTo>
                  <a:lnTo>
                    <a:pt x="130" y="555"/>
                  </a:lnTo>
                  <a:lnTo>
                    <a:pt x="146" y="531"/>
                  </a:lnTo>
                  <a:lnTo>
                    <a:pt x="184" y="515"/>
                  </a:lnTo>
                  <a:lnTo>
                    <a:pt x="205" y="510"/>
                  </a:lnTo>
                  <a:lnTo>
                    <a:pt x="276" y="515"/>
                  </a:lnTo>
                  <a:lnTo>
                    <a:pt x="487" y="295"/>
                  </a:lnTo>
                  <a:lnTo>
                    <a:pt x="416" y="295"/>
                  </a:lnTo>
                  <a:lnTo>
                    <a:pt x="205" y="222"/>
                  </a:lnTo>
                  <a:lnTo>
                    <a:pt x="184" y="193"/>
                  </a:lnTo>
                  <a:lnTo>
                    <a:pt x="168" y="193"/>
                  </a:lnTo>
                  <a:lnTo>
                    <a:pt x="151" y="151"/>
                  </a:lnTo>
                  <a:lnTo>
                    <a:pt x="146" y="151"/>
                  </a:lnTo>
                  <a:lnTo>
                    <a:pt x="130" y="127"/>
                  </a:lnTo>
                  <a:lnTo>
                    <a:pt x="113" y="106"/>
                  </a:lnTo>
                  <a:lnTo>
                    <a:pt x="130" y="73"/>
                  </a:lnTo>
                  <a:lnTo>
                    <a:pt x="151" y="40"/>
                  </a:lnTo>
                  <a:lnTo>
                    <a:pt x="168" y="49"/>
                  </a:lnTo>
                  <a:lnTo>
                    <a:pt x="189" y="89"/>
                  </a:lnTo>
                  <a:lnTo>
                    <a:pt x="234" y="111"/>
                  </a:lnTo>
                  <a:lnTo>
                    <a:pt x="272" y="122"/>
                  </a:lnTo>
                  <a:lnTo>
                    <a:pt x="331" y="85"/>
                  </a:lnTo>
                  <a:lnTo>
                    <a:pt x="378" y="94"/>
                  </a:lnTo>
                  <a:lnTo>
                    <a:pt x="449" y="66"/>
                  </a:lnTo>
                  <a:lnTo>
                    <a:pt x="470" y="66"/>
                  </a:lnTo>
                  <a:lnTo>
                    <a:pt x="503" y="66"/>
                  </a:lnTo>
                  <a:lnTo>
                    <a:pt x="524" y="49"/>
                  </a:lnTo>
                  <a:lnTo>
                    <a:pt x="557" y="56"/>
                  </a:lnTo>
                  <a:lnTo>
                    <a:pt x="583" y="49"/>
                  </a:lnTo>
                  <a:lnTo>
                    <a:pt x="600" y="40"/>
                  </a:lnTo>
                  <a:lnTo>
                    <a:pt x="633" y="40"/>
                  </a:lnTo>
                  <a:lnTo>
                    <a:pt x="654" y="28"/>
                  </a:lnTo>
                  <a:lnTo>
                    <a:pt x="671" y="11"/>
                  </a:lnTo>
                  <a:lnTo>
                    <a:pt x="687" y="0"/>
                  </a:lnTo>
                  <a:lnTo>
                    <a:pt x="720" y="11"/>
                  </a:lnTo>
                  <a:lnTo>
                    <a:pt x="704" y="49"/>
                  </a:lnTo>
                  <a:lnTo>
                    <a:pt x="704" y="56"/>
                  </a:lnTo>
                  <a:lnTo>
                    <a:pt x="709" y="66"/>
                  </a:lnTo>
                  <a:lnTo>
                    <a:pt x="709" y="106"/>
                  </a:lnTo>
                  <a:lnTo>
                    <a:pt x="704" y="111"/>
                  </a:lnTo>
                  <a:lnTo>
                    <a:pt x="709" y="111"/>
                  </a:lnTo>
                  <a:lnTo>
                    <a:pt x="709" y="106"/>
                  </a:lnTo>
                  <a:lnTo>
                    <a:pt x="725" y="111"/>
                  </a:lnTo>
                  <a:lnTo>
                    <a:pt x="725" y="122"/>
                  </a:lnTo>
                  <a:lnTo>
                    <a:pt x="720" y="111"/>
                  </a:lnTo>
                  <a:lnTo>
                    <a:pt x="692" y="122"/>
                  </a:lnTo>
                  <a:lnTo>
                    <a:pt x="687" y="193"/>
                  </a:lnTo>
                  <a:lnTo>
                    <a:pt x="654" y="233"/>
                  </a:lnTo>
                  <a:lnTo>
                    <a:pt x="638" y="278"/>
                  </a:lnTo>
                  <a:lnTo>
                    <a:pt x="616" y="295"/>
                  </a:lnTo>
                  <a:lnTo>
                    <a:pt x="612" y="328"/>
                  </a:lnTo>
                  <a:lnTo>
                    <a:pt x="569" y="382"/>
                  </a:lnTo>
                  <a:lnTo>
                    <a:pt x="562" y="427"/>
                  </a:lnTo>
                  <a:lnTo>
                    <a:pt x="487" y="548"/>
                  </a:lnTo>
                  <a:lnTo>
                    <a:pt x="347" y="699"/>
                  </a:lnTo>
                  <a:lnTo>
                    <a:pt x="243" y="753"/>
                  </a:lnTo>
                  <a:lnTo>
                    <a:pt x="168" y="826"/>
                  </a:lnTo>
                  <a:lnTo>
                    <a:pt x="71" y="937"/>
                  </a:lnTo>
                  <a:lnTo>
                    <a:pt x="38" y="992"/>
                  </a:lnTo>
                  <a:lnTo>
                    <a:pt x="0" y="937"/>
                  </a:lnTo>
                  <a:lnTo>
                    <a:pt x="0" y="666"/>
                  </a:lnTo>
                  <a:lnTo>
                    <a:pt x="21" y="642"/>
                  </a:lnTo>
                  <a:lnTo>
                    <a:pt x="59" y="583"/>
                  </a:lnTo>
                  <a:lnTo>
                    <a:pt x="71" y="571"/>
                  </a:lnTo>
                  <a:lnTo>
                    <a:pt x="71" y="571"/>
                  </a:lnTo>
                  <a:lnTo>
                    <a:pt x="71" y="571"/>
                  </a:lnTo>
                  <a:close/>
                </a:path>
              </a:pathLst>
            </a:custGeom>
            <a:solidFill>
              <a:schemeClr val="bg2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13" name="Freeform 557">
              <a:extLst>
                <a:ext uri="{FF2B5EF4-FFF2-40B4-BE49-F238E27FC236}">
                  <a16:creationId xmlns:a16="http://schemas.microsoft.com/office/drawing/2014/main" id="{8D32338A-9720-4EF5-89CC-8BB4DEF6FEC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966094" y="2224678"/>
              <a:ext cx="240956" cy="204145"/>
            </a:xfrm>
            <a:custGeom>
              <a:avLst/>
              <a:gdLst>
                <a:gd name="T0" fmla="*/ 793 w 1570"/>
                <a:gd name="T1" fmla="*/ 251 h 1330"/>
                <a:gd name="T2" fmla="*/ 815 w 1570"/>
                <a:gd name="T3" fmla="*/ 184 h 1330"/>
                <a:gd name="T4" fmla="*/ 756 w 1570"/>
                <a:gd name="T5" fmla="*/ 173 h 1330"/>
                <a:gd name="T6" fmla="*/ 708 w 1570"/>
                <a:gd name="T7" fmla="*/ 151 h 1330"/>
                <a:gd name="T8" fmla="*/ 647 w 1570"/>
                <a:gd name="T9" fmla="*/ 151 h 1330"/>
                <a:gd name="T10" fmla="*/ 654 w 1570"/>
                <a:gd name="T11" fmla="*/ 123 h 1330"/>
                <a:gd name="T12" fmla="*/ 642 w 1570"/>
                <a:gd name="T13" fmla="*/ 111 h 1330"/>
                <a:gd name="T14" fmla="*/ 633 w 1570"/>
                <a:gd name="T15" fmla="*/ 66 h 1330"/>
                <a:gd name="T16" fmla="*/ 663 w 1570"/>
                <a:gd name="T17" fmla="*/ 45 h 1330"/>
                <a:gd name="T18" fmla="*/ 722 w 1570"/>
                <a:gd name="T19" fmla="*/ 7 h 1330"/>
                <a:gd name="T20" fmla="*/ 777 w 1570"/>
                <a:gd name="T21" fmla="*/ 24 h 1330"/>
                <a:gd name="T22" fmla="*/ 869 w 1570"/>
                <a:gd name="T23" fmla="*/ 24 h 1330"/>
                <a:gd name="T24" fmla="*/ 1063 w 1570"/>
                <a:gd name="T25" fmla="*/ 28 h 1330"/>
                <a:gd name="T26" fmla="*/ 1171 w 1570"/>
                <a:gd name="T27" fmla="*/ 62 h 1330"/>
                <a:gd name="T28" fmla="*/ 1273 w 1570"/>
                <a:gd name="T29" fmla="*/ 95 h 1330"/>
                <a:gd name="T30" fmla="*/ 1372 w 1570"/>
                <a:gd name="T31" fmla="*/ 99 h 1330"/>
                <a:gd name="T32" fmla="*/ 1436 w 1570"/>
                <a:gd name="T33" fmla="*/ 118 h 1330"/>
                <a:gd name="T34" fmla="*/ 1495 w 1570"/>
                <a:gd name="T35" fmla="*/ 123 h 1330"/>
                <a:gd name="T36" fmla="*/ 1495 w 1570"/>
                <a:gd name="T37" fmla="*/ 168 h 1330"/>
                <a:gd name="T38" fmla="*/ 1318 w 1570"/>
                <a:gd name="T39" fmla="*/ 262 h 1330"/>
                <a:gd name="T40" fmla="*/ 1327 w 1570"/>
                <a:gd name="T41" fmla="*/ 279 h 1330"/>
                <a:gd name="T42" fmla="*/ 1263 w 1570"/>
                <a:gd name="T43" fmla="*/ 411 h 1330"/>
                <a:gd name="T44" fmla="*/ 1226 w 1570"/>
                <a:gd name="T45" fmla="*/ 527 h 1330"/>
                <a:gd name="T46" fmla="*/ 1112 w 1570"/>
                <a:gd name="T47" fmla="*/ 593 h 1330"/>
                <a:gd name="T48" fmla="*/ 949 w 1570"/>
                <a:gd name="T49" fmla="*/ 617 h 1330"/>
                <a:gd name="T50" fmla="*/ 881 w 1570"/>
                <a:gd name="T51" fmla="*/ 666 h 1330"/>
                <a:gd name="T52" fmla="*/ 826 w 1570"/>
                <a:gd name="T53" fmla="*/ 600 h 1330"/>
                <a:gd name="T54" fmla="*/ 751 w 1570"/>
                <a:gd name="T55" fmla="*/ 560 h 1330"/>
                <a:gd name="T56" fmla="*/ 777 w 1570"/>
                <a:gd name="T57" fmla="*/ 489 h 1330"/>
                <a:gd name="T58" fmla="*/ 760 w 1570"/>
                <a:gd name="T59" fmla="*/ 432 h 1330"/>
                <a:gd name="T60" fmla="*/ 777 w 1570"/>
                <a:gd name="T61" fmla="*/ 354 h 1330"/>
                <a:gd name="T62" fmla="*/ 789 w 1570"/>
                <a:gd name="T63" fmla="*/ 305 h 1330"/>
                <a:gd name="T64" fmla="*/ 1544 w 1570"/>
                <a:gd name="T65" fmla="*/ 321 h 1330"/>
                <a:gd name="T66" fmla="*/ 1570 w 1570"/>
                <a:gd name="T67" fmla="*/ 350 h 1330"/>
                <a:gd name="T68" fmla="*/ 1478 w 1570"/>
                <a:gd name="T69" fmla="*/ 333 h 1330"/>
                <a:gd name="T70" fmla="*/ 1495 w 1570"/>
                <a:gd name="T71" fmla="*/ 378 h 1330"/>
                <a:gd name="T72" fmla="*/ 1441 w 1570"/>
                <a:gd name="T73" fmla="*/ 371 h 1330"/>
                <a:gd name="T74" fmla="*/ 1356 w 1570"/>
                <a:gd name="T75" fmla="*/ 416 h 1330"/>
                <a:gd name="T76" fmla="*/ 1365 w 1570"/>
                <a:gd name="T77" fmla="*/ 428 h 1330"/>
                <a:gd name="T78" fmla="*/ 1372 w 1570"/>
                <a:gd name="T79" fmla="*/ 432 h 1330"/>
                <a:gd name="T80" fmla="*/ 1372 w 1570"/>
                <a:gd name="T81" fmla="*/ 444 h 1330"/>
                <a:gd name="T82" fmla="*/ 330 w 1570"/>
                <a:gd name="T83" fmla="*/ 1202 h 1330"/>
                <a:gd name="T84" fmla="*/ 309 w 1570"/>
                <a:gd name="T85" fmla="*/ 1238 h 1330"/>
                <a:gd name="T86" fmla="*/ 16 w 1570"/>
                <a:gd name="T87" fmla="*/ 1238 h 1330"/>
                <a:gd name="T88" fmla="*/ 21 w 1570"/>
                <a:gd name="T89" fmla="*/ 1259 h 1330"/>
                <a:gd name="T90" fmla="*/ 293 w 1570"/>
                <a:gd name="T91" fmla="*/ 1243 h 1330"/>
                <a:gd name="T92" fmla="*/ 271 w 1570"/>
                <a:gd name="T93" fmla="*/ 1297 h 1330"/>
                <a:gd name="T94" fmla="*/ 87 w 1570"/>
                <a:gd name="T95" fmla="*/ 1276 h 1330"/>
                <a:gd name="T96" fmla="*/ 125 w 1570"/>
                <a:gd name="T97" fmla="*/ 1292 h 1330"/>
                <a:gd name="T98" fmla="*/ 59 w 1570"/>
                <a:gd name="T99" fmla="*/ 1297 h 1330"/>
                <a:gd name="T100" fmla="*/ 59 w 1570"/>
                <a:gd name="T101" fmla="*/ 1297 h 1330"/>
                <a:gd name="T102" fmla="*/ 163 w 1570"/>
                <a:gd name="T103" fmla="*/ 1304 h 1330"/>
                <a:gd name="T104" fmla="*/ 196 w 1570"/>
                <a:gd name="T105" fmla="*/ 1313 h 1330"/>
                <a:gd name="T106" fmla="*/ 7 w 1570"/>
                <a:gd name="T107" fmla="*/ 1330 h 1330"/>
                <a:gd name="T108" fmla="*/ 7 w 1570"/>
                <a:gd name="T109" fmla="*/ 1330 h 13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570" h="1330">
                  <a:moveTo>
                    <a:pt x="789" y="305"/>
                  </a:moveTo>
                  <a:lnTo>
                    <a:pt x="793" y="300"/>
                  </a:lnTo>
                  <a:lnTo>
                    <a:pt x="793" y="284"/>
                  </a:lnTo>
                  <a:lnTo>
                    <a:pt x="793" y="251"/>
                  </a:lnTo>
                  <a:lnTo>
                    <a:pt x="789" y="239"/>
                  </a:lnTo>
                  <a:lnTo>
                    <a:pt x="826" y="210"/>
                  </a:lnTo>
                  <a:lnTo>
                    <a:pt x="843" y="189"/>
                  </a:lnTo>
                  <a:lnTo>
                    <a:pt x="815" y="184"/>
                  </a:lnTo>
                  <a:lnTo>
                    <a:pt x="810" y="156"/>
                  </a:lnTo>
                  <a:lnTo>
                    <a:pt x="772" y="156"/>
                  </a:lnTo>
                  <a:lnTo>
                    <a:pt x="772" y="168"/>
                  </a:lnTo>
                  <a:lnTo>
                    <a:pt x="756" y="173"/>
                  </a:lnTo>
                  <a:lnTo>
                    <a:pt x="734" y="168"/>
                  </a:lnTo>
                  <a:lnTo>
                    <a:pt x="701" y="173"/>
                  </a:lnTo>
                  <a:lnTo>
                    <a:pt x="696" y="168"/>
                  </a:lnTo>
                  <a:lnTo>
                    <a:pt x="708" y="151"/>
                  </a:lnTo>
                  <a:lnTo>
                    <a:pt x="696" y="139"/>
                  </a:lnTo>
                  <a:lnTo>
                    <a:pt x="654" y="156"/>
                  </a:lnTo>
                  <a:lnTo>
                    <a:pt x="647" y="168"/>
                  </a:lnTo>
                  <a:lnTo>
                    <a:pt x="647" y="151"/>
                  </a:lnTo>
                  <a:lnTo>
                    <a:pt x="670" y="123"/>
                  </a:lnTo>
                  <a:lnTo>
                    <a:pt x="647" y="135"/>
                  </a:lnTo>
                  <a:lnTo>
                    <a:pt x="663" y="118"/>
                  </a:lnTo>
                  <a:lnTo>
                    <a:pt x="654" y="123"/>
                  </a:lnTo>
                  <a:lnTo>
                    <a:pt x="647" y="118"/>
                  </a:lnTo>
                  <a:lnTo>
                    <a:pt x="654" y="118"/>
                  </a:lnTo>
                  <a:lnTo>
                    <a:pt x="663" y="95"/>
                  </a:lnTo>
                  <a:lnTo>
                    <a:pt x="642" y="111"/>
                  </a:lnTo>
                  <a:lnTo>
                    <a:pt x="642" y="95"/>
                  </a:lnTo>
                  <a:lnTo>
                    <a:pt x="647" y="83"/>
                  </a:lnTo>
                  <a:lnTo>
                    <a:pt x="633" y="95"/>
                  </a:lnTo>
                  <a:lnTo>
                    <a:pt x="633" y="66"/>
                  </a:lnTo>
                  <a:lnTo>
                    <a:pt x="626" y="78"/>
                  </a:lnTo>
                  <a:lnTo>
                    <a:pt x="626" y="57"/>
                  </a:lnTo>
                  <a:lnTo>
                    <a:pt x="647" y="40"/>
                  </a:lnTo>
                  <a:lnTo>
                    <a:pt x="663" y="45"/>
                  </a:lnTo>
                  <a:lnTo>
                    <a:pt x="685" y="28"/>
                  </a:lnTo>
                  <a:lnTo>
                    <a:pt x="696" y="24"/>
                  </a:lnTo>
                  <a:lnTo>
                    <a:pt x="718" y="0"/>
                  </a:lnTo>
                  <a:lnTo>
                    <a:pt x="722" y="7"/>
                  </a:lnTo>
                  <a:lnTo>
                    <a:pt x="751" y="7"/>
                  </a:lnTo>
                  <a:lnTo>
                    <a:pt x="760" y="24"/>
                  </a:lnTo>
                  <a:lnTo>
                    <a:pt x="777" y="24"/>
                  </a:lnTo>
                  <a:lnTo>
                    <a:pt x="777" y="24"/>
                  </a:lnTo>
                  <a:lnTo>
                    <a:pt x="789" y="12"/>
                  </a:lnTo>
                  <a:lnTo>
                    <a:pt x="848" y="24"/>
                  </a:lnTo>
                  <a:lnTo>
                    <a:pt x="864" y="12"/>
                  </a:lnTo>
                  <a:lnTo>
                    <a:pt x="869" y="24"/>
                  </a:lnTo>
                  <a:lnTo>
                    <a:pt x="956" y="28"/>
                  </a:lnTo>
                  <a:lnTo>
                    <a:pt x="1020" y="24"/>
                  </a:lnTo>
                  <a:lnTo>
                    <a:pt x="1048" y="40"/>
                  </a:lnTo>
                  <a:lnTo>
                    <a:pt x="1063" y="28"/>
                  </a:lnTo>
                  <a:lnTo>
                    <a:pt x="1112" y="45"/>
                  </a:lnTo>
                  <a:lnTo>
                    <a:pt x="1150" y="40"/>
                  </a:lnTo>
                  <a:lnTo>
                    <a:pt x="1171" y="45"/>
                  </a:lnTo>
                  <a:lnTo>
                    <a:pt x="1171" y="62"/>
                  </a:lnTo>
                  <a:lnTo>
                    <a:pt x="1221" y="66"/>
                  </a:lnTo>
                  <a:lnTo>
                    <a:pt x="1237" y="83"/>
                  </a:lnTo>
                  <a:lnTo>
                    <a:pt x="1247" y="83"/>
                  </a:lnTo>
                  <a:lnTo>
                    <a:pt x="1273" y="95"/>
                  </a:lnTo>
                  <a:lnTo>
                    <a:pt x="1318" y="95"/>
                  </a:lnTo>
                  <a:lnTo>
                    <a:pt x="1327" y="78"/>
                  </a:lnTo>
                  <a:lnTo>
                    <a:pt x="1365" y="95"/>
                  </a:lnTo>
                  <a:lnTo>
                    <a:pt x="1372" y="99"/>
                  </a:lnTo>
                  <a:lnTo>
                    <a:pt x="1372" y="118"/>
                  </a:lnTo>
                  <a:lnTo>
                    <a:pt x="1398" y="111"/>
                  </a:lnTo>
                  <a:lnTo>
                    <a:pt x="1410" y="123"/>
                  </a:lnTo>
                  <a:lnTo>
                    <a:pt x="1436" y="118"/>
                  </a:lnTo>
                  <a:lnTo>
                    <a:pt x="1452" y="123"/>
                  </a:lnTo>
                  <a:lnTo>
                    <a:pt x="1478" y="118"/>
                  </a:lnTo>
                  <a:lnTo>
                    <a:pt x="1495" y="118"/>
                  </a:lnTo>
                  <a:lnTo>
                    <a:pt x="1495" y="123"/>
                  </a:lnTo>
                  <a:lnTo>
                    <a:pt x="1507" y="123"/>
                  </a:lnTo>
                  <a:lnTo>
                    <a:pt x="1490" y="135"/>
                  </a:lnTo>
                  <a:lnTo>
                    <a:pt x="1495" y="151"/>
                  </a:lnTo>
                  <a:lnTo>
                    <a:pt x="1495" y="168"/>
                  </a:lnTo>
                  <a:lnTo>
                    <a:pt x="1436" y="206"/>
                  </a:lnTo>
                  <a:lnTo>
                    <a:pt x="1419" y="222"/>
                  </a:lnTo>
                  <a:lnTo>
                    <a:pt x="1344" y="239"/>
                  </a:lnTo>
                  <a:lnTo>
                    <a:pt x="1318" y="262"/>
                  </a:lnTo>
                  <a:lnTo>
                    <a:pt x="1334" y="267"/>
                  </a:lnTo>
                  <a:lnTo>
                    <a:pt x="1318" y="279"/>
                  </a:lnTo>
                  <a:lnTo>
                    <a:pt x="1318" y="279"/>
                  </a:lnTo>
                  <a:lnTo>
                    <a:pt x="1327" y="279"/>
                  </a:lnTo>
                  <a:lnTo>
                    <a:pt x="1311" y="279"/>
                  </a:lnTo>
                  <a:lnTo>
                    <a:pt x="1273" y="321"/>
                  </a:lnTo>
                  <a:lnTo>
                    <a:pt x="1247" y="371"/>
                  </a:lnTo>
                  <a:lnTo>
                    <a:pt x="1263" y="411"/>
                  </a:lnTo>
                  <a:lnTo>
                    <a:pt x="1289" y="432"/>
                  </a:lnTo>
                  <a:lnTo>
                    <a:pt x="1237" y="465"/>
                  </a:lnTo>
                  <a:lnTo>
                    <a:pt x="1209" y="522"/>
                  </a:lnTo>
                  <a:lnTo>
                    <a:pt x="1226" y="527"/>
                  </a:lnTo>
                  <a:lnTo>
                    <a:pt x="1183" y="527"/>
                  </a:lnTo>
                  <a:lnTo>
                    <a:pt x="1155" y="543"/>
                  </a:lnTo>
                  <a:lnTo>
                    <a:pt x="1129" y="600"/>
                  </a:lnTo>
                  <a:lnTo>
                    <a:pt x="1112" y="593"/>
                  </a:lnTo>
                  <a:lnTo>
                    <a:pt x="1079" y="610"/>
                  </a:lnTo>
                  <a:lnTo>
                    <a:pt x="1063" y="600"/>
                  </a:lnTo>
                  <a:lnTo>
                    <a:pt x="966" y="600"/>
                  </a:lnTo>
                  <a:lnTo>
                    <a:pt x="949" y="617"/>
                  </a:lnTo>
                  <a:lnTo>
                    <a:pt x="911" y="626"/>
                  </a:lnTo>
                  <a:lnTo>
                    <a:pt x="902" y="650"/>
                  </a:lnTo>
                  <a:lnTo>
                    <a:pt x="897" y="650"/>
                  </a:lnTo>
                  <a:lnTo>
                    <a:pt x="881" y="666"/>
                  </a:lnTo>
                  <a:lnTo>
                    <a:pt x="848" y="650"/>
                  </a:lnTo>
                  <a:lnTo>
                    <a:pt x="831" y="626"/>
                  </a:lnTo>
                  <a:lnTo>
                    <a:pt x="843" y="617"/>
                  </a:lnTo>
                  <a:lnTo>
                    <a:pt x="826" y="600"/>
                  </a:lnTo>
                  <a:lnTo>
                    <a:pt x="826" y="593"/>
                  </a:lnTo>
                  <a:lnTo>
                    <a:pt x="789" y="560"/>
                  </a:lnTo>
                  <a:lnTo>
                    <a:pt x="756" y="560"/>
                  </a:lnTo>
                  <a:lnTo>
                    <a:pt x="751" y="560"/>
                  </a:lnTo>
                  <a:lnTo>
                    <a:pt x="751" y="527"/>
                  </a:lnTo>
                  <a:lnTo>
                    <a:pt x="751" y="522"/>
                  </a:lnTo>
                  <a:lnTo>
                    <a:pt x="760" y="499"/>
                  </a:lnTo>
                  <a:lnTo>
                    <a:pt x="777" y="489"/>
                  </a:lnTo>
                  <a:lnTo>
                    <a:pt x="789" y="482"/>
                  </a:lnTo>
                  <a:lnTo>
                    <a:pt x="777" y="482"/>
                  </a:lnTo>
                  <a:lnTo>
                    <a:pt x="756" y="461"/>
                  </a:lnTo>
                  <a:lnTo>
                    <a:pt x="760" y="432"/>
                  </a:lnTo>
                  <a:lnTo>
                    <a:pt x="789" y="411"/>
                  </a:lnTo>
                  <a:lnTo>
                    <a:pt x="760" y="395"/>
                  </a:lnTo>
                  <a:lnTo>
                    <a:pt x="751" y="354"/>
                  </a:lnTo>
                  <a:lnTo>
                    <a:pt x="777" y="354"/>
                  </a:lnTo>
                  <a:lnTo>
                    <a:pt x="793" y="321"/>
                  </a:lnTo>
                  <a:lnTo>
                    <a:pt x="777" y="317"/>
                  </a:lnTo>
                  <a:lnTo>
                    <a:pt x="789" y="305"/>
                  </a:lnTo>
                  <a:lnTo>
                    <a:pt x="789" y="305"/>
                  </a:lnTo>
                  <a:lnTo>
                    <a:pt x="789" y="305"/>
                  </a:lnTo>
                  <a:close/>
                  <a:moveTo>
                    <a:pt x="1570" y="350"/>
                  </a:moveTo>
                  <a:lnTo>
                    <a:pt x="1544" y="333"/>
                  </a:lnTo>
                  <a:lnTo>
                    <a:pt x="1544" y="321"/>
                  </a:lnTo>
                  <a:lnTo>
                    <a:pt x="1566" y="321"/>
                  </a:lnTo>
                  <a:lnTo>
                    <a:pt x="1570" y="338"/>
                  </a:lnTo>
                  <a:lnTo>
                    <a:pt x="1570" y="350"/>
                  </a:lnTo>
                  <a:lnTo>
                    <a:pt x="1570" y="350"/>
                  </a:lnTo>
                  <a:lnTo>
                    <a:pt x="1570" y="350"/>
                  </a:lnTo>
                  <a:close/>
                  <a:moveTo>
                    <a:pt x="1441" y="371"/>
                  </a:moveTo>
                  <a:lnTo>
                    <a:pt x="1441" y="362"/>
                  </a:lnTo>
                  <a:lnTo>
                    <a:pt x="1478" y="333"/>
                  </a:lnTo>
                  <a:lnTo>
                    <a:pt x="1490" y="333"/>
                  </a:lnTo>
                  <a:lnTo>
                    <a:pt x="1495" y="350"/>
                  </a:lnTo>
                  <a:lnTo>
                    <a:pt x="1516" y="350"/>
                  </a:lnTo>
                  <a:lnTo>
                    <a:pt x="1495" y="378"/>
                  </a:lnTo>
                  <a:lnTo>
                    <a:pt x="1490" y="388"/>
                  </a:lnTo>
                  <a:lnTo>
                    <a:pt x="1462" y="378"/>
                  </a:lnTo>
                  <a:lnTo>
                    <a:pt x="1457" y="362"/>
                  </a:lnTo>
                  <a:lnTo>
                    <a:pt x="1441" y="371"/>
                  </a:lnTo>
                  <a:lnTo>
                    <a:pt x="1441" y="371"/>
                  </a:lnTo>
                  <a:lnTo>
                    <a:pt x="1441" y="371"/>
                  </a:lnTo>
                  <a:close/>
                  <a:moveTo>
                    <a:pt x="1365" y="428"/>
                  </a:moveTo>
                  <a:lnTo>
                    <a:pt x="1356" y="416"/>
                  </a:lnTo>
                  <a:lnTo>
                    <a:pt x="1365" y="411"/>
                  </a:lnTo>
                  <a:lnTo>
                    <a:pt x="1386" y="406"/>
                  </a:lnTo>
                  <a:lnTo>
                    <a:pt x="1386" y="411"/>
                  </a:lnTo>
                  <a:lnTo>
                    <a:pt x="1365" y="428"/>
                  </a:lnTo>
                  <a:lnTo>
                    <a:pt x="1365" y="428"/>
                  </a:lnTo>
                  <a:lnTo>
                    <a:pt x="1365" y="428"/>
                  </a:lnTo>
                  <a:close/>
                  <a:moveTo>
                    <a:pt x="1372" y="444"/>
                  </a:moveTo>
                  <a:lnTo>
                    <a:pt x="1372" y="432"/>
                  </a:lnTo>
                  <a:lnTo>
                    <a:pt x="1382" y="444"/>
                  </a:lnTo>
                  <a:lnTo>
                    <a:pt x="1372" y="444"/>
                  </a:lnTo>
                  <a:lnTo>
                    <a:pt x="1372" y="444"/>
                  </a:lnTo>
                  <a:lnTo>
                    <a:pt x="1372" y="444"/>
                  </a:lnTo>
                  <a:close/>
                  <a:moveTo>
                    <a:pt x="309" y="1238"/>
                  </a:moveTo>
                  <a:lnTo>
                    <a:pt x="302" y="1226"/>
                  </a:lnTo>
                  <a:lnTo>
                    <a:pt x="309" y="1219"/>
                  </a:lnTo>
                  <a:lnTo>
                    <a:pt x="330" y="1202"/>
                  </a:lnTo>
                  <a:lnTo>
                    <a:pt x="323" y="1226"/>
                  </a:lnTo>
                  <a:lnTo>
                    <a:pt x="309" y="1238"/>
                  </a:lnTo>
                  <a:lnTo>
                    <a:pt x="309" y="1238"/>
                  </a:lnTo>
                  <a:lnTo>
                    <a:pt x="309" y="1238"/>
                  </a:lnTo>
                  <a:close/>
                  <a:moveTo>
                    <a:pt x="21" y="1259"/>
                  </a:moveTo>
                  <a:lnTo>
                    <a:pt x="21" y="1264"/>
                  </a:lnTo>
                  <a:lnTo>
                    <a:pt x="7" y="1243"/>
                  </a:lnTo>
                  <a:lnTo>
                    <a:pt x="16" y="1238"/>
                  </a:lnTo>
                  <a:lnTo>
                    <a:pt x="33" y="1243"/>
                  </a:lnTo>
                  <a:lnTo>
                    <a:pt x="21" y="1259"/>
                  </a:lnTo>
                  <a:lnTo>
                    <a:pt x="21" y="1259"/>
                  </a:lnTo>
                  <a:lnTo>
                    <a:pt x="21" y="1259"/>
                  </a:lnTo>
                  <a:close/>
                  <a:moveTo>
                    <a:pt x="271" y="1297"/>
                  </a:moveTo>
                  <a:lnTo>
                    <a:pt x="264" y="1297"/>
                  </a:lnTo>
                  <a:lnTo>
                    <a:pt x="276" y="1280"/>
                  </a:lnTo>
                  <a:lnTo>
                    <a:pt x="293" y="1243"/>
                  </a:lnTo>
                  <a:lnTo>
                    <a:pt x="302" y="1243"/>
                  </a:lnTo>
                  <a:lnTo>
                    <a:pt x="302" y="1259"/>
                  </a:lnTo>
                  <a:lnTo>
                    <a:pt x="293" y="1280"/>
                  </a:lnTo>
                  <a:lnTo>
                    <a:pt x="271" y="1297"/>
                  </a:lnTo>
                  <a:lnTo>
                    <a:pt x="271" y="1297"/>
                  </a:lnTo>
                  <a:lnTo>
                    <a:pt x="271" y="1297"/>
                  </a:lnTo>
                  <a:close/>
                  <a:moveTo>
                    <a:pt x="104" y="1297"/>
                  </a:moveTo>
                  <a:lnTo>
                    <a:pt x="87" y="1276"/>
                  </a:lnTo>
                  <a:lnTo>
                    <a:pt x="108" y="1264"/>
                  </a:lnTo>
                  <a:lnTo>
                    <a:pt x="125" y="1259"/>
                  </a:lnTo>
                  <a:lnTo>
                    <a:pt x="141" y="1259"/>
                  </a:lnTo>
                  <a:lnTo>
                    <a:pt x="125" y="1292"/>
                  </a:lnTo>
                  <a:lnTo>
                    <a:pt x="104" y="1297"/>
                  </a:lnTo>
                  <a:lnTo>
                    <a:pt x="104" y="1297"/>
                  </a:lnTo>
                  <a:lnTo>
                    <a:pt x="104" y="1297"/>
                  </a:lnTo>
                  <a:close/>
                  <a:moveTo>
                    <a:pt x="59" y="1297"/>
                  </a:moveTo>
                  <a:lnTo>
                    <a:pt x="54" y="1292"/>
                  </a:lnTo>
                  <a:lnTo>
                    <a:pt x="59" y="1280"/>
                  </a:lnTo>
                  <a:lnTo>
                    <a:pt x="75" y="1292"/>
                  </a:lnTo>
                  <a:lnTo>
                    <a:pt x="59" y="1297"/>
                  </a:lnTo>
                  <a:lnTo>
                    <a:pt x="59" y="1297"/>
                  </a:lnTo>
                  <a:lnTo>
                    <a:pt x="59" y="1297"/>
                  </a:lnTo>
                  <a:close/>
                  <a:moveTo>
                    <a:pt x="179" y="1321"/>
                  </a:moveTo>
                  <a:lnTo>
                    <a:pt x="163" y="1304"/>
                  </a:lnTo>
                  <a:lnTo>
                    <a:pt x="167" y="1292"/>
                  </a:lnTo>
                  <a:lnTo>
                    <a:pt x="196" y="1292"/>
                  </a:lnTo>
                  <a:lnTo>
                    <a:pt x="196" y="1297"/>
                  </a:lnTo>
                  <a:lnTo>
                    <a:pt x="196" y="1313"/>
                  </a:lnTo>
                  <a:lnTo>
                    <a:pt x="179" y="1321"/>
                  </a:lnTo>
                  <a:lnTo>
                    <a:pt x="179" y="1321"/>
                  </a:lnTo>
                  <a:lnTo>
                    <a:pt x="179" y="1321"/>
                  </a:lnTo>
                  <a:close/>
                  <a:moveTo>
                    <a:pt x="7" y="1330"/>
                  </a:moveTo>
                  <a:lnTo>
                    <a:pt x="0" y="1321"/>
                  </a:lnTo>
                  <a:lnTo>
                    <a:pt x="16" y="1313"/>
                  </a:lnTo>
                  <a:lnTo>
                    <a:pt x="7" y="1330"/>
                  </a:lnTo>
                  <a:lnTo>
                    <a:pt x="7" y="1330"/>
                  </a:lnTo>
                  <a:lnTo>
                    <a:pt x="7" y="1330"/>
                  </a:lnTo>
                  <a:close/>
                </a:path>
              </a:pathLst>
            </a:custGeom>
            <a:solidFill>
              <a:schemeClr val="bg2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14" name="Freeform 558">
              <a:extLst>
                <a:ext uri="{FF2B5EF4-FFF2-40B4-BE49-F238E27FC236}">
                  <a16:creationId xmlns:a16="http://schemas.microsoft.com/office/drawing/2014/main" id="{AA90C0C6-AABC-4710-9607-F477DA7A26E7}"/>
                </a:ext>
              </a:extLst>
            </p:cNvPr>
            <p:cNvSpPr>
              <a:spLocks/>
            </p:cNvSpPr>
            <p:nvPr/>
          </p:nvSpPr>
          <p:spPr bwMode="gray">
            <a:xfrm>
              <a:off x="6364054" y="2191677"/>
              <a:ext cx="44661" cy="58788"/>
            </a:xfrm>
            <a:custGeom>
              <a:avLst/>
              <a:gdLst>
                <a:gd name="T0" fmla="*/ 90 w 291"/>
                <a:gd name="T1" fmla="*/ 317 h 383"/>
                <a:gd name="T2" fmla="*/ 102 w 291"/>
                <a:gd name="T3" fmla="*/ 300 h 383"/>
                <a:gd name="T4" fmla="*/ 107 w 291"/>
                <a:gd name="T5" fmla="*/ 295 h 383"/>
                <a:gd name="T6" fmla="*/ 31 w 291"/>
                <a:gd name="T7" fmla="*/ 239 h 383"/>
                <a:gd name="T8" fmla="*/ 48 w 291"/>
                <a:gd name="T9" fmla="*/ 222 h 383"/>
                <a:gd name="T10" fmla="*/ 48 w 291"/>
                <a:gd name="T11" fmla="*/ 201 h 383"/>
                <a:gd name="T12" fmla="*/ 22 w 291"/>
                <a:gd name="T13" fmla="*/ 168 h 383"/>
                <a:gd name="T14" fmla="*/ 14 w 291"/>
                <a:gd name="T15" fmla="*/ 118 h 383"/>
                <a:gd name="T16" fmla="*/ 48 w 291"/>
                <a:gd name="T17" fmla="*/ 90 h 383"/>
                <a:gd name="T18" fmla="*/ 14 w 291"/>
                <a:gd name="T19" fmla="*/ 62 h 383"/>
                <a:gd name="T20" fmla="*/ 5 w 291"/>
                <a:gd name="T21" fmla="*/ 57 h 383"/>
                <a:gd name="T22" fmla="*/ 0 w 291"/>
                <a:gd name="T23" fmla="*/ 24 h 383"/>
                <a:gd name="T24" fmla="*/ 31 w 291"/>
                <a:gd name="T25" fmla="*/ 17 h 383"/>
                <a:gd name="T26" fmla="*/ 102 w 291"/>
                <a:gd name="T27" fmla="*/ 7 h 383"/>
                <a:gd name="T28" fmla="*/ 140 w 291"/>
                <a:gd name="T29" fmla="*/ 40 h 383"/>
                <a:gd name="T30" fmla="*/ 194 w 291"/>
                <a:gd name="T31" fmla="*/ 95 h 383"/>
                <a:gd name="T32" fmla="*/ 194 w 291"/>
                <a:gd name="T33" fmla="*/ 118 h 383"/>
                <a:gd name="T34" fmla="*/ 182 w 291"/>
                <a:gd name="T35" fmla="*/ 128 h 383"/>
                <a:gd name="T36" fmla="*/ 199 w 291"/>
                <a:gd name="T37" fmla="*/ 135 h 383"/>
                <a:gd name="T38" fmla="*/ 232 w 291"/>
                <a:gd name="T39" fmla="*/ 151 h 383"/>
                <a:gd name="T40" fmla="*/ 253 w 291"/>
                <a:gd name="T41" fmla="*/ 135 h 383"/>
                <a:gd name="T42" fmla="*/ 253 w 291"/>
                <a:gd name="T43" fmla="*/ 151 h 383"/>
                <a:gd name="T44" fmla="*/ 253 w 291"/>
                <a:gd name="T45" fmla="*/ 201 h 383"/>
                <a:gd name="T46" fmla="*/ 265 w 291"/>
                <a:gd name="T47" fmla="*/ 246 h 383"/>
                <a:gd name="T48" fmla="*/ 279 w 291"/>
                <a:gd name="T49" fmla="*/ 295 h 383"/>
                <a:gd name="T50" fmla="*/ 253 w 291"/>
                <a:gd name="T51" fmla="*/ 317 h 383"/>
                <a:gd name="T52" fmla="*/ 248 w 291"/>
                <a:gd name="T53" fmla="*/ 338 h 383"/>
                <a:gd name="T54" fmla="*/ 199 w 291"/>
                <a:gd name="T55" fmla="*/ 350 h 383"/>
                <a:gd name="T56" fmla="*/ 177 w 291"/>
                <a:gd name="T57" fmla="*/ 354 h 383"/>
                <a:gd name="T58" fmla="*/ 140 w 291"/>
                <a:gd name="T59" fmla="*/ 366 h 383"/>
                <a:gd name="T60" fmla="*/ 123 w 291"/>
                <a:gd name="T61" fmla="*/ 383 h 383"/>
                <a:gd name="T62" fmla="*/ 102 w 291"/>
                <a:gd name="T63" fmla="*/ 338 h 383"/>
                <a:gd name="T64" fmla="*/ 85 w 291"/>
                <a:gd name="T65" fmla="*/ 32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91" h="383">
                  <a:moveTo>
                    <a:pt x="85" y="329"/>
                  </a:moveTo>
                  <a:lnTo>
                    <a:pt x="90" y="317"/>
                  </a:lnTo>
                  <a:lnTo>
                    <a:pt x="85" y="312"/>
                  </a:lnTo>
                  <a:lnTo>
                    <a:pt x="102" y="300"/>
                  </a:lnTo>
                  <a:lnTo>
                    <a:pt x="107" y="300"/>
                  </a:lnTo>
                  <a:lnTo>
                    <a:pt x="107" y="295"/>
                  </a:lnTo>
                  <a:lnTo>
                    <a:pt x="64" y="272"/>
                  </a:lnTo>
                  <a:lnTo>
                    <a:pt x="31" y="239"/>
                  </a:lnTo>
                  <a:lnTo>
                    <a:pt x="48" y="239"/>
                  </a:lnTo>
                  <a:lnTo>
                    <a:pt x="48" y="222"/>
                  </a:lnTo>
                  <a:lnTo>
                    <a:pt x="31" y="201"/>
                  </a:lnTo>
                  <a:lnTo>
                    <a:pt x="48" y="201"/>
                  </a:lnTo>
                  <a:lnTo>
                    <a:pt x="52" y="189"/>
                  </a:lnTo>
                  <a:lnTo>
                    <a:pt x="22" y="168"/>
                  </a:lnTo>
                  <a:lnTo>
                    <a:pt x="38" y="118"/>
                  </a:lnTo>
                  <a:lnTo>
                    <a:pt x="14" y="118"/>
                  </a:lnTo>
                  <a:lnTo>
                    <a:pt x="22" y="90"/>
                  </a:lnTo>
                  <a:lnTo>
                    <a:pt x="48" y="90"/>
                  </a:lnTo>
                  <a:lnTo>
                    <a:pt x="14" y="73"/>
                  </a:lnTo>
                  <a:lnTo>
                    <a:pt x="14" y="62"/>
                  </a:lnTo>
                  <a:lnTo>
                    <a:pt x="22" y="62"/>
                  </a:lnTo>
                  <a:lnTo>
                    <a:pt x="5" y="57"/>
                  </a:lnTo>
                  <a:lnTo>
                    <a:pt x="5" y="40"/>
                  </a:lnTo>
                  <a:lnTo>
                    <a:pt x="0" y="24"/>
                  </a:lnTo>
                  <a:lnTo>
                    <a:pt x="22" y="17"/>
                  </a:lnTo>
                  <a:lnTo>
                    <a:pt x="31" y="17"/>
                  </a:lnTo>
                  <a:lnTo>
                    <a:pt x="52" y="0"/>
                  </a:lnTo>
                  <a:lnTo>
                    <a:pt x="102" y="7"/>
                  </a:lnTo>
                  <a:lnTo>
                    <a:pt x="128" y="40"/>
                  </a:lnTo>
                  <a:lnTo>
                    <a:pt x="140" y="40"/>
                  </a:lnTo>
                  <a:lnTo>
                    <a:pt x="140" y="62"/>
                  </a:lnTo>
                  <a:lnTo>
                    <a:pt x="194" y="95"/>
                  </a:lnTo>
                  <a:lnTo>
                    <a:pt x="177" y="111"/>
                  </a:lnTo>
                  <a:lnTo>
                    <a:pt x="194" y="118"/>
                  </a:lnTo>
                  <a:lnTo>
                    <a:pt x="177" y="118"/>
                  </a:lnTo>
                  <a:lnTo>
                    <a:pt x="182" y="128"/>
                  </a:lnTo>
                  <a:lnTo>
                    <a:pt x="194" y="128"/>
                  </a:lnTo>
                  <a:lnTo>
                    <a:pt x="199" y="135"/>
                  </a:lnTo>
                  <a:lnTo>
                    <a:pt x="227" y="144"/>
                  </a:lnTo>
                  <a:lnTo>
                    <a:pt x="232" y="151"/>
                  </a:lnTo>
                  <a:lnTo>
                    <a:pt x="248" y="135"/>
                  </a:lnTo>
                  <a:lnTo>
                    <a:pt x="253" y="135"/>
                  </a:lnTo>
                  <a:lnTo>
                    <a:pt x="279" y="151"/>
                  </a:lnTo>
                  <a:lnTo>
                    <a:pt x="253" y="151"/>
                  </a:lnTo>
                  <a:lnTo>
                    <a:pt x="270" y="173"/>
                  </a:lnTo>
                  <a:lnTo>
                    <a:pt x="253" y="201"/>
                  </a:lnTo>
                  <a:lnTo>
                    <a:pt x="248" y="217"/>
                  </a:lnTo>
                  <a:lnTo>
                    <a:pt x="265" y="246"/>
                  </a:lnTo>
                  <a:lnTo>
                    <a:pt x="291" y="272"/>
                  </a:lnTo>
                  <a:lnTo>
                    <a:pt x="279" y="295"/>
                  </a:lnTo>
                  <a:lnTo>
                    <a:pt x="253" y="300"/>
                  </a:lnTo>
                  <a:lnTo>
                    <a:pt x="253" y="317"/>
                  </a:lnTo>
                  <a:lnTo>
                    <a:pt x="265" y="333"/>
                  </a:lnTo>
                  <a:lnTo>
                    <a:pt x="248" y="338"/>
                  </a:lnTo>
                  <a:lnTo>
                    <a:pt x="215" y="338"/>
                  </a:lnTo>
                  <a:lnTo>
                    <a:pt x="199" y="350"/>
                  </a:lnTo>
                  <a:lnTo>
                    <a:pt x="182" y="350"/>
                  </a:lnTo>
                  <a:lnTo>
                    <a:pt x="177" y="354"/>
                  </a:lnTo>
                  <a:lnTo>
                    <a:pt x="161" y="354"/>
                  </a:lnTo>
                  <a:lnTo>
                    <a:pt x="140" y="366"/>
                  </a:lnTo>
                  <a:lnTo>
                    <a:pt x="128" y="383"/>
                  </a:lnTo>
                  <a:lnTo>
                    <a:pt x="123" y="383"/>
                  </a:lnTo>
                  <a:lnTo>
                    <a:pt x="123" y="350"/>
                  </a:lnTo>
                  <a:lnTo>
                    <a:pt x="102" y="338"/>
                  </a:lnTo>
                  <a:lnTo>
                    <a:pt x="85" y="329"/>
                  </a:lnTo>
                  <a:lnTo>
                    <a:pt x="85" y="329"/>
                  </a:lnTo>
                  <a:lnTo>
                    <a:pt x="85" y="329"/>
                  </a:lnTo>
                  <a:close/>
                </a:path>
              </a:pathLst>
            </a:custGeom>
            <a:solidFill>
              <a:schemeClr val="bg2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15" name="Freeform 559">
              <a:extLst>
                <a:ext uri="{FF2B5EF4-FFF2-40B4-BE49-F238E27FC236}">
                  <a16:creationId xmlns:a16="http://schemas.microsoft.com/office/drawing/2014/main" id="{3F68073D-B897-468C-A393-59750A3EAFB3}"/>
                </a:ext>
              </a:extLst>
            </p:cNvPr>
            <p:cNvSpPr>
              <a:spLocks/>
            </p:cNvSpPr>
            <p:nvPr/>
          </p:nvSpPr>
          <p:spPr bwMode="gray">
            <a:xfrm>
              <a:off x="5504595" y="2585845"/>
              <a:ext cx="2456" cy="3223"/>
            </a:xfrm>
            <a:custGeom>
              <a:avLst/>
              <a:gdLst>
                <a:gd name="T0" fmla="*/ 4 w 16"/>
                <a:gd name="T1" fmla="*/ 21 h 21"/>
                <a:gd name="T2" fmla="*/ 0 w 16"/>
                <a:gd name="T3" fmla="*/ 16 h 21"/>
                <a:gd name="T4" fmla="*/ 4 w 16"/>
                <a:gd name="T5" fmla="*/ 0 h 21"/>
                <a:gd name="T6" fmla="*/ 16 w 16"/>
                <a:gd name="T7" fmla="*/ 9 h 21"/>
                <a:gd name="T8" fmla="*/ 4 w 16"/>
                <a:gd name="T9" fmla="*/ 21 h 21"/>
                <a:gd name="T10" fmla="*/ 4 w 16"/>
                <a:gd name="T11" fmla="*/ 21 h 21"/>
                <a:gd name="T12" fmla="*/ 4 w 16"/>
                <a:gd name="T13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" h="21">
                  <a:moveTo>
                    <a:pt x="4" y="21"/>
                  </a:moveTo>
                  <a:lnTo>
                    <a:pt x="0" y="16"/>
                  </a:lnTo>
                  <a:lnTo>
                    <a:pt x="4" y="0"/>
                  </a:lnTo>
                  <a:lnTo>
                    <a:pt x="16" y="9"/>
                  </a:lnTo>
                  <a:lnTo>
                    <a:pt x="4" y="21"/>
                  </a:lnTo>
                  <a:lnTo>
                    <a:pt x="4" y="21"/>
                  </a:lnTo>
                  <a:lnTo>
                    <a:pt x="4" y="21"/>
                  </a:lnTo>
                  <a:close/>
                </a:path>
              </a:pathLst>
            </a:custGeom>
            <a:solidFill>
              <a:schemeClr val="bg2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16" name="Freeform 560">
              <a:extLst>
                <a:ext uri="{FF2B5EF4-FFF2-40B4-BE49-F238E27FC236}">
                  <a16:creationId xmlns:a16="http://schemas.microsoft.com/office/drawing/2014/main" id="{5B89929D-848D-43F3-B516-08C02B66DD9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273811" y="1562206"/>
              <a:ext cx="283929" cy="151650"/>
            </a:xfrm>
            <a:custGeom>
              <a:avLst/>
              <a:gdLst>
                <a:gd name="T0" fmla="*/ 749 w 1850"/>
                <a:gd name="T1" fmla="*/ 22 h 988"/>
                <a:gd name="T2" fmla="*/ 706 w 1850"/>
                <a:gd name="T3" fmla="*/ 17 h 988"/>
                <a:gd name="T4" fmla="*/ 678 w 1850"/>
                <a:gd name="T5" fmla="*/ 38 h 988"/>
                <a:gd name="T6" fmla="*/ 959 w 1850"/>
                <a:gd name="T7" fmla="*/ 43 h 988"/>
                <a:gd name="T8" fmla="*/ 834 w 1850"/>
                <a:gd name="T9" fmla="*/ 60 h 988"/>
                <a:gd name="T10" fmla="*/ 905 w 1850"/>
                <a:gd name="T11" fmla="*/ 71 h 988"/>
                <a:gd name="T12" fmla="*/ 933 w 1850"/>
                <a:gd name="T13" fmla="*/ 78 h 988"/>
                <a:gd name="T14" fmla="*/ 1013 w 1850"/>
                <a:gd name="T15" fmla="*/ 78 h 988"/>
                <a:gd name="T16" fmla="*/ 1082 w 1850"/>
                <a:gd name="T17" fmla="*/ 187 h 988"/>
                <a:gd name="T18" fmla="*/ 921 w 1850"/>
                <a:gd name="T19" fmla="*/ 260 h 988"/>
                <a:gd name="T20" fmla="*/ 690 w 1850"/>
                <a:gd name="T21" fmla="*/ 187 h 988"/>
                <a:gd name="T22" fmla="*/ 586 w 1850"/>
                <a:gd name="T23" fmla="*/ 128 h 988"/>
                <a:gd name="T24" fmla="*/ 657 w 1850"/>
                <a:gd name="T25" fmla="*/ 95 h 988"/>
                <a:gd name="T26" fmla="*/ 728 w 1850"/>
                <a:gd name="T27" fmla="*/ 78 h 988"/>
                <a:gd name="T28" fmla="*/ 825 w 1850"/>
                <a:gd name="T29" fmla="*/ 133 h 988"/>
                <a:gd name="T30" fmla="*/ 980 w 1850"/>
                <a:gd name="T31" fmla="*/ 60 h 988"/>
                <a:gd name="T32" fmla="*/ 586 w 1850"/>
                <a:gd name="T33" fmla="*/ 78 h 988"/>
                <a:gd name="T34" fmla="*/ 1481 w 1850"/>
                <a:gd name="T35" fmla="*/ 116 h 988"/>
                <a:gd name="T36" fmla="*/ 1219 w 1850"/>
                <a:gd name="T37" fmla="*/ 100 h 988"/>
                <a:gd name="T38" fmla="*/ 1843 w 1850"/>
                <a:gd name="T39" fmla="*/ 100 h 988"/>
                <a:gd name="T40" fmla="*/ 85 w 1850"/>
                <a:gd name="T41" fmla="*/ 334 h 988"/>
                <a:gd name="T42" fmla="*/ 118 w 1850"/>
                <a:gd name="T43" fmla="*/ 244 h 988"/>
                <a:gd name="T44" fmla="*/ 31 w 1850"/>
                <a:gd name="T45" fmla="*/ 227 h 988"/>
                <a:gd name="T46" fmla="*/ 85 w 1850"/>
                <a:gd name="T47" fmla="*/ 154 h 988"/>
                <a:gd name="T48" fmla="*/ 139 w 1850"/>
                <a:gd name="T49" fmla="*/ 194 h 988"/>
                <a:gd name="T50" fmla="*/ 295 w 1850"/>
                <a:gd name="T51" fmla="*/ 154 h 988"/>
                <a:gd name="T52" fmla="*/ 388 w 1850"/>
                <a:gd name="T53" fmla="*/ 239 h 988"/>
                <a:gd name="T54" fmla="*/ 458 w 1850"/>
                <a:gd name="T55" fmla="*/ 133 h 988"/>
                <a:gd name="T56" fmla="*/ 555 w 1850"/>
                <a:gd name="T57" fmla="*/ 187 h 988"/>
                <a:gd name="T58" fmla="*/ 652 w 1850"/>
                <a:gd name="T59" fmla="*/ 350 h 988"/>
                <a:gd name="T60" fmla="*/ 555 w 1850"/>
                <a:gd name="T61" fmla="*/ 442 h 988"/>
                <a:gd name="T62" fmla="*/ 480 w 1850"/>
                <a:gd name="T63" fmla="*/ 598 h 988"/>
                <a:gd name="T64" fmla="*/ 350 w 1850"/>
                <a:gd name="T65" fmla="*/ 598 h 988"/>
                <a:gd name="T66" fmla="*/ 286 w 1850"/>
                <a:gd name="T67" fmla="*/ 520 h 988"/>
                <a:gd name="T68" fmla="*/ 248 w 1850"/>
                <a:gd name="T69" fmla="*/ 487 h 988"/>
                <a:gd name="T70" fmla="*/ 265 w 1850"/>
                <a:gd name="T71" fmla="*/ 433 h 988"/>
                <a:gd name="T72" fmla="*/ 480 w 1850"/>
                <a:gd name="T73" fmla="*/ 376 h 988"/>
                <a:gd name="T74" fmla="*/ 350 w 1850"/>
                <a:gd name="T75" fmla="*/ 350 h 988"/>
                <a:gd name="T76" fmla="*/ 286 w 1850"/>
                <a:gd name="T77" fmla="*/ 355 h 988"/>
                <a:gd name="T78" fmla="*/ 227 w 1850"/>
                <a:gd name="T79" fmla="*/ 416 h 988"/>
                <a:gd name="T80" fmla="*/ 662 w 1850"/>
                <a:gd name="T81" fmla="*/ 249 h 988"/>
                <a:gd name="T82" fmla="*/ 673 w 1850"/>
                <a:gd name="T83" fmla="*/ 282 h 988"/>
                <a:gd name="T84" fmla="*/ 732 w 1850"/>
                <a:gd name="T85" fmla="*/ 282 h 988"/>
                <a:gd name="T86" fmla="*/ 1396 w 1850"/>
                <a:gd name="T87" fmla="*/ 293 h 988"/>
                <a:gd name="T88" fmla="*/ 1354 w 1850"/>
                <a:gd name="T89" fmla="*/ 305 h 988"/>
                <a:gd name="T90" fmla="*/ 47 w 1850"/>
                <a:gd name="T91" fmla="*/ 371 h 988"/>
                <a:gd name="T92" fmla="*/ 97 w 1850"/>
                <a:gd name="T93" fmla="*/ 376 h 988"/>
                <a:gd name="T94" fmla="*/ 1136 w 1850"/>
                <a:gd name="T95" fmla="*/ 315 h 988"/>
                <a:gd name="T96" fmla="*/ 813 w 1850"/>
                <a:gd name="T97" fmla="*/ 355 h 988"/>
                <a:gd name="T98" fmla="*/ 678 w 1850"/>
                <a:gd name="T99" fmla="*/ 371 h 988"/>
                <a:gd name="T100" fmla="*/ 841 w 1850"/>
                <a:gd name="T101" fmla="*/ 537 h 988"/>
                <a:gd name="T102" fmla="*/ 732 w 1850"/>
                <a:gd name="T103" fmla="*/ 433 h 988"/>
                <a:gd name="T104" fmla="*/ 1013 w 1850"/>
                <a:gd name="T105" fmla="*/ 482 h 988"/>
                <a:gd name="T106" fmla="*/ 879 w 1850"/>
                <a:gd name="T107" fmla="*/ 560 h 988"/>
                <a:gd name="T108" fmla="*/ 1068 w 1850"/>
                <a:gd name="T109" fmla="*/ 648 h 988"/>
                <a:gd name="T110" fmla="*/ 602 w 1850"/>
                <a:gd name="T111" fmla="*/ 988 h 9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850" h="988">
                  <a:moveTo>
                    <a:pt x="728" y="17"/>
                  </a:moveTo>
                  <a:lnTo>
                    <a:pt x="711" y="0"/>
                  </a:lnTo>
                  <a:lnTo>
                    <a:pt x="744" y="5"/>
                  </a:lnTo>
                  <a:lnTo>
                    <a:pt x="728" y="17"/>
                  </a:lnTo>
                  <a:lnTo>
                    <a:pt x="728" y="17"/>
                  </a:lnTo>
                  <a:lnTo>
                    <a:pt x="728" y="17"/>
                  </a:lnTo>
                  <a:close/>
                  <a:moveTo>
                    <a:pt x="749" y="22"/>
                  </a:moveTo>
                  <a:lnTo>
                    <a:pt x="744" y="17"/>
                  </a:lnTo>
                  <a:lnTo>
                    <a:pt x="765" y="17"/>
                  </a:lnTo>
                  <a:lnTo>
                    <a:pt x="749" y="22"/>
                  </a:lnTo>
                  <a:lnTo>
                    <a:pt x="749" y="22"/>
                  </a:lnTo>
                  <a:lnTo>
                    <a:pt x="749" y="22"/>
                  </a:lnTo>
                  <a:close/>
                  <a:moveTo>
                    <a:pt x="716" y="22"/>
                  </a:moveTo>
                  <a:lnTo>
                    <a:pt x="706" y="17"/>
                  </a:lnTo>
                  <a:lnTo>
                    <a:pt x="728" y="22"/>
                  </a:lnTo>
                  <a:lnTo>
                    <a:pt x="716" y="22"/>
                  </a:lnTo>
                  <a:lnTo>
                    <a:pt x="716" y="22"/>
                  </a:lnTo>
                  <a:lnTo>
                    <a:pt x="716" y="22"/>
                  </a:lnTo>
                  <a:close/>
                  <a:moveTo>
                    <a:pt x="673" y="43"/>
                  </a:moveTo>
                  <a:lnTo>
                    <a:pt x="657" y="43"/>
                  </a:lnTo>
                  <a:lnTo>
                    <a:pt x="678" y="38"/>
                  </a:lnTo>
                  <a:lnTo>
                    <a:pt x="673" y="43"/>
                  </a:lnTo>
                  <a:lnTo>
                    <a:pt x="673" y="43"/>
                  </a:lnTo>
                  <a:lnTo>
                    <a:pt x="673" y="43"/>
                  </a:lnTo>
                  <a:close/>
                  <a:moveTo>
                    <a:pt x="959" y="43"/>
                  </a:moveTo>
                  <a:lnTo>
                    <a:pt x="976" y="43"/>
                  </a:lnTo>
                  <a:lnTo>
                    <a:pt x="947" y="43"/>
                  </a:lnTo>
                  <a:lnTo>
                    <a:pt x="959" y="43"/>
                  </a:lnTo>
                  <a:lnTo>
                    <a:pt x="959" y="43"/>
                  </a:lnTo>
                  <a:lnTo>
                    <a:pt x="959" y="43"/>
                  </a:lnTo>
                  <a:close/>
                  <a:moveTo>
                    <a:pt x="834" y="128"/>
                  </a:moveTo>
                  <a:lnTo>
                    <a:pt x="841" y="83"/>
                  </a:lnTo>
                  <a:lnTo>
                    <a:pt x="851" y="78"/>
                  </a:lnTo>
                  <a:lnTo>
                    <a:pt x="834" y="71"/>
                  </a:lnTo>
                  <a:lnTo>
                    <a:pt x="834" y="60"/>
                  </a:lnTo>
                  <a:lnTo>
                    <a:pt x="858" y="55"/>
                  </a:lnTo>
                  <a:lnTo>
                    <a:pt x="858" y="71"/>
                  </a:lnTo>
                  <a:lnTo>
                    <a:pt x="867" y="71"/>
                  </a:lnTo>
                  <a:lnTo>
                    <a:pt x="872" y="43"/>
                  </a:lnTo>
                  <a:lnTo>
                    <a:pt x="905" y="55"/>
                  </a:lnTo>
                  <a:lnTo>
                    <a:pt x="888" y="60"/>
                  </a:lnTo>
                  <a:lnTo>
                    <a:pt x="905" y="71"/>
                  </a:lnTo>
                  <a:lnTo>
                    <a:pt x="888" y="83"/>
                  </a:lnTo>
                  <a:lnTo>
                    <a:pt x="879" y="100"/>
                  </a:lnTo>
                  <a:lnTo>
                    <a:pt x="888" y="112"/>
                  </a:lnTo>
                  <a:lnTo>
                    <a:pt x="910" y="95"/>
                  </a:lnTo>
                  <a:lnTo>
                    <a:pt x="926" y="100"/>
                  </a:lnTo>
                  <a:lnTo>
                    <a:pt x="933" y="95"/>
                  </a:lnTo>
                  <a:lnTo>
                    <a:pt x="933" y="78"/>
                  </a:lnTo>
                  <a:lnTo>
                    <a:pt x="980" y="78"/>
                  </a:lnTo>
                  <a:lnTo>
                    <a:pt x="964" y="71"/>
                  </a:lnTo>
                  <a:lnTo>
                    <a:pt x="997" y="78"/>
                  </a:lnTo>
                  <a:lnTo>
                    <a:pt x="980" y="83"/>
                  </a:lnTo>
                  <a:lnTo>
                    <a:pt x="985" y="83"/>
                  </a:lnTo>
                  <a:lnTo>
                    <a:pt x="1013" y="71"/>
                  </a:lnTo>
                  <a:lnTo>
                    <a:pt x="1013" y="78"/>
                  </a:lnTo>
                  <a:lnTo>
                    <a:pt x="1002" y="83"/>
                  </a:lnTo>
                  <a:lnTo>
                    <a:pt x="1039" y="78"/>
                  </a:lnTo>
                  <a:lnTo>
                    <a:pt x="1035" y="83"/>
                  </a:lnTo>
                  <a:lnTo>
                    <a:pt x="1174" y="112"/>
                  </a:lnTo>
                  <a:lnTo>
                    <a:pt x="1165" y="133"/>
                  </a:lnTo>
                  <a:lnTo>
                    <a:pt x="1181" y="138"/>
                  </a:lnTo>
                  <a:lnTo>
                    <a:pt x="1082" y="187"/>
                  </a:lnTo>
                  <a:lnTo>
                    <a:pt x="1089" y="206"/>
                  </a:lnTo>
                  <a:lnTo>
                    <a:pt x="1073" y="223"/>
                  </a:lnTo>
                  <a:lnTo>
                    <a:pt x="1035" y="239"/>
                  </a:lnTo>
                  <a:lnTo>
                    <a:pt x="1002" y="227"/>
                  </a:lnTo>
                  <a:lnTo>
                    <a:pt x="976" y="239"/>
                  </a:lnTo>
                  <a:lnTo>
                    <a:pt x="959" y="260"/>
                  </a:lnTo>
                  <a:lnTo>
                    <a:pt x="921" y="260"/>
                  </a:lnTo>
                  <a:lnTo>
                    <a:pt x="858" y="239"/>
                  </a:lnTo>
                  <a:lnTo>
                    <a:pt x="872" y="223"/>
                  </a:lnTo>
                  <a:lnTo>
                    <a:pt x="728" y="227"/>
                  </a:lnTo>
                  <a:lnTo>
                    <a:pt x="728" y="211"/>
                  </a:lnTo>
                  <a:lnTo>
                    <a:pt x="690" y="211"/>
                  </a:lnTo>
                  <a:lnTo>
                    <a:pt x="640" y="187"/>
                  </a:lnTo>
                  <a:lnTo>
                    <a:pt x="690" y="187"/>
                  </a:lnTo>
                  <a:lnTo>
                    <a:pt x="749" y="194"/>
                  </a:lnTo>
                  <a:lnTo>
                    <a:pt x="706" y="182"/>
                  </a:lnTo>
                  <a:lnTo>
                    <a:pt x="803" y="171"/>
                  </a:lnTo>
                  <a:lnTo>
                    <a:pt x="834" y="154"/>
                  </a:lnTo>
                  <a:lnTo>
                    <a:pt x="586" y="171"/>
                  </a:lnTo>
                  <a:lnTo>
                    <a:pt x="539" y="138"/>
                  </a:lnTo>
                  <a:lnTo>
                    <a:pt x="586" y="128"/>
                  </a:lnTo>
                  <a:lnTo>
                    <a:pt x="517" y="112"/>
                  </a:lnTo>
                  <a:lnTo>
                    <a:pt x="581" y="95"/>
                  </a:lnTo>
                  <a:lnTo>
                    <a:pt x="624" y="112"/>
                  </a:lnTo>
                  <a:lnTo>
                    <a:pt x="640" y="100"/>
                  </a:lnTo>
                  <a:lnTo>
                    <a:pt x="619" y="95"/>
                  </a:lnTo>
                  <a:lnTo>
                    <a:pt x="602" y="71"/>
                  </a:lnTo>
                  <a:lnTo>
                    <a:pt x="657" y="95"/>
                  </a:lnTo>
                  <a:lnTo>
                    <a:pt x="657" y="78"/>
                  </a:lnTo>
                  <a:lnTo>
                    <a:pt x="662" y="60"/>
                  </a:lnTo>
                  <a:lnTo>
                    <a:pt x="636" y="55"/>
                  </a:lnTo>
                  <a:lnTo>
                    <a:pt x="652" y="43"/>
                  </a:lnTo>
                  <a:lnTo>
                    <a:pt x="706" y="60"/>
                  </a:lnTo>
                  <a:lnTo>
                    <a:pt x="711" y="78"/>
                  </a:lnTo>
                  <a:lnTo>
                    <a:pt x="728" y="78"/>
                  </a:lnTo>
                  <a:lnTo>
                    <a:pt x="728" y="83"/>
                  </a:lnTo>
                  <a:lnTo>
                    <a:pt x="728" y="95"/>
                  </a:lnTo>
                  <a:lnTo>
                    <a:pt x="803" y="83"/>
                  </a:lnTo>
                  <a:lnTo>
                    <a:pt x="803" y="95"/>
                  </a:lnTo>
                  <a:lnTo>
                    <a:pt x="782" y="112"/>
                  </a:lnTo>
                  <a:lnTo>
                    <a:pt x="803" y="100"/>
                  </a:lnTo>
                  <a:lnTo>
                    <a:pt x="825" y="133"/>
                  </a:lnTo>
                  <a:lnTo>
                    <a:pt x="834" y="128"/>
                  </a:lnTo>
                  <a:lnTo>
                    <a:pt x="834" y="128"/>
                  </a:lnTo>
                  <a:lnTo>
                    <a:pt x="834" y="128"/>
                  </a:lnTo>
                  <a:close/>
                  <a:moveTo>
                    <a:pt x="976" y="60"/>
                  </a:moveTo>
                  <a:lnTo>
                    <a:pt x="959" y="60"/>
                  </a:lnTo>
                  <a:lnTo>
                    <a:pt x="964" y="55"/>
                  </a:lnTo>
                  <a:lnTo>
                    <a:pt x="980" y="60"/>
                  </a:lnTo>
                  <a:lnTo>
                    <a:pt x="976" y="60"/>
                  </a:lnTo>
                  <a:lnTo>
                    <a:pt x="976" y="60"/>
                  </a:lnTo>
                  <a:lnTo>
                    <a:pt x="976" y="60"/>
                  </a:lnTo>
                  <a:close/>
                  <a:moveTo>
                    <a:pt x="565" y="83"/>
                  </a:moveTo>
                  <a:lnTo>
                    <a:pt x="539" y="78"/>
                  </a:lnTo>
                  <a:lnTo>
                    <a:pt x="555" y="71"/>
                  </a:lnTo>
                  <a:lnTo>
                    <a:pt x="586" y="78"/>
                  </a:lnTo>
                  <a:lnTo>
                    <a:pt x="565" y="83"/>
                  </a:lnTo>
                  <a:lnTo>
                    <a:pt x="565" y="83"/>
                  </a:lnTo>
                  <a:lnTo>
                    <a:pt x="565" y="83"/>
                  </a:lnTo>
                  <a:close/>
                  <a:moveTo>
                    <a:pt x="1481" y="116"/>
                  </a:moveTo>
                  <a:lnTo>
                    <a:pt x="1472" y="112"/>
                  </a:lnTo>
                  <a:lnTo>
                    <a:pt x="1628" y="95"/>
                  </a:lnTo>
                  <a:lnTo>
                    <a:pt x="1481" y="116"/>
                  </a:lnTo>
                  <a:lnTo>
                    <a:pt x="1481" y="116"/>
                  </a:lnTo>
                  <a:lnTo>
                    <a:pt x="1481" y="116"/>
                  </a:lnTo>
                  <a:close/>
                  <a:moveTo>
                    <a:pt x="1219" y="100"/>
                  </a:moveTo>
                  <a:lnTo>
                    <a:pt x="1233" y="100"/>
                  </a:lnTo>
                  <a:lnTo>
                    <a:pt x="1212" y="112"/>
                  </a:lnTo>
                  <a:lnTo>
                    <a:pt x="1219" y="100"/>
                  </a:lnTo>
                  <a:lnTo>
                    <a:pt x="1219" y="100"/>
                  </a:lnTo>
                  <a:lnTo>
                    <a:pt x="1219" y="100"/>
                  </a:lnTo>
                  <a:close/>
                  <a:moveTo>
                    <a:pt x="1843" y="100"/>
                  </a:moveTo>
                  <a:lnTo>
                    <a:pt x="1838" y="100"/>
                  </a:lnTo>
                  <a:lnTo>
                    <a:pt x="1850" y="100"/>
                  </a:lnTo>
                  <a:lnTo>
                    <a:pt x="1843" y="100"/>
                  </a:lnTo>
                  <a:lnTo>
                    <a:pt x="1843" y="100"/>
                  </a:lnTo>
                  <a:lnTo>
                    <a:pt x="1843" y="100"/>
                  </a:lnTo>
                  <a:close/>
                  <a:moveTo>
                    <a:pt x="227" y="416"/>
                  </a:moveTo>
                  <a:lnTo>
                    <a:pt x="177" y="409"/>
                  </a:lnTo>
                  <a:lnTo>
                    <a:pt x="173" y="393"/>
                  </a:lnTo>
                  <a:lnTo>
                    <a:pt x="135" y="371"/>
                  </a:lnTo>
                  <a:lnTo>
                    <a:pt x="194" y="360"/>
                  </a:lnTo>
                  <a:lnTo>
                    <a:pt x="102" y="350"/>
                  </a:lnTo>
                  <a:lnTo>
                    <a:pt x="85" y="334"/>
                  </a:lnTo>
                  <a:lnTo>
                    <a:pt x="102" y="315"/>
                  </a:lnTo>
                  <a:lnTo>
                    <a:pt x="64" y="293"/>
                  </a:lnTo>
                  <a:lnTo>
                    <a:pt x="151" y="298"/>
                  </a:lnTo>
                  <a:lnTo>
                    <a:pt x="139" y="293"/>
                  </a:lnTo>
                  <a:lnTo>
                    <a:pt x="106" y="293"/>
                  </a:lnTo>
                  <a:lnTo>
                    <a:pt x="97" y="277"/>
                  </a:lnTo>
                  <a:lnTo>
                    <a:pt x="118" y="244"/>
                  </a:lnTo>
                  <a:lnTo>
                    <a:pt x="102" y="249"/>
                  </a:lnTo>
                  <a:lnTo>
                    <a:pt x="85" y="239"/>
                  </a:lnTo>
                  <a:lnTo>
                    <a:pt x="80" y="244"/>
                  </a:lnTo>
                  <a:lnTo>
                    <a:pt x="97" y="260"/>
                  </a:lnTo>
                  <a:lnTo>
                    <a:pt x="52" y="277"/>
                  </a:lnTo>
                  <a:lnTo>
                    <a:pt x="47" y="249"/>
                  </a:lnTo>
                  <a:lnTo>
                    <a:pt x="31" y="227"/>
                  </a:lnTo>
                  <a:lnTo>
                    <a:pt x="31" y="211"/>
                  </a:lnTo>
                  <a:lnTo>
                    <a:pt x="14" y="194"/>
                  </a:lnTo>
                  <a:lnTo>
                    <a:pt x="52" y="194"/>
                  </a:lnTo>
                  <a:lnTo>
                    <a:pt x="31" y="194"/>
                  </a:lnTo>
                  <a:lnTo>
                    <a:pt x="64" y="187"/>
                  </a:lnTo>
                  <a:lnTo>
                    <a:pt x="52" y="166"/>
                  </a:lnTo>
                  <a:lnTo>
                    <a:pt x="85" y="154"/>
                  </a:lnTo>
                  <a:lnTo>
                    <a:pt x="135" y="182"/>
                  </a:lnTo>
                  <a:lnTo>
                    <a:pt x="135" y="171"/>
                  </a:lnTo>
                  <a:lnTo>
                    <a:pt x="123" y="154"/>
                  </a:lnTo>
                  <a:lnTo>
                    <a:pt x="156" y="166"/>
                  </a:lnTo>
                  <a:lnTo>
                    <a:pt x="241" y="149"/>
                  </a:lnTo>
                  <a:lnTo>
                    <a:pt x="248" y="166"/>
                  </a:lnTo>
                  <a:lnTo>
                    <a:pt x="139" y="194"/>
                  </a:lnTo>
                  <a:lnTo>
                    <a:pt x="215" y="194"/>
                  </a:lnTo>
                  <a:lnTo>
                    <a:pt x="203" y="211"/>
                  </a:lnTo>
                  <a:lnTo>
                    <a:pt x="227" y="211"/>
                  </a:lnTo>
                  <a:lnTo>
                    <a:pt x="258" y="244"/>
                  </a:lnTo>
                  <a:lnTo>
                    <a:pt x="265" y="239"/>
                  </a:lnTo>
                  <a:lnTo>
                    <a:pt x="241" y="206"/>
                  </a:lnTo>
                  <a:lnTo>
                    <a:pt x="295" y="154"/>
                  </a:lnTo>
                  <a:lnTo>
                    <a:pt x="338" y="187"/>
                  </a:lnTo>
                  <a:lnTo>
                    <a:pt x="354" y="239"/>
                  </a:lnTo>
                  <a:lnTo>
                    <a:pt x="376" y="249"/>
                  </a:lnTo>
                  <a:lnTo>
                    <a:pt x="371" y="265"/>
                  </a:lnTo>
                  <a:lnTo>
                    <a:pt x="376" y="260"/>
                  </a:lnTo>
                  <a:lnTo>
                    <a:pt x="425" y="305"/>
                  </a:lnTo>
                  <a:lnTo>
                    <a:pt x="388" y="239"/>
                  </a:lnTo>
                  <a:lnTo>
                    <a:pt x="366" y="154"/>
                  </a:lnTo>
                  <a:lnTo>
                    <a:pt x="404" y="149"/>
                  </a:lnTo>
                  <a:lnTo>
                    <a:pt x="388" y="133"/>
                  </a:lnTo>
                  <a:lnTo>
                    <a:pt x="409" y="116"/>
                  </a:lnTo>
                  <a:lnTo>
                    <a:pt x="430" y="116"/>
                  </a:lnTo>
                  <a:lnTo>
                    <a:pt x="447" y="149"/>
                  </a:lnTo>
                  <a:lnTo>
                    <a:pt x="458" y="133"/>
                  </a:lnTo>
                  <a:lnTo>
                    <a:pt x="480" y="138"/>
                  </a:lnTo>
                  <a:lnTo>
                    <a:pt x="539" y="171"/>
                  </a:lnTo>
                  <a:lnTo>
                    <a:pt x="517" y="187"/>
                  </a:lnTo>
                  <a:lnTo>
                    <a:pt x="513" y="206"/>
                  </a:lnTo>
                  <a:lnTo>
                    <a:pt x="517" y="223"/>
                  </a:lnTo>
                  <a:lnTo>
                    <a:pt x="501" y="227"/>
                  </a:lnTo>
                  <a:lnTo>
                    <a:pt x="555" y="187"/>
                  </a:lnTo>
                  <a:lnTo>
                    <a:pt x="586" y="211"/>
                  </a:lnTo>
                  <a:lnTo>
                    <a:pt x="593" y="260"/>
                  </a:lnTo>
                  <a:lnTo>
                    <a:pt x="652" y="265"/>
                  </a:lnTo>
                  <a:lnTo>
                    <a:pt x="662" y="282"/>
                  </a:lnTo>
                  <a:lnTo>
                    <a:pt x="782" y="315"/>
                  </a:lnTo>
                  <a:lnTo>
                    <a:pt x="765" y="350"/>
                  </a:lnTo>
                  <a:lnTo>
                    <a:pt x="652" y="350"/>
                  </a:lnTo>
                  <a:lnTo>
                    <a:pt x="640" y="355"/>
                  </a:lnTo>
                  <a:lnTo>
                    <a:pt x="652" y="371"/>
                  </a:lnTo>
                  <a:lnTo>
                    <a:pt x="593" y="371"/>
                  </a:lnTo>
                  <a:lnTo>
                    <a:pt x="602" y="388"/>
                  </a:lnTo>
                  <a:lnTo>
                    <a:pt x="602" y="404"/>
                  </a:lnTo>
                  <a:lnTo>
                    <a:pt x="610" y="433"/>
                  </a:lnTo>
                  <a:lnTo>
                    <a:pt x="555" y="442"/>
                  </a:lnTo>
                  <a:lnTo>
                    <a:pt x="555" y="466"/>
                  </a:lnTo>
                  <a:lnTo>
                    <a:pt x="565" y="482"/>
                  </a:lnTo>
                  <a:lnTo>
                    <a:pt x="548" y="520"/>
                  </a:lnTo>
                  <a:lnTo>
                    <a:pt x="513" y="537"/>
                  </a:lnTo>
                  <a:lnTo>
                    <a:pt x="484" y="593"/>
                  </a:lnTo>
                  <a:lnTo>
                    <a:pt x="463" y="593"/>
                  </a:lnTo>
                  <a:lnTo>
                    <a:pt x="480" y="598"/>
                  </a:lnTo>
                  <a:lnTo>
                    <a:pt x="458" y="631"/>
                  </a:lnTo>
                  <a:lnTo>
                    <a:pt x="475" y="648"/>
                  </a:lnTo>
                  <a:lnTo>
                    <a:pt x="447" y="664"/>
                  </a:lnTo>
                  <a:lnTo>
                    <a:pt x="354" y="615"/>
                  </a:lnTo>
                  <a:lnTo>
                    <a:pt x="425" y="598"/>
                  </a:lnTo>
                  <a:lnTo>
                    <a:pt x="392" y="582"/>
                  </a:lnTo>
                  <a:lnTo>
                    <a:pt x="350" y="598"/>
                  </a:lnTo>
                  <a:lnTo>
                    <a:pt x="324" y="577"/>
                  </a:lnTo>
                  <a:lnTo>
                    <a:pt x="286" y="577"/>
                  </a:lnTo>
                  <a:lnTo>
                    <a:pt x="265" y="553"/>
                  </a:lnTo>
                  <a:lnTo>
                    <a:pt x="241" y="520"/>
                  </a:lnTo>
                  <a:lnTo>
                    <a:pt x="269" y="515"/>
                  </a:lnTo>
                  <a:lnTo>
                    <a:pt x="286" y="515"/>
                  </a:lnTo>
                  <a:lnTo>
                    <a:pt x="286" y="520"/>
                  </a:lnTo>
                  <a:lnTo>
                    <a:pt x="371" y="520"/>
                  </a:lnTo>
                  <a:lnTo>
                    <a:pt x="404" y="537"/>
                  </a:lnTo>
                  <a:lnTo>
                    <a:pt x="409" y="527"/>
                  </a:lnTo>
                  <a:lnTo>
                    <a:pt x="300" y="499"/>
                  </a:lnTo>
                  <a:lnTo>
                    <a:pt x="447" y="471"/>
                  </a:lnTo>
                  <a:lnTo>
                    <a:pt x="463" y="461"/>
                  </a:lnTo>
                  <a:lnTo>
                    <a:pt x="248" y="487"/>
                  </a:lnTo>
                  <a:lnTo>
                    <a:pt x="232" y="482"/>
                  </a:lnTo>
                  <a:lnTo>
                    <a:pt x="241" y="471"/>
                  </a:lnTo>
                  <a:lnTo>
                    <a:pt x="227" y="466"/>
                  </a:lnTo>
                  <a:lnTo>
                    <a:pt x="227" y="442"/>
                  </a:lnTo>
                  <a:lnTo>
                    <a:pt x="248" y="433"/>
                  </a:lnTo>
                  <a:lnTo>
                    <a:pt x="269" y="449"/>
                  </a:lnTo>
                  <a:lnTo>
                    <a:pt x="265" y="433"/>
                  </a:lnTo>
                  <a:lnTo>
                    <a:pt x="317" y="426"/>
                  </a:lnTo>
                  <a:lnTo>
                    <a:pt x="338" y="409"/>
                  </a:lnTo>
                  <a:lnTo>
                    <a:pt x="371" y="409"/>
                  </a:lnTo>
                  <a:lnTo>
                    <a:pt x="366" y="404"/>
                  </a:lnTo>
                  <a:lnTo>
                    <a:pt x="371" y="393"/>
                  </a:lnTo>
                  <a:lnTo>
                    <a:pt x="442" y="393"/>
                  </a:lnTo>
                  <a:lnTo>
                    <a:pt x="480" y="376"/>
                  </a:lnTo>
                  <a:lnTo>
                    <a:pt x="409" y="376"/>
                  </a:lnTo>
                  <a:lnTo>
                    <a:pt x="447" y="338"/>
                  </a:lnTo>
                  <a:lnTo>
                    <a:pt x="425" y="334"/>
                  </a:lnTo>
                  <a:lnTo>
                    <a:pt x="392" y="371"/>
                  </a:lnTo>
                  <a:lnTo>
                    <a:pt x="354" y="376"/>
                  </a:lnTo>
                  <a:lnTo>
                    <a:pt x="333" y="355"/>
                  </a:lnTo>
                  <a:lnTo>
                    <a:pt x="350" y="350"/>
                  </a:lnTo>
                  <a:lnTo>
                    <a:pt x="354" y="322"/>
                  </a:lnTo>
                  <a:lnTo>
                    <a:pt x="350" y="315"/>
                  </a:lnTo>
                  <a:lnTo>
                    <a:pt x="324" y="355"/>
                  </a:lnTo>
                  <a:lnTo>
                    <a:pt x="312" y="350"/>
                  </a:lnTo>
                  <a:lnTo>
                    <a:pt x="312" y="334"/>
                  </a:lnTo>
                  <a:lnTo>
                    <a:pt x="286" y="338"/>
                  </a:lnTo>
                  <a:lnTo>
                    <a:pt x="286" y="355"/>
                  </a:lnTo>
                  <a:lnTo>
                    <a:pt x="279" y="371"/>
                  </a:lnTo>
                  <a:lnTo>
                    <a:pt x="300" y="388"/>
                  </a:lnTo>
                  <a:lnTo>
                    <a:pt x="279" y="388"/>
                  </a:lnTo>
                  <a:lnTo>
                    <a:pt x="269" y="393"/>
                  </a:lnTo>
                  <a:lnTo>
                    <a:pt x="227" y="416"/>
                  </a:lnTo>
                  <a:lnTo>
                    <a:pt x="227" y="416"/>
                  </a:lnTo>
                  <a:lnTo>
                    <a:pt x="227" y="416"/>
                  </a:lnTo>
                  <a:close/>
                  <a:moveTo>
                    <a:pt x="26" y="182"/>
                  </a:moveTo>
                  <a:lnTo>
                    <a:pt x="14" y="171"/>
                  </a:lnTo>
                  <a:lnTo>
                    <a:pt x="47" y="182"/>
                  </a:lnTo>
                  <a:lnTo>
                    <a:pt x="26" y="182"/>
                  </a:lnTo>
                  <a:lnTo>
                    <a:pt x="26" y="182"/>
                  </a:lnTo>
                  <a:lnTo>
                    <a:pt x="26" y="182"/>
                  </a:lnTo>
                  <a:close/>
                  <a:moveTo>
                    <a:pt x="662" y="249"/>
                  </a:moveTo>
                  <a:lnTo>
                    <a:pt x="673" y="239"/>
                  </a:lnTo>
                  <a:lnTo>
                    <a:pt x="678" y="239"/>
                  </a:lnTo>
                  <a:lnTo>
                    <a:pt x="662" y="249"/>
                  </a:lnTo>
                  <a:lnTo>
                    <a:pt x="662" y="249"/>
                  </a:lnTo>
                  <a:lnTo>
                    <a:pt x="662" y="249"/>
                  </a:lnTo>
                  <a:close/>
                  <a:moveTo>
                    <a:pt x="695" y="293"/>
                  </a:moveTo>
                  <a:lnTo>
                    <a:pt x="673" y="282"/>
                  </a:lnTo>
                  <a:lnTo>
                    <a:pt x="690" y="265"/>
                  </a:lnTo>
                  <a:lnTo>
                    <a:pt x="728" y="277"/>
                  </a:lnTo>
                  <a:lnTo>
                    <a:pt x="695" y="293"/>
                  </a:lnTo>
                  <a:lnTo>
                    <a:pt x="695" y="293"/>
                  </a:lnTo>
                  <a:lnTo>
                    <a:pt x="695" y="293"/>
                  </a:lnTo>
                  <a:close/>
                  <a:moveTo>
                    <a:pt x="744" y="282"/>
                  </a:moveTo>
                  <a:lnTo>
                    <a:pt x="732" y="282"/>
                  </a:lnTo>
                  <a:lnTo>
                    <a:pt x="761" y="282"/>
                  </a:lnTo>
                  <a:lnTo>
                    <a:pt x="744" y="282"/>
                  </a:lnTo>
                  <a:lnTo>
                    <a:pt x="744" y="282"/>
                  </a:lnTo>
                  <a:lnTo>
                    <a:pt x="744" y="282"/>
                  </a:lnTo>
                  <a:close/>
                  <a:moveTo>
                    <a:pt x="1391" y="293"/>
                  </a:moveTo>
                  <a:lnTo>
                    <a:pt x="1375" y="293"/>
                  </a:lnTo>
                  <a:lnTo>
                    <a:pt x="1396" y="293"/>
                  </a:lnTo>
                  <a:lnTo>
                    <a:pt x="1391" y="293"/>
                  </a:lnTo>
                  <a:lnTo>
                    <a:pt x="1391" y="293"/>
                  </a:lnTo>
                  <a:lnTo>
                    <a:pt x="1391" y="293"/>
                  </a:lnTo>
                  <a:close/>
                  <a:moveTo>
                    <a:pt x="1233" y="315"/>
                  </a:moveTo>
                  <a:lnTo>
                    <a:pt x="1233" y="305"/>
                  </a:lnTo>
                  <a:lnTo>
                    <a:pt x="1257" y="298"/>
                  </a:lnTo>
                  <a:lnTo>
                    <a:pt x="1354" y="305"/>
                  </a:lnTo>
                  <a:lnTo>
                    <a:pt x="1321" y="315"/>
                  </a:lnTo>
                  <a:lnTo>
                    <a:pt x="1288" y="298"/>
                  </a:lnTo>
                  <a:lnTo>
                    <a:pt x="1233" y="315"/>
                  </a:lnTo>
                  <a:lnTo>
                    <a:pt x="1233" y="315"/>
                  </a:lnTo>
                  <a:lnTo>
                    <a:pt x="1233" y="315"/>
                  </a:lnTo>
                  <a:close/>
                  <a:moveTo>
                    <a:pt x="118" y="416"/>
                  </a:moveTo>
                  <a:lnTo>
                    <a:pt x="47" y="371"/>
                  </a:lnTo>
                  <a:lnTo>
                    <a:pt x="10" y="322"/>
                  </a:lnTo>
                  <a:lnTo>
                    <a:pt x="0" y="305"/>
                  </a:lnTo>
                  <a:lnTo>
                    <a:pt x="43" y="315"/>
                  </a:lnTo>
                  <a:lnTo>
                    <a:pt x="52" y="334"/>
                  </a:lnTo>
                  <a:lnTo>
                    <a:pt x="47" y="334"/>
                  </a:lnTo>
                  <a:lnTo>
                    <a:pt x="52" y="360"/>
                  </a:lnTo>
                  <a:lnTo>
                    <a:pt x="97" y="376"/>
                  </a:lnTo>
                  <a:lnTo>
                    <a:pt x="118" y="404"/>
                  </a:lnTo>
                  <a:lnTo>
                    <a:pt x="118" y="416"/>
                  </a:lnTo>
                  <a:lnTo>
                    <a:pt x="118" y="416"/>
                  </a:lnTo>
                  <a:lnTo>
                    <a:pt x="118" y="416"/>
                  </a:lnTo>
                  <a:close/>
                  <a:moveTo>
                    <a:pt x="1143" y="350"/>
                  </a:moveTo>
                  <a:lnTo>
                    <a:pt x="1120" y="322"/>
                  </a:lnTo>
                  <a:lnTo>
                    <a:pt x="1136" y="315"/>
                  </a:lnTo>
                  <a:lnTo>
                    <a:pt x="1165" y="338"/>
                  </a:lnTo>
                  <a:lnTo>
                    <a:pt x="1143" y="350"/>
                  </a:lnTo>
                  <a:lnTo>
                    <a:pt x="1143" y="350"/>
                  </a:lnTo>
                  <a:lnTo>
                    <a:pt x="1143" y="350"/>
                  </a:lnTo>
                  <a:close/>
                  <a:moveTo>
                    <a:pt x="678" y="371"/>
                  </a:moveTo>
                  <a:lnTo>
                    <a:pt x="761" y="350"/>
                  </a:lnTo>
                  <a:lnTo>
                    <a:pt x="813" y="355"/>
                  </a:lnTo>
                  <a:lnTo>
                    <a:pt x="825" y="371"/>
                  </a:lnTo>
                  <a:lnTo>
                    <a:pt x="825" y="404"/>
                  </a:lnTo>
                  <a:lnTo>
                    <a:pt x="716" y="416"/>
                  </a:lnTo>
                  <a:lnTo>
                    <a:pt x="728" y="404"/>
                  </a:lnTo>
                  <a:lnTo>
                    <a:pt x="706" y="393"/>
                  </a:lnTo>
                  <a:lnTo>
                    <a:pt x="716" y="388"/>
                  </a:lnTo>
                  <a:lnTo>
                    <a:pt x="678" y="371"/>
                  </a:lnTo>
                  <a:lnTo>
                    <a:pt x="678" y="371"/>
                  </a:lnTo>
                  <a:lnTo>
                    <a:pt x="678" y="371"/>
                  </a:lnTo>
                  <a:close/>
                  <a:moveTo>
                    <a:pt x="858" y="560"/>
                  </a:moveTo>
                  <a:lnTo>
                    <a:pt x="841" y="560"/>
                  </a:lnTo>
                  <a:lnTo>
                    <a:pt x="841" y="553"/>
                  </a:lnTo>
                  <a:lnTo>
                    <a:pt x="851" y="544"/>
                  </a:lnTo>
                  <a:lnTo>
                    <a:pt x="841" y="537"/>
                  </a:lnTo>
                  <a:lnTo>
                    <a:pt x="867" y="515"/>
                  </a:lnTo>
                  <a:lnTo>
                    <a:pt x="732" y="527"/>
                  </a:lnTo>
                  <a:lnTo>
                    <a:pt x="732" y="515"/>
                  </a:lnTo>
                  <a:lnTo>
                    <a:pt x="761" y="504"/>
                  </a:lnTo>
                  <a:lnTo>
                    <a:pt x="761" y="487"/>
                  </a:lnTo>
                  <a:lnTo>
                    <a:pt x="787" y="461"/>
                  </a:lnTo>
                  <a:lnTo>
                    <a:pt x="732" y="433"/>
                  </a:lnTo>
                  <a:lnTo>
                    <a:pt x="879" y="409"/>
                  </a:lnTo>
                  <a:lnTo>
                    <a:pt x="910" y="416"/>
                  </a:lnTo>
                  <a:lnTo>
                    <a:pt x="888" y="433"/>
                  </a:lnTo>
                  <a:lnTo>
                    <a:pt x="888" y="449"/>
                  </a:lnTo>
                  <a:lnTo>
                    <a:pt x="926" y="466"/>
                  </a:lnTo>
                  <a:lnTo>
                    <a:pt x="976" y="466"/>
                  </a:lnTo>
                  <a:lnTo>
                    <a:pt x="1013" y="482"/>
                  </a:lnTo>
                  <a:lnTo>
                    <a:pt x="964" y="499"/>
                  </a:lnTo>
                  <a:lnTo>
                    <a:pt x="933" y="527"/>
                  </a:lnTo>
                  <a:lnTo>
                    <a:pt x="858" y="560"/>
                  </a:lnTo>
                  <a:lnTo>
                    <a:pt x="858" y="560"/>
                  </a:lnTo>
                  <a:lnTo>
                    <a:pt x="858" y="560"/>
                  </a:lnTo>
                  <a:close/>
                  <a:moveTo>
                    <a:pt x="888" y="560"/>
                  </a:moveTo>
                  <a:lnTo>
                    <a:pt x="879" y="560"/>
                  </a:lnTo>
                  <a:lnTo>
                    <a:pt x="905" y="560"/>
                  </a:lnTo>
                  <a:lnTo>
                    <a:pt x="888" y="560"/>
                  </a:lnTo>
                  <a:lnTo>
                    <a:pt x="888" y="560"/>
                  </a:lnTo>
                  <a:lnTo>
                    <a:pt x="888" y="560"/>
                  </a:lnTo>
                  <a:close/>
                  <a:moveTo>
                    <a:pt x="1018" y="688"/>
                  </a:moveTo>
                  <a:lnTo>
                    <a:pt x="1018" y="681"/>
                  </a:lnTo>
                  <a:lnTo>
                    <a:pt x="1068" y="648"/>
                  </a:lnTo>
                  <a:lnTo>
                    <a:pt x="1018" y="688"/>
                  </a:lnTo>
                  <a:lnTo>
                    <a:pt x="1018" y="688"/>
                  </a:lnTo>
                  <a:lnTo>
                    <a:pt x="1018" y="688"/>
                  </a:lnTo>
                  <a:close/>
                  <a:moveTo>
                    <a:pt x="602" y="988"/>
                  </a:moveTo>
                  <a:lnTo>
                    <a:pt x="586" y="969"/>
                  </a:lnTo>
                  <a:lnTo>
                    <a:pt x="619" y="969"/>
                  </a:lnTo>
                  <a:lnTo>
                    <a:pt x="602" y="988"/>
                  </a:lnTo>
                  <a:lnTo>
                    <a:pt x="602" y="988"/>
                  </a:lnTo>
                  <a:lnTo>
                    <a:pt x="602" y="988"/>
                  </a:lnTo>
                  <a:close/>
                </a:path>
              </a:pathLst>
            </a:custGeom>
            <a:solidFill>
              <a:schemeClr val="bg2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17" name="Freeform 561">
              <a:extLst>
                <a:ext uri="{FF2B5EF4-FFF2-40B4-BE49-F238E27FC236}">
                  <a16:creationId xmlns:a16="http://schemas.microsoft.com/office/drawing/2014/main" id="{98D5365D-C0EA-4891-A023-242ECDD62B8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281024" y="1822222"/>
              <a:ext cx="140736" cy="236071"/>
            </a:xfrm>
            <a:custGeom>
              <a:avLst/>
              <a:gdLst>
                <a:gd name="T0" fmla="*/ 69 w 917"/>
                <a:gd name="T1" fmla="*/ 1065 h 1538"/>
                <a:gd name="T2" fmla="*/ 69 w 917"/>
                <a:gd name="T3" fmla="*/ 860 h 1538"/>
                <a:gd name="T4" fmla="*/ 76 w 917"/>
                <a:gd name="T5" fmla="*/ 666 h 1538"/>
                <a:gd name="T6" fmla="*/ 211 w 917"/>
                <a:gd name="T7" fmla="*/ 555 h 1538"/>
                <a:gd name="T8" fmla="*/ 274 w 917"/>
                <a:gd name="T9" fmla="*/ 357 h 1538"/>
                <a:gd name="T10" fmla="*/ 378 w 917"/>
                <a:gd name="T11" fmla="*/ 177 h 1538"/>
                <a:gd name="T12" fmla="*/ 485 w 917"/>
                <a:gd name="T13" fmla="*/ 66 h 1538"/>
                <a:gd name="T14" fmla="*/ 648 w 917"/>
                <a:gd name="T15" fmla="*/ 12 h 1538"/>
                <a:gd name="T16" fmla="*/ 865 w 917"/>
                <a:gd name="T17" fmla="*/ 151 h 1538"/>
                <a:gd name="T18" fmla="*/ 903 w 917"/>
                <a:gd name="T19" fmla="*/ 279 h 1538"/>
                <a:gd name="T20" fmla="*/ 903 w 917"/>
                <a:gd name="T21" fmla="*/ 362 h 1538"/>
                <a:gd name="T22" fmla="*/ 794 w 917"/>
                <a:gd name="T23" fmla="*/ 395 h 1538"/>
                <a:gd name="T24" fmla="*/ 778 w 917"/>
                <a:gd name="T25" fmla="*/ 428 h 1538"/>
                <a:gd name="T26" fmla="*/ 740 w 917"/>
                <a:gd name="T27" fmla="*/ 465 h 1538"/>
                <a:gd name="T28" fmla="*/ 697 w 917"/>
                <a:gd name="T29" fmla="*/ 510 h 1538"/>
                <a:gd name="T30" fmla="*/ 697 w 917"/>
                <a:gd name="T31" fmla="*/ 593 h 1538"/>
                <a:gd name="T32" fmla="*/ 589 w 917"/>
                <a:gd name="T33" fmla="*/ 666 h 1538"/>
                <a:gd name="T34" fmla="*/ 546 w 917"/>
                <a:gd name="T35" fmla="*/ 695 h 1538"/>
                <a:gd name="T36" fmla="*/ 501 w 917"/>
                <a:gd name="T37" fmla="*/ 749 h 1538"/>
                <a:gd name="T38" fmla="*/ 480 w 917"/>
                <a:gd name="T39" fmla="*/ 761 h 1538"/>
                <a:gd name="T40" fmla="*/ 463 w 917"/>
                <a:gd name="T41" fmla="*/ 806 h 1538"/>
                <a:gd name="T42" fmla="*/ 447 w 917"/>
                <a:gd name="T43" fmla="*/ 877 h 1538"/>
                <a:gd name="T44" fmla="*/ 433 w 917"/>
                <a:gd name="T45" fmla="*/ 910 h 1538"/>
                <a:gd name="T46" fmla="*/ 480 w 917"/>
                <a:gd name="T47" fmla="*/ 988 h 1538"/>
                <a:gd name="T48" fmla="*/ 539 w 917"/>
                <a:gd name="T49" fmla="*/ 1044 h 1538"/>
                <a:gd name="T50" fmla="*/ 555 w 917"/>
                <a:gd name="T51" fmla="*/ 1082 h 1538"/>
                <a:gd name="T52" fmla="*/ 470 w 917"/>
                <a:gd name="T53" fmla="*/ 1110 h 1538"/>
                <a:gd name="T54" fmla="*/ 454 w 917"/>
                <a:gd name="T55" fmla="*/ 1099 h 1538"/>
                <a:gd name="T56" fmla="*/ 454 w 917"/>
                <a:gd name="T57" fmla="*/ 1110 h 1538"/>
                <a:gd name="T58" fmla="*/ 395 w 917"/>
                <a:gd name="T59" fmla="*/ 1110 h 1538"/>
                <a:gd name="T60" fmla="*/ 437 w 917"/>
                <a:gd name="T61" fmla="*/ 1132 h 1538"/>
                <a:gd name="T62" fmla="*/ 534 w 917"/>
                <a:gd name="T63" fmla="*/ 1122 h 1538"/>
                <a:gd name="T64" fmla="*/ 454 w 917"/>
                <a:gd name="T65" fmla="*/ 1172 h 1538"/>
                <a:gd name="T66" fmla="*/ 383 w 917"/>
                <a:gd name="T67" fmla="*/ 1205 h 1538"/>
                <a:gd name="T68" fmla="*/ 383 w 917"/>
                <a:gd name="T69" fmla="*/ 1266 h 1538"/>
                <a:gd name="T70" fmla="*/ 383 w 917"/>
                <a:gd name="T71" fmla="*/ 1304 h 1538"/>
                <a:gd name="T72" fmla="*/ 371 w 917"/>
                <a:gd name="T73" fmla="*/ 1403 h 1538"/>
                <a:gd name="T74" fmla="*/ 215 w 917"/>
                <a:gd name="T75" fmla="*/ 1486 h 1538"/>
                <a:gd name="T76" fmla="*/ 130 w 917"/>
                <a:gd name="T77" fmla="*/ 1538 h 1538"/>
                <a:gd name="T78" fmla="*/ 123 w 917"/>
                <a:gd name="T79" fmla="*/ 1427 h 1538"/>
                <a:gd name="T80" fmla="*/ 69 w 917"/>
                <a:gd name="T81" fmla="*/ 1321 h 1538"/>
                <a:gd name="T82" fmla="*/ 55 w 917"/>
                <a:gd name="T83" fmla="*/ 1299 h 1538"/>
                <a:gd name="T84" fmla="*/ 5 w 917"/>
                <a:gd name="T85" fmla="*/ 1226 h 1538"/>
                <a:gd name="T86" fmla="*/ 31 w 917"/>
                <a:gd name="T87" fmla="*/ 1172 h 1538"/>
                <a:gd name="T88" fmla="*/ 485 w 917"/>
                <a:gd name="T89" fmla="*/ 761 h 1538"/>
                <a:gd name="T90" fmla="*/ 447 w 917"/>
                <a:gd name="T91" fmla="*/ 789 h 1538"/>
                <a:gd name="T92" fmla="*/ 508 w 917"/>
                <a:gd name="T93" fmla="*/ 999 h 1538"/>
                <a:gd name="T94" fmla="*/ 534 w 917"/>
                <a:gd name="T95" fmla="*/ 1099 h 1538"/>
                <a:gd name="T96" fmla="*/ 433 w 917"/>
                <a:gd name="T97" fmla="*/ 1115 h 1538"/>
                <a:gd name="T98" fmla="*/ 447 w 917"/>
                <a:gd name="T99" fmla="*/ 1115 h 1538"/>
                <a:gd name="T100" fmla="*/ 522 w 917"/>
                <a:gd name="T101" fmla="*/ 1132 h 1538"/>
                <a:gd name="T102" fmla="*/ 577 w 917"/>
                <a:gd name="T103" fmla="*/ 1226 h 1538"/>
                <a:gd name="T104" fmla="*/ 38 w 917"/>
                <a:gd name="T105" fmla="*/ 1238 h 1538"/>
                <a:gd name="T106" fmla="*/ 48 w 917"/>
                <a:gd name="T107" fmla="*/ 1259 h 1538"/>
                <a:gd name="T108" fmla="*/ 560 w 917"/>
                <a:gd name="T109" fmla="*/ 1283 h 1538"/>
                <a:gd name="T110" fmla="*/ 560 w 917"/>
                <a:gd name="T111" fmla="*/ 1283 h 1538"/>
                <a:gd name="T112" fmla="*/ 508 w 917"/>
                <a:gd name="T113" fmla="*/ 1354 h 1538"/>
                <a:gd name="T114" fmla="*/ 555 w 917"/>
                <a:gd name="T115" fmla="*/ 1276 h 1538"/>
                <a:gd name="T116" fmla="*/ 426 w 917"/>
                <a:gd name="T117" fmla="*/ 1337 h 1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917" h="1538">
                  <a:moveTo>
                    <a:pt x="31" y="1172"/>
                  </a:moveTo>
                  <a:lnTo>
                    <a:pt x="48" y="1132"/>
                  </a:lnTo>
                  <a:lnTo>
                    <a:pt x="38" y="1099"/>
                  </a:lnTo>
                  <a:lnTo>
                    <a:pt x="55" y="1082"/>
                  </a:lnTo>
                  <a:lnTo>
                    <a:pt x="48" y="1065"/>
                  </a:lnTo>
                  <a:lnTo>
                    <a:pt x="69" y="1065"/>
                  </a:lnTo>
                  <a:lnTo>
                    <a:pt x="92" y="1044"/>
                  </a:lnTo>
                  <a:lnTo>
                    <a:pt x="107" y="1004"/>
                  </a:lnTo>
                  <a:lnTo>
                    <a:pt x="76" y="943"/>
                  </a:lnTo>
                  <a:lnTo>
                    <a:pt x="107" y="943"/>
                  </a:lnTo>
                  <a:lnTo>
                    <a:pt x="123" y="910"/>
                  </a:lnTo>
                  <a:lnTo>
                    <a:pt x="69" y="860"/>
                  </a:lnTo>
                  <a:lnTo>
                    <a:pt x="85" y="806"/>
                  </a:lnTo>
                  <a:lnTo>
                    <a:pt x="69" y="765"/>
                  </a:lnTo>
                  <a:lnTo>
                    <a:pt x="59" y="732"/>
                  </a:lnTo>
                  <a:lnTo>
                    <a:pt x="76" y="721"/>
                  </a:lnTo>
                  <a:lnTo>
                    <a:pt x="59" y="695"/>
                  </a:lnTo>
                  <a:lnTo>
                    <a:pt x="76" y="666"/>
                  </a:lnTo>
                  <a:lnTo>
                    <a:pt x="69" y="654"/>
                  </a:lnTo>
                  <a:lnTo>
                    <a:pt x="107" y="617"/>
                  </a:lnTo>
                  <a:lnTo>
                    <a:pt x="130" y="600"/>
                  </a:lnTo>
                  <a:lnTo>
                    <a:pt x="199" y="612"/>
                  </a:lnTo>
                  <a:lnTo>
                    <a:pt x="215" y="584"/>
                  </a:lnTo>
                  <a:lnTo>
                    <a:pt x="211" y="555"/>
                  </a:lnTo>
                  <a:lnTo>
                    <a:pt x="178" y="543"/>
                  </a:lnTo>
                  <a:lnTo>
                    <a:pt x="237" y="456"/>
                  </a:lnTo>
                  <a:lnTo>
                    <a:pt x="237" y="428"/>
                  </a:lnTo>
                  <a:lnTo>
                    <a:pt x="248" y="395"/>
                  </a:lnTo>
                  <a:lnTo>
                    <a:pt x="237" y="362"/>
                  </a:lnTo>
                  <a:lnTo>
                    <a:pt x="274" y="357"/>
                  </a:lnTo>
                  <a:lnTo>
                    <a:pt x="307" y="338"/>
                  </a:lnTo>
                  <a:lnTo>
                    <a:pt x="303" y="317"/>
                  </a:lnTo>
                  <a:lnTo>
                    <a:pt x="371" y="251"/>
                  </a:lnTo>
                  <a:lnTo>
                    <a:pt x="371" y="229"/>
                  </a:lnTo>
                  <a:lnTo>
                    <a:pt x="345" y="206"/>
                  </a:lnTo>
                  <a:lnTo>
                    <a:pt x="378" y="177"/>
                  </a:lnTo>
                  <a:lnTo>
                    <a:pt x="395" y="140"/>
                  </a:lnTo>
                  <a:lnTo>
                    <a:pt x="433" y="118"/>
                  </a:lnTo>
                  <a:lnTo>
                    <a:pt x="480" y="140"/>
                  </a:lnTo>
                  <a:lnTo>
                    <a:pt x="492" y="111"/>
                  </a:lnTo>
                  <a:lnTo>
                    <a:pt x="485" y="78"/>
                  </a:lnTo>
                  <a:lnTo>
                    <a:pt x="485" y="66"/>
                  </a:lnTo>
                  <a:lnTo>
                    <a:pt x="546" y="66"/>
                  </a:lnTo>
                  <a:lnTo>
                    <a:pt x="615" y="95"/>
                  </a:lnTo>
                  <a:lnTo>
                    <a:pt x="643" y="66"/>
                  </a:lnTo>
                  <a:lnTo>
                    <a:pt x="615" y="62"/>
                  </a:lnTo>
                  <a:lnTo>
                    <a:pt x="648" y="28"/>
                  </a:lnTo>
                  <a:lnTo>
                    <a:pt x="648" y="12"/>
                  </a:lnTo>
                  <a:lnTo>
                    <a:pt x="631" y="0"/>
                  </a:lnTo>
                  <a:lnTo>
                    <a:pt x="664" y="0"/>
                  </a:lnTo>
                  <a:lnTo>
                    <a:pt x="766" y="66"/>
                  </a:lnTo>
                  <a:lnTo>
                    <a:pt x="827" y="83"/>
                  </a:lnTo>
                  <a:lnTo>
                    <a:pt x="879" y="140"/>
                  </a:lnTo>
                  <a:lnTo>
                    <a:pt x="865" y="151"/>
                  </a:lnTo>
                  <a:lnTo>
                    <a:pt x="865" y="194"/>
                  </a:lnTo>
                  <a:lnTo>
                    <a:pt x="886" y="206"/>
                  </a:lnTo>
                  <a:lnTo>
                    <a:pt x="886" y="222"/>
                  </a:lnTo>
                  <a:lnTo>
                    <a:pt x="879" y="222"/>
                  </a:lnTo>
                  <a:lnTo>
                    <a:pt x="874" y="234"/>
                  </a:lnTo>
                  <a:lnTo>
                    <a:pt x="903" y="279"/>
                  </a:lnTo>
                  <a:lnTo>
                    <a:pt x="896" y="284"/>
                  </a:lnTo>
                  <a:lnTo>
                    <a:pt x="896" y="305"/>
                  </a:lnTo>
                  <a:lnTo>
                    <a:pt x="879" y="321"/>
                  </a:lnTo>
                  <a:lnTo>
                    <a:pt x="879" y="338"/>
                  </a:lnTo>
                  <a:lnTo>
                    <a:pt x="886" y="357"/>
                  </a:lnTo>
                  <a:lnTo>
                    <a:pt x="903" y="362"/>
                  </a:lnTo>
                  <a:lnTo>
                    <a:pt x="917" y="395"/>
                  </a:lnTo>
                  <a:lnTo>
                    <a:pt x="848" y="399"/>
                  </a:lnTo>
                  <a:lnTo>
                    <a:pt x="841" y="411"/>
                  </a:lnTo>
                  <a:lnTo>
                    <a:pt x="811" y="390"/>
                  </a:lnTo>
                  <a:lnTo>
                    <a:pt x="811" y="399"/>
                  </a:lnTo>
                  <a:lnTo>
                    <a:pt x="794" y="395"/>
                  </a:lnTo>
                  <a:lnTo>
                    <a:pt x="789" y="395"/>
                  </a:lnTo>
                  <a:lnTo>
                    <a:pt x="778" y="416"/>
                  </a:lnTo>
                  <a:lnTo>
                    <a:pt x="794" y="416"/>
                  </a:lnTo>
                  <a:lnTo>
                    <a:pt x="794" y="428"/>
                  </a:lnTo>
                  <a:lnTo>
                    <a:pt x="752" y="411"/>
                  </a:lnTo>
                  <a:lnTo>
                    <a:pt x="778" y="428"/>
                  </a:lnTo>
                  <a:lnTo>
                    <a:pt x="756" y="432"/>
                  </a:lnTo>
                  <a:lnTo>
                    <a:pt x="766" y="444"/>
                  </a:lnTo>
                  <a:lnTo>
                    <a:pt x="756" y="449"/>
                  </a:lnTo>
                  <a:lnTo>
                    <a:pt x="723" y="449"/>
                  </a:lnTo>
                  <a:lnTo>
                    <a:pt x="740" y="456"/>
                  </a:lnTo>
                  <a:lnTo>
                    <a:pt x="740" y="465"/>
                  </a:lnTo>
                  <a:lnTo>
                    <a:pt x="711" y="449"/>
                  </a:lnTo>
                  <a:lnTo>
                    <a:pt x="740" y="473"/>
                  </a:lnTo>
                  <a:lnTo>
                    <a:pt x="735" y="489"/>
                  </a:lnTo>
                  <a:lnTo>
                    <a:pt x="711" y="501"/>
                  </a:lnTo>
                  <a:lnTo>
                    <a:pt x="711" y="510"/>
                  </a:lnTo>
                  <a:lnTo>
                    <a:pt x="697" y="510"/>
                  </a:lnTo>
                  <a:lnTo>
                    <a:pt x="718" y="522"/>
                  </a:lnTo>
                  <a:lnTo>
                    <a:pt x="718" y="527"/>
                  </a:lnTo>
                  <a:lnTo>
                    <a:pt x="702" y="527"/>
                  </a:lnTo>
                  <a:lnTo>
                    <a:pt x="735" y="543"/>
                  </a:lnTo>
                  <a:lnTo>
                    <a:pt x="735" y="560"/>
                  </a:lnTo>
                  <a:lnTo>
                    <a:pt x="697" y="593"/>
                  </a:lnTo>
                  <a:lnTo>
                    <a:pt x="681" y="621"/>
                  </a:lnTo>
                  <a:lnTo>
                    <a:pt x="659" y="633"/>
                  </a:lnTo>
                  <a:lnTo>
                    <a:pt x="648" y="650"/>
                  </a:lnTo>
                  <a:lnTo>
                    <a:pt x="615" y="654"/>
                  </a:lnTo>
                  <a:lnTo>
                    <a:pt x="605" y="671"/>
                  </a:lnTo>
                  <a:lnTo>
                    <a:pt x="589" y="666"/>
                  </a:lnTo>
                  <a:lnTo>
                    <a:pt x="589" y="671"/>
                  </a:lnTo>
                  <a:lnTo>
                    <a:pt x="572" y="671"/>
                  </a:lnTo>
                  <a:lnTo>
                    <a:pt x="572" y="688"/>
                  </a:lnTo>
                  <a:lnTo>
                    <a:pt x="555" y="695"/>
                  </a:lnTo>
                  <a:lnTo>
                    <a:pt x="555" y="704"/>
                  </a:lnTo>
                  <a:lnTo>
                    <a:pt x="546" y="695"/>
                  </a:lnTo>
                  <a:lnTo>
                    <a:pt x="539" y="695"/>
                  </a:lnTo>
                  <a:lnTo>
                    <a:pt x="546" y="704"/>
                  </a:lnTo>
                  <a:lnTo>
                    <a:pt x="534" y="704"/>
                  </a:lnTo>
                  <a:lnTo>
                    <a:pt x="501" y="721"/>
                  </a:lnTo>
                  <a:lnTo>
                    <a:pt x="522" y="728"/>
                  </a:lnTo>
                  <a:lnTo>
                    <a:pt x="501" y="749"/>
                  </a:lnTo>
                  <a:lnTo>
                    <a:pt x="480" y="744"/>
                  </a:lnTo>
                  <a:lnTo>
                    <a:pt x="470" y="728"/>
                  </a:lnTo>
                  <a:lnTo>
                    <a:pt x="463" y="728"/>
                  </a:lnTo>
                  <a:lnTo>
                    <a:pt x="485" y="749"/>
                  </a:lnTo>
                  <a:lnTo>
                    <a:pt x="485" y="761"/>
                  </a:lnTo>
                  <a:lnTo>
                    <a:pt x="480" y="761"/>
                  </a:lnTo>
                  <a:lnTo>
                    <a:pt x="485" y="765"/>
                  </a:lnTo>
                  <a:lnTo>
                    <a:pt x="463" y="782"/>
                  </a:lnTo>
                  <a:lnTo>
                    <a:pt x="437" y="777"/>
                  </a:lnTo>
                  <a:lnTo>
                    <a:pt x="437" y="782"/>
                  </a:lnTo>
                  <a:lnTo>
                    <a:pt x="437" y="799"/>
                  </a:lnTo>
                  <a:lnTo>
                    <a:pt x="463" y="806"/>
                  </a:lnTo>
                  <a:lnTo>
                    <a:pt x="447" y="806"/>
                  </a:lnTo>
                  <a:lnTo>
                    <a:pt x="447" y="839"/>
                  </a:lnTo>
                  <a:lnTo>
                    <a:pt x="437" y="839"/>
                  </a:lnTo>
                  <a:lnTo>
                    <a:pt x="437" y="855"/>
                  </a:lnTo>
                  <a:lnTo>
                    <a:pt x="447" y="872"/>
                  </a:lnTo>
                  <a:lnTo>
                    <a:pt x="447" y="877"/>
                  </a:lnTo>
                  <a:lnTo>
                    <a:pt x="426" y="872"/>
                  </a:lnTo>
                  <a:lnTo>
                    <a:pt x="433" y="872"/>
                  </a:lnTo>
                  <a:lnTo>
                    <a:pt x="416" y="877"/>
                  </a:lnTo>
                  <a:lnTo>
                    <a:pt x="433" y="893"/>
                  </a:lnTo>
                  <a:lnTo>
                    <a:pt x="416" y="900"/>
                  </a:lnTo>
                  <a:lnTo>
                    <a:pt x="433" y="910"/>
                  </a:lnTo>
                  <a:lnTo>
                    <a:pt x="426" y="950"/>
                  </a:lnTo>
                  <a:lnTo>
                    <a:pt x="433" y="966"/>
                  </a:lnTo>
                  <a:lnTo>
                    <a:pt x="433" y="983"/>
                  </a:lnTo>
                  <a:lnTo>
                    <a:pt x="454" y="988"/>
                  </a:lnTo>
                  <a:lnTo>
                    <a:pt x="463" y="999"/>
                  </a:lnTo>
                  <a:lnTo>
                    <a:pt x="480" y="988"/>
                  </a:lnTo>
                  <a:lnTo>
                    <a:pt x="501" y="1021"/>
                  </a:lnTo>
                  <a:lnTo>
                    <a:pt x="518" y="1021"/>
                  </a:lnTo>
                  <a:lnTo>
                    <a:pt x="522" y="1028"/>
                  </a:lnTo>
                  <a:lnTo>
                    <a:pt x="508" y="1021"/>
                  </a:lnTo>
                  <a:lnTo>
                    <a:pt x="508" y="1037"/>
                  </a:lnTo>
                  <a:lnTo>
                    <a:pt x="539" y="1044"/>
                  </a:lnTo>
                  <a:lnTo>
                    <a:pt x="546" y="1061"/>
                  </a:lnTo>
                  <a:lnTo>
                    <a:pt x="555" y="1065"/>
                  </a:lnTo>
                  <a:lnTo>
                    <a:pt x="555" y="1077"/>
                  </a:lnTo>
                  <a:lnTo>
                    <a:pt x="546" y="1065"/>
                  </a:lnTo>
                  <a:lnTo>
                    <a:pt x="539" y="1077"/>
                  </a:lnTo>
                  <a:lnTo>
                    <a:pt x="555" y="1082"/>
                  </a:lnTo>
                  <a:lnTo>
                    <a:pt x="501" y="1110"/>
                  </a:lnTo>
                  <a:lnTo>
                    <a:pt x="508" y="1115"/>
                  </a:lnTo>
                  <a:lnTo>
                    <a:pt x="492" y="1115"/>
                  </a:lnTo>
                  <a:lnTo>
                    <a:pt x="485" y="1122"/>
                  </a:lnTo>
                  <a:lnTo>
                    <a:pt x="470" y="1115"/>
                  </a:lnTo>
                  <a:lnTo>
                    <a:pt x="470" y="1110"/>
                  </a:lnTo>
                  <a:lnTo>
                    <a:pt x="463" y="1094"/>
                  </a:lnTo>
                  <a:lnTo>
                    <a:pt x="454" y="1094"/>
                  </a:lnTo>
                  <a:lnTo>
                    <a:pt x="463" y="1082"/>
                  </a:lnTo>
                  <a:lnTo>
                    <a:pt x="454" y="1077"/>
                  </a:lnTo>
                  <a:lnTo>
                    <a:pt x="447" y="1094"/>
                  </a:lnTo>
                  <a:lnTo>
                    <a:pt x="454" y="1099"/>
                  </a:lnTo>
                  <a:lnTo>
                    <a:pt x="447" y="1082"/>
                  </a:lnTo>
                  <a:lnTo>
                    <a:pt x="454" y="1082"/>
                  </a:lnTo>
                  <a:lnTo>
                    <a:pt x="454" y="1094"/>
                  </a:lnTo>
                  <a:lnTo>
                    <a:pt x="470" y="1099"/>
                  </a:lnTo>
                  <a:lnTo>
                    <a:pt x="463" y="1115"/>
                  </a:lnTo>
                  <a:lnTo>
                    <a:pt x="454" y="1110"/>
                  </a:lnTo>
                  <a:lnTo>
                    <a:pt x="437" y="1094"/>
                  </a:lnTo>
                  <a:lnTo>
                    <a:pt x="437" y="1110"/>
                  </a:lnTo>
                  <a:lnTo>
                    <a:pt x="378" y="1099"/>
                  </a:lnTo>
                  <a:lnTo>
                    <a:pt x="378" y="1110"/>
                  </a:lnTo>
                  <a:lnTo>
                    <a:pt x="345" y="1110"/>
                  </a:lnTo>
                  <a:lnTo>
                    <a:pt x="395" y="1110"/>
                  </a:lnTo>
                  <a:lnTo>
                    <a:pt x="409" y="1122"/>
                  </a:lnTo>
                  <a:lnTo>
                    <a:pt x="395" y="1110"/>
                  </a:lnTo>
                  <a:lnTo>
                    <a:pt x="400" y="1110"/>
                  </a:lnTo>
                  <a:lnTo>
                    <a:pt x="433" y="1122"/>
                  </a:lnTo>
                  <a:lnTo>
                    <a:pt x="433" y="1132"/>
                  </a:lnTo>
                  <a:lnTo>
                    <a:pt x="437" y="1132"/>
                  </a:lnTo>
                  <a:lnTo>
                    <a:pt x="437" y="1122"/>
                  </a:lnTo>
                  <a:lnTo>
                    <a:pt x="470" y="1132"/>
                  </a:lnTo>
                  <a:lnTo>
                    <a:pt x="501" y="1122"/>
                  </a:lnTo>
                  <a:lnTo>
                    <a:pt x="518" y="1122"/>
                  </a:lnTo>
                  <a:lnTo>
                    <a:pt x="518" y="1115"/>
                  </a:lnTo>
                  <a:lnTo>
                    <a:pt x="534" y="1122"/>
                  </a:lnTo>
                  <a:lnTo>
                    <a:pt x="501" y="1132"/>
                  </a:lnTo>
                  <a:lnTo>
                    <a:pt x="501" y="1148"/>
                  </a:lnTo>
                  <a:lnTo>
                    <a:pt x="485" y="1155"/>
                  </a:lnTo>
                  <a:lnTo>
                    <a:pt x="480" y="1181"/>
                  </a:lnTo>
                  <a:lnTo>
                    <a:pt x="463" y="1139"/>
                  </a:lnTo>
                  <a:lnTo>
                    <a:pt x="454" y="1172"/>
                  </a:lnTo>
                  <a:lnTo>
                    <a:pt x="437" y="1188"/>
                  </a:lnTo>
                  <a:lnTo>
                    <a:pt x="416" y="1188"/>
                  </a:lnTo>
                  <a:lnTo>
                    <a:pt x="426" y="1193"/>
                  </a:lnTo>
                  <a:lnTo>
                    <a:pt x="409" y="1205"/>
                  </a:lnTo>
                  <a:lnTo>
                    <a:pt x="357" y="1205"/>
                  </a:lnTo>
                  <a:lnTo>
                    <a:pt x="383" y="1205"/>
                  </a:lnTo>
                  <a:lnTo>
                    <a:pt x="409" y="1221"/>
                  </a:lnTo>
                  <a:lnTo>
                    <a:pt x="371" y="1221"/>
                  </a:lnTo>
                  <a:lnTo>
                    <a:pt x="395" y="1226"/>
                  </a:lnTo>
                  <a:lnTo>
                    <a:pt x="400" y="1243"/>
                  </a:lnTo>
                  <a:lnTo>
                    <a:pt x="395" y="1266"/>
                  </a:lnTo>
                  <a:lnTo>
                    <a:pt x="383" y="1266"/>
                  </a:lnTo>
                  <a:lnTo>
                    <a:pt x="395" y="1283"/>
                  </a:lnTo>
                  <a:lnTo>
                    <a:pt x="378" y="1266"/>
                  </a:lnTo>
                  <a:lnTo>
                    <a:pt x="395" y="1292"/>
                  </a:lnTo>
                  <a:lnTo>
                    <a:pt x="371" y="1276"/>
                  </a:lnTo>
                  <a:lnTo>
                    <a:pt x="395" y="1299"/>
                  </a:lnTo>
                  <a:lnTo>
                    <a:pt x="383" y="1304"/>
                  </a:lnTo>
                  <a:lnTo>
                    <a:pt x="395" y="1321"/>
                  </a:lnTo>
                  <a:lnTo>
                    <a:pt x="378" y="1337"/>
                  </a:lnTo>
                  <a:lnTo>
                    <a:pt x="378" y="1354"/>
                  </a:lnTo>
                  <a:lnTo>
                    <a:pt x="383" y="1358"/>
                  </a:lnTo>
                  <a:lnTo>
                    <a:pt x="378" y="1370"/>
                  </a:lnTo>
                  <a:lnTo>
                    <a:pt x="371" y="1403"/>
                  </a:lnTo>
                  <a:lnTo>
                    <a:pt x="329" y="1465"/>
                  </a:lnTo>
                  <a:lnTo>
                    <a:pt x="319" y="1460"/>
                  </a:lnTo>
                  <a:lnTo>
                    <a:pt x="253" y="1460"/>
                  </a:lnTo>
                  <a:lnTo>
                    <a:pt x="253" y="1469"/>
                  </a:lnTo>
                  <a:lnTo>
                    <a:pt x="237" y="1465"/>
                  </a:lnTo>
                  <a:lnTo>
                    <a:pt x="215" y="1486"/>
                  </a:lnTo>
                  <a:lnTo>
                    <a:pt x="215" y="1505"/>
                  </a:lnTo>
                  <a:lnTo>
                    <a:pt x="232" y="1521"/>
                  </a:lnTo>
                  <a:lnTo>
                    <a:pt x="215" y="1538"/>
                  </a:lnTo>
                  <a:lnTo>
                    <a:pt x="182" y="1526"/>
                  </a:lnTo>
                  <a:lnTo>
                    <a:pt x="156" y="1538"/>
                  </a:lnTo>
                  <a:lnTo>
                    <a:pt x="130" y="1538"/>
                  </a:lnTo>
                  <a:lnTo>
                    <a:pt x="123" y="1521"/>
                  </a:lnTo>
                  <a:lnTo>
                    <a:pt x="140" y="1505"/>
                  </a:lnTo>
                  <a:lnTo>
                    <a:pt x="92" y="1443"/>
                  </a:lnTo>
                  <a:lnTo>
                    <a:pt x="123" y="1448"/>
                  </a:lnTo>
                  <a:lnTo>
                    <a:pt x="107" y="1432"/>
                  </a:lnTo>
                  <a:lnTo>
                    <a:pt x="123" y="1427"/>
                  </a:lnTo>
                  <a:lnTo>
                    <a:pt x="123" y="1410"/>
                  </a:lnTo>
                  <a:lnTo>
                    <a:pt x="114" y="1410"/>
                  </a:lnTo>
                  <a:lnTo>
                    <a:pt x="102" y="1387"/>
                  </a:lnTo>
                  <a:lnTo>
                    <a:pt x="85" y="1377"/>
                  </a:lnTo>
                  <a:lnTo>
                    <a:pt x="69" y="1349"/>
                  </a:lnTo>
                  <a:lnTo>
                    <a:pt x="69" y="1321"/>
                  </a:lnTo>
                  <a:lnTo>
                    <a:pt x="59" y="1321"/>
                  </a:lnTo>
                  <a:lnTo>
                    <a:pt x="59" y="1337"/>
                  </a:lnTo>
                  <a:lnTo>
                    <a:pt x="55" y="1332"/>
                  </a:lnTo>
                  <a:lnTo>
                    <a:pt x="55" y="1304"/>
                  </a:lnTo>
                  <a:lnTo>
                    <a:pt x="55" y="1299"/>
                  </a:lnTo>
                  <a:lnTo>
                    <a:pt x="55" y="1299"/>
                  </a:lnTo>
                  <a:lnTo>
                    <a:pt x="38" y="1299"/>
                  </a:lnTo>
                  <a:lnTo>
                    <a:pt x="38" y="1283"/>
                  </a:lnTo>
                  <a:lnTo>
                    <a:pt x="55" y="1243"/>
                  </a:lnTo>
                  <a:lnTo>
                    <a:pt x="48" y="1238"/>
                  </a:lnTo>
                  <a:lnTo>
                    <a:pt x="31" y="1243"/>
                  </a:lnTo>
                  <a:lnTo>
                    <a:pt x="5" y="1226"/>
                  </a:lnTo>
                  <a:lnTo>
                    <a:pt x="5" y="1181"/>
                  </a:lnTo>
                  <a:lnTo>
                    <a:pt x="0" y="1165"/>
                  </a:lnTo>
                  <a:lnTo>
                    <a:pt x="15" y="1148"/>
                  </a:lnTo>
                  <a:lnTo>
                    <a:pt x="22" y="1165"/>
                  </a:lnTo>
                  <a:lnTo>
                    <a:pt x="22" y="1172"/>
                  </a:lnTo>
                  <a:lnTo>
                    <a:pt x="31" y="1172"/>
                  </a:lnTo>
                  <a:lnTo>
                    <a:pt x="31" y="1172"/>
                  </a:lnTo>
                  <a:lnTo>
                    <a:pt x="31" y="1172"/>
                  </a:lnTo>
                  <a:close/>
                  <a:moveTo>
                    <a:pt x="485" y="761"/>
                  </a:moveTo>
                  <a:lnTo>
                    <a:pt x="485" y="749"/>
                  </a:lnTo>
                  <a:lnTo>
                    <a:pt x="492" y="749"/>
                  </a:lnTo>
                  <a:lnTo>
                    <a:pt x="485" y="761"/>
                  </a:lnTo>
                  <a:lnTo>
                    <a:pt x="485" y="761"/>
                  </a:lnTo>
                  <a:lnTo>
                    <a:pt x="485" y="761"/>
                  </a:lnTo>
                  <a:close/>
                  <a:moveTo>
                    <a:pt x="447" y="799"/>
                  </a:moveTo>
                  <a:lnTo>
                    <a:pt x="437" y="782"/>
                  </a:lnTo>
                  <a:lnTo>
                    <a:pt x="447" y="782"/>
                  </a:lnTo>
                  <a:lnTo>
                    <a:pt x="447" y="789"/>
                  </a:lnTo>
                  <a:lnTo>
                    <a:pt x="447" y="799"/>
                  </a:lnTo>
                  <a:lnTo>
                    <a:pt x="447" y="799"/>
                  </a:lnTo>
                  <a:lnTo>
                    <a:pt x="447" y="799"/>
                  </a:lnTo>
                  <a:close/>
                  <a:moveTo>
                    <a:pt x="522" y="1021"/>
                  </a:moveTo>
                  <a:lnTo>
                    <a:pt x="508" y="1011"/>
                  </a:lnTo>
                  <a:lnTo>
                    <a:pt x="508" y="999"/>
                  </a:lnTo>
                  <a:lnTo>
                    <a:pt x="522" y="1021"/>
                  </a:lnTo>
                  <a:lnTo>
                    <a:pt x="522" y="1021"/>
                  </a:lnTo>
                  <a:lnTo>
                    <a:pt x="522" y="1021"/>
                  </a:lnTo>
                  <a:close/>
                  <a:moveTo>
                    <a:pt x="522" y="1115"/>
                  </a:moveTo>
                  <a:lnTo>
                    <a:pt x="522" y="1110"/>
                  </a:lnTo>
                  <a:lnTo>
                    <a:pt x="534" y="1099"/>
                  </a:lnTo>
                  <a:lnTo>
                    <a:pt x="522" y="1115"/>
                  </a:lnTo>
                  <a:lnTo>
                    <a:pt x="522" y="1115"/>
                  </a:lnTo>
                  <a:lnTo>
                    <a:pt x="522" y="1115"/>
                  </a:lnTo>
                  <a:close/>
                  <a:moveTo>
                    <a:pt x="433" y="1122"/>
                  </a:moveTo>
                  <a:lnTo>
                    <a:pt x="416" y="1115"/>
                  </a:lnTo>
                  <a:lnTo>
                    <a:pt x="433" y="1115"/>
                  </a:lnTo>
                  <a:lnTo>
                    <a:pt x="433" y="1122"/>
                  </a:lnTo>
                  <a:lnTo>
                    <a:pt x="433" y="1122"/>
                  </a:lnTo>
                  <a:lnTo>
                    <a:pt x="433" y="1122"/>
                  </a:lnTo>
                  <a:close/>
                  <a:moveTo>
                    <a:pt x="470" y="1132"/>
                  </a:moveTo>
                  <a:lnTo>
                    <a:pt x="454" y="1132"/>
                  </a:lnTo>
                  <a:lnTo>
                    <a:pt x="447" y="1115"/>
                  </a:lnTo>
                  <a:lnTo>
                    <a:pt x="470" y="1132"/>
                  </a:lnTo>
                  <a:lnTo>
                    <a:pt x="470" y="1132"/>
                  </a:lnTo>
                  <a:lnTo>
                    <a:pt x="470" y="1132"/>
                  </a:lnTo>
                  <a:close/>
                  <a:moveTo>
                    <a:pt x="518" y="1139"/>
                  </a:moveTo>
                  <a:lnTo>
                    <a:pt x="508" y="1132"/>
                  </a:lnTo>
                  <a:lnTo>
                    <a:pt x="522" y="1132"/>
                  </a:lnTo>
                  <a:lnTo>
                    <a:pt x="518" y="1139"/>
                  </a:lnTo>
                  <a:lnTo>
                    <a:pt x="518" y="1139"/>
                  </a:lnTo>
                  <a:lnTo>
                    <a:pt x="518" y="1139"/>
                  </a:lnTo>
                  <a:close/>
                  <a:moveTo>
                    <a:pt x="572" y="1238"/>
                  </a:moveTo>
                  <a:lnTo>
                    <a:pt x="560" y="1226"/>
                  </a:lnTo>
                  <a:lnTo>
                    <a:pt x="577" y="1226"/>
                  </a:lnTo>
                  <a:lnTo>
                    <a:pt x="572" y="1238"/>
                  </a:lnTo>
                  <a:lnTo>
                    <a:pt x="572" y="1238"/>
                  </a:lnTo>
                  <a:lnTo>
                    <a:pt x="572" y="1238"/>
                  </a:lnTo>
                  <a:close/>
                  <a:moveTo>
                    <a:pt x="22" y="1259"/>
                  </a:moveTo>
                  <a:lnTo>
                    <a:pt x="22" y="1250"/>
                  </a:lnTo>
                  <a:lnTo>
                    <a:pt x="38" y="1238"/>
                  </a:lnTo>
                  <a:lnTo>
                    <a:pt x="48" y="1243"/>
                  </a:lnTo>
                  <a:lnTo>
                    <a:pt x="48" y="1250"/>
                  </a:lnTo>
                  <a:lnTo>
                    <a:pt x="22" y="1259"/>
                  </a:lnTo>
                  <a:lnTo>
                    <a:pt x="22" y="1259"/>
                  </a:lnTo>
                  <a:lnTo>
                    <a:pt x="22" y="1259"/>
                  </a:lnTo>
                  <a:close/>
                  <a:moveTo>
                    <a:pt x="48" y="1259"/>
                  </a:moveTo>
                  <a:lnTo>
                    <a:pt x="31" y="1276"/>
                  </a:lnTo>
                  <a:lnTo>
                    <a:pt x="31" y="1266"/>
                  </a:lnTo>
                  <a:lnTo>
                    <a:pt x="48" y="1259"/>
                  </a:lnTo>
                  <a:lnTo>
                    <a:pt x="48" y="1259"/>
                  </a:lnTo>
                  <a:lnTo>
                    <a:pt x="48" y="1259"/>
                  </a:lnTo>
                  <a:close/>
                  <a:moveTo>
                    <a:pt x="560" y="1283"/>
                  </a:moveTo>
                  <a:lnTo>
                    <a:pt x="555" y="1276"/>
                  </a:lnTo>
                  <a:lnTo>
                    <a:pt x="560" y="1266"/>
                  </a:lnTo>
                  <a:lnTo>
                    <a:pt x="577" y="1266"/>
                  </a:lnTo>
                  <a:lnTo>
                    <a:pt x="560" y="1276"/>
                  </a:lnTo>
                  <a:lnTo>
                    <a:pt x="560" y="1283"/>
                  </a:lnTo>
                  <a:lnTo>
                    <a:pt x="560" y="1283"/>
                  </a:lnTo>
                  <a:lnTo>
                    <a:pt x="560" y="1283"/>
                  </a:lnTo>
                  <a:close/>
                  <a:moveTo>
                    <a:pt x="555" y="1276"/>
                  </a:moveTo>
                  <a:lnTo>
                    <a:pt x="555" y="1283"/>
                  </a:lnTo>
                  <a:lnTo>
                    <a:pt x="539" y="1299"/>
                  </a:lnTo>
                  <a:lnTo>
                    <a:pt x="534" y="1349"/>
                  </a:lnTo>
                  <a:lnTo>
                    <a:pt x="508" y="1354"/>
                  </a:lnTo>
                  <a:lnTo>
                    <a:pt x="501" y="1377"/>
                  </a:lnTo>
                  <a:lnTo>
                    <a:pt x="492" y="1377"/>
                  </a:lnTo>
                  <a:lnTo>
                    <a:pt x="501" y="1370"/>
                  </a:lnTo>
                  <a:lnTo>
                    <a:pt x="492" y="1316"/>
                  </a:lnTo>
                  <a:lnTo>
                    <a:pt x="534" y="1276"/>
                  </a:lnTo>
                  <a:lnTo>
                    <a:pt x="555" y="1276"/>
                  </a:lnTo>
                  <a:lnTo>
                    <a:pt x="555" y="1276"/>
                  </a:lnTo>
                  <a:lnTo>
                    <a:pt x="555" y="1276"/>
                  </a:lnTo>
                  <a:close/>
                  <a:moveTo>
                    <a:pt x="371" y="1448"/>
                  </a:moveTo>
                  <a:lnTo>
                    <a:pt x="371" y="1410"/>
                  </a:lnTo>
                  <a:lnTo>
                    <a:pt x="409" y="1337"/>
                  </a:lnTo>
                  <a:lnTo>
                    <a:pt x="426" y="1337"/>
                  </a:lnTo>
                  <a:lnTo>
                    <a:pt x="371" y="1448"/>
                  </a:lnTo>
                  <a:lnTo>
                    <a:pt x="371" y="1448"/>
                  </a:lnTo>
                  <a:lnTo>
                    <a:pt x="371" y="1448"/>
                  </a:lnTo>
                  <a:close/>
                </a:path>
              </a:pathLst>
            </a:custGeom>
            <a:solidFill>
              <a:schemeClr val="bg2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18" name="Freeform 562">
              <a:extLst>
                <a:ext uri="{FF2B5EF4-FFF2-40B4-BE49-F238E27FC236}">
                  <a16:creationId xmlns:a16="http://schemas.microsoft.com/office/drawing/2014/main" id="{9725D9B1-8684-4666-9C10-25C20DDAB8B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751382" y="3405185"/>
              <a:ext cx="126617" cy="79816"/>
            </a:xfrm>
            <a:custGeom>
              <a:avLst/>
              <a:gdLst>
                <a:gd name="T0" fmla="*/ 81 w 825"/>
                <a:gd name="T1" fmla="*/ 33 h 520"/>
                <a:gd name="T2" fmla="*/ 64 w 825"/>
                <a:gd name="T3" fmla="*/ 29 h 520"/>
                <a:gd name="T4" fmla="*/ 50 w 825"/>
                <a:gd name="T5" fmla="*/ 29 h 520"/>
                <a:gd name="T6" fmla="*/ 50 w 825"/>
                <a:gd name="T7" fmla="*/ 17 h 520"/>
                <a:gd name="T8" fmla="*/ 55 w 825"/>
                <a:gd name="T9" fmla="*/ 17 h 520"/>
                <a:gd name="T10" fmla="*/ 33 w 825"/>
                <a:gd name="T11" fmla="*/ 17 h 520"/>
                <a:gd name="T12" fmla="*/ 26 w 825"/>
                <a:gd name="T13" fmla="*/ 10 h 520"/>
                <a:gd name="T14" fmla="*/ 33 w 825"/>
                <a:gd name="T15" fmla="*/ 10 h 520"/>
                <a:gd name="T16" fmla="*/ 0 w 825"/>
                <a:gd name="T17" fmla="*/ 0 h 520"/>
                <a:gd name="T18" fmla="*/ 102 w 825"/>
                <a:gd name="T19" fmla="*/ 10 h 520"/>
                <a:gd name="T20" fmla="*/ 102 w 825"/>
                <a:gd name="T21" fmla="*/ 29 h 520"/>
                <a:gd name="T22" fmla="*/ 102 w 825"/>
                <a:gd name="T23" fmla="*/ 29 h 520"/>
                <a:gd name="T24" fmla="*/ 109 w 825"/>
                <a:gd name="T25" fmla="*/ 29 h 520"/>
                <a:gd name="T26" fmla="*/ 123 w 825"/>
                <a:gd name="T27" fmla="*/ 45 h 520"/>
                <a:gd name="T28" fmla="*/ 118 w 825"/>
                <a:gd name="T29" fmla="*/ 29 h 520"/>
                <a:gd name="T30" fmla="*/ 123 w 825"/>
                <a:gd name="T31" fmla="*/ 29 h 520"/>
                <a:gd name="T32" fmla="*/ 140 w 825"/>
                <a:gd name="T33" fmla="*/ 55 h 520"/>
                <a:gd name="T34" fmla="*/ 161 w 825"/>
                <a:gd name="T35" fmla="*/ 83 h 520"/>
                <a:gd name="T36" fmla="*/ 140 w 825"/>
                <a:gd name="T37" fmla="*/ 83 h 520"/>
                <a:gd name="T38" fmla="*/ 147 w 825"/>
                <a:gd name="T39" fmla="*/ 90 h 520"/>
                <a:gd name="T40" fmla="*/ 140 w 825"/>
                <a:gd name="T41" fmla="*/ 90 h 520"/>
                <a:gd name="T42" fmla="*/ 109 w 825"/>
                <a:gd name="T43" fmla="*/ 55 h 520"/>
                <a:gd name="T44" fmla="*/ 81 w 825"/>
                <a:gd name="T45" fmla="*/ 33 h 520"/>
                <a:gd name="T46" fmla="*/ 81 w 825"/>
                <a:gd name="T47" fmla="*/ 33 h 520"/>
                <a:gd name="T48" fmla="*/ 81 w 825"/>
                <a:gd name="T49" fmla="*/ 33 h 520"/>
                <a:gd name="T50" fmla="*/ 766 w 825"/>
                <a:gd name="T51" fmla="*/ 279 h 520"/>
                <a:gd name="T52" fmla="*/ 766 w 825"/>
                <a:gd name="T53" fmla="*/ 274 h 520"/>
                <a:gd name="T54" fmla="*/ 770 w 825"/>
                <a:gd name="T55" fmla="*/ 274 h 520"/>
                <a:gd name="T56" fmla="*/ 766 w 825"/>
                <a:gd name="T57" fmla="*/ 279 h 520"/>
                <a:gd name="T58" fmla="*/ 766 w 825"/>
                <a:gd name="T59" fmla="*/ 279 h 520"/>
                <a:gd name="T60" fmla="*/ 766 w 825"/>
                <a:gd name="T61" fmla="*/ 279 h 520"/>
                <a:gd name="T62" fmla="*/ 820 w 825"/>
                <a:gd name="T63" fmla="*/ 397 h 520"/>
                <a:gd name="T64" fmla="*/ 808 w 825"/>
                <a:gd name="T65" fmla="*/ 385 h 520"/>
                <a:gd name="T66" fmla="*/ 820 w 825"/>
                <a:gd name="T67" fmla="*/ 385 h 520"/>
                <a:gd name="T68" fmla="*/ 820 w 825"/>
                <a:gd name="T69" fmla="*/ 397 h 520"/>
                <a:gd name="T70" fmla="*/ 820 w 825"/>
                <a:gd name="T71" fmla="*/ 397 h 520"/>
                <a:gd name="T72" fmla="*/ 820 w 825"/>
                <a:gd name="T73" fmla="*/ 397 h 520"/>
                <a:gd name="T74" fmla="*/ 825 w 825"/>
                <a:gd name="T75" fmla="*/ 463 h 520"/>
                <a:gd name="T76" fmla="*/ 808 w 825"/>
                <a:gd name="T77" fmla="*/ 459 h 520"/>
                <a:gd name="T78" fmla="*/ 825 w 825"/>
                <a:gd name="T79" fmla="*/ 451 h 520"/>
                <a:gd name="T80" fmla="*/ 825 w 825"/>
                <a:gd name="T81" fmla="*/ 463 h 520"/>
                <a:gd name="T82" fmla="*/ 825 w 825"/>
                <a:gd name="T83" fmla="*/ 463 h 520"/>
                <a:gd name="T84" fmla="*/ 825 w 825"/>
                <a:gd name="T85" fmla="*/ 463 h 520"/>
                <a:gd name="T86" fmla="*/ 803 w 825"/>
                <a:gd name="T87" fmla="*/ 520 h 520"/>
                <a:gd name="T88" fmla="*/ 803 w 825"/>
                <a:gd name="T89" fmla="*/ 520 h 520"/>
                <a:gd name="T90" fmla="*/ 808 w 825"/>
                <a:gd name="T91" fmla="*/ 520 h 520"/>
                <a:gd name="T92" fmla="*/ 803 w 825"/>
                <a:gd name="T93" fmla="*/ 520 h 520"/>
                <a:gd name="T94" fmla="*/ 803 w 825"/>
                <a:gd name="T95" fmla="*/ 520 h 520"/>
                <a:gd name="T96" fmla="*/ 803 w 825"/>
                <a:gd name="T97" fmla="*/ 520 h 5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825" h="520">
                  <a:moveTo>
                    <a:pt x="81" y="33"/>
                  </a:moveTo>
                  <a:lnTo>
                    <a:pt x="64" y="29"/>
                  </a:lnTo>
                  <a:lnTo>
                    <a:pt x="50" y="29"/>
                  </a:lnTo>
                  <a:lnTo>
                    <a:pt x="50" y="17"/>
                  </a:lnTo>
                  <a:lnTo>
                    <a:pt x="55" y="17"/>
                  </a:lnTo>
                  <a:lnTo>
                    <a:pt x="33" y="17"/>
                  </a:lnTo>
                  <a:lnTo>
                    <a:pt x="26" y="10"/>
                  </a:lnTo>
                  <a:lnTo>
                    <a:pt x="33" y="10"/>
                  </a:lnTo>
                  <a:lnTo>
                    <a:pt x="0" y="0"/>
                  </a:lnTo>
                  <a:lnTo>
                    <a:pt x="102" y="10"/>
                  </a:lnTo>
                  <a:lnTo>
                    <a:pt x="102" y="29"/>
                  </a:lnTo>
                  <a:lnTo>
                    <a:pt x="102" y="29"/>
                  </a:lnTo>
                  <a:lnTo>
                    <a:pt x="109" y="29"/>
                  </a:lnTo>
                  <a:lnTo>
                    <a:pt x="123" y="45"/>
                  </a:lnTo>
                  <a:lnTo>
                    <a:pt x="118" y="29"/>
                  </a:lnTo>
                  <a:lnTo>
                    <a:pt x="123" y="29"/>
                  </a:lnTo>
                  <a:lnTo>
                    <a:pt x="140" y="55"/>
                  </a:lnTo>
                  <a:lnTo>
                    <a:pt x="161" y="83"/>
                  </a:lnTo>
                  <a:lnTo>
                    <a:pt x="140" y="83"/>
                  </a:lnTo>
                  <a:lnTo>
                    <a:pt x="147" y="90"/>
                  </a:lnTo>
                  <a:lnTo>
                    <a:pt x="140" y="90"/>
                  </a:lnTo>
                  <a:lnTo>
                    <a:pt x="109" y="55"/>
                  </a:lnTo>
                  <a:lnTo>
                    <a:pt x="81" y="33"/>
                  </a:lnTo>
                  <a:lnTo>
                    <a:pt x="81" y="33"/>
                  </a:lnTo>
                  <a:lnTo>
                    <a:pt x="81" y="33"/>
                  </a:lnTo>
                  <a:close/>
                  <a:moveTo>
                    <a:pt x="766" y="279"/>
                  </a:moveTo>
                  <a:lnTo>
                    <a:pt x="766" y="274"/>
                  </a:lnTo>
                  <a:lnTo>
                    <a:pt x="770" y="274"/>
                  </a:lnTo>
                  <a:lnTo>
                    <a:pt x="766" y="279"/>
                  </a:lnTo>
                  <a:lnTo>
                    <a:pt x="766" y="279"/>
                  </a:lnTo>
                  <a:lnTo>
                    <a:pt x="766" y="279"/>
                  </a:lnTo>
                  <a:close/>
                  <a:moveTo>
                    <a:pt x="820" y="397"/>
                  </a:moveTo>
                  <a:lnTo>
                    <a:pt x="808" y="385"/>
                  </a:lnTo>
                  <a:lnTo>
                    <a:pt x="820" y="385"/>
                  </a:lnTo>
                  <a:lnTo>
                    <a:pt x="820" y="397"/>
                  </a:lnTo>
                  <a:lnTo>
                    <a:pt x="820" y="397"/>
                  </a:lnTo>
                  <a:lnTo>
                    <a:pt x="820" y="397"/>
                  </a:lnTo>
                  <a:close/>
                  <a:moveTo>
                    <a:pt x="825" y="463"/>
                  </a:moveTo>
                  <a:lnTo>
                    <a:pt x="808" y="459"/>
                  </a:lnTo>
                  <a:lnTo>
                    <a:pt x="825" y="451"/>
                  </a:lnTo>
                  <a:lnTo>
                    <a:pt x="825" y="463"/>
                  </a:lnTo>
                  <a:lnTo>
                    <a:pt x="825" y="463"/>
                  </a:lnTo>
                  <a:lnTo>
                    <a:pt x="825" y="463"/>
                  </a:lnTo>
                  <a:close/>
                  <a:moveTo>
                    <a:pt x="803" y="520"/>
                  </a:moveTo>
                  <a:lnTo>
                    <a:pt x="803" y="520"/>
                  </a:lnTo>
                  <a:lnTo>
                    <a:pt x="808" y="520"/>
                  </a:lnTo>
                  <a:lnTo>
                    <a:pt x="803" y="520"/>
                  </a:lnTo>
                  <a:lnTo>
                    <a:pt x="803" y="520"/>
                  </a:lnTo>
                  <a:lnTo>
                    <a:pt x="803" y="520"/>
                  </a:lnTo>
                  <a:close/>
                </a:path>
              </a:pathLst>
            </a:custGeom>
            <a:solidFill>
              <a:schemeClr val="bg2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19" name="Freeform 563">
              <a:extLst>
                <a:ext uri="{FF2B5EF4-FFF2-40B4-BE49-F238E27FC236}">
                  <a16:creationId xmlns:a16="http://schemas.microsoft.com/office/drawing/2014/main" id="{C864CCEE-A8E3-4D4A-99C2-8F0304255725}"/>
                </a:ext>
              </a:extLst>
            </p:cNvPr>
            <p:cNvSpPr>
              <a:spLocks/>
            </p:cNvSpPr>
            <p:nvPr/>
          </p:nvSpPr>
          <p:spPr bwMode="gray">
            <a:xfrm>
              <a:off x="6545001" y="2309866"/>
              <a:ext cx="72440" cy="62471"/>
            </a:xfrm>
            <a:custGeom>
              <a:avLst/>
              <a:gdLst>
                <a:gd name="T0" fmla="*/ 0 w 472"/>
                <a:gd name="T1" fmla="*/ 333 h 407"/>
                <a:gd name="T2" fmla="*/ 0 w 472"/>
                <a:gd name="T3" fmla="*/ 333 h 407"/>
                <a:gd name="T4" fmla="*/ 28 w 472"/>
                <a:gd name="T5" fmla="*/ 300 h 407"/>
                <a:gd name="T6" fmla="*/ 21 w 472"/>
                <a:gd name="T7" fmla="*/ 300 h 407"/>
                <a:gd name="T8" fmla="*/ 28 w 472"/>
                <a:gd name="T9" fmla="*/ 284 h 407"/>
                <a:gd name="T10" fmla="*/ 54 w 472"/>
                <a:gd name="T11" fmla="*/ 284 h 407"/>
                <a:gd name="T12" fmla="*/ 43 w 472"/>
                <a:gd name="T13" fmla="*/ 279 h 407"/>
                <a:gd name="T14" fmla="*/ 71 w 472"/>
                <a:gd name="T15" fmla="*/ 251 h 407"/>
                <a:gd name="T16" fmla="*/ 59 w 472"/>
                <a:gd name="T17" fmla="*/ 239 h 407"/>
                <a:gd name="T18" fmla="*/ 43 w 472"/>
                <a:gd name="T19" fmla="*/ 229 h 407"/>
                <a:gd name="T20" fmla="*/ 54 w 472"/>
                <a:gd name="T21" fmla="*/ 222 h 407"/>
                <a:gd name="T22" fmla="*/ 21 w 472"/>
                <a:gd name="T23" fmla="*/ 222 h 407"/>
                <a:gd name="T24" fmla="*/ 17 w 472"/>
                <a:gd name="T25" fmla="*/ 194 h 407"/>
                <a:gd name="T26" fmla="*/ 21 w 472"/>
                <a:gd name="T27" fmla="*/ 173 h 407"/>
                <a:gd name="T28" fmla="*/ 21 w 472"/>
                <a:gd name="T29" fmla="*/ 156 h 407"/>
                <a:gd name="T30" fmla="*/ 5 w 472"/>
                <a:gd name="T31" fmla="*/ 140 h 407"/>
                <a:gd name="T32" fmla="*/ 21 w 472"/>
                <a:gd name="T33" fmla="*/ 111 h 407"/>
                <a:gd name="T34" fmla="*/ 38 w 472"/>
                <a:gd name="T35" fmla="*/ 128 h 407"/>
                <a:gd name="T36" fmla="*/ 38 w 472"/>
                <a:gd name="T37" fmla="*/ 111 h 407"/>
                <a:gd name="T38" fmla="*/ 54 w 472"/>
                <a:gd name="T39" fmla="*/ 111 h 407"/>
                <a:gd name="T40" fmla="*/ 54 w 472"/>
                <a:gd name="T41" fmla="*/ 83 h 407"/>
                <a:gd name="T42" fmla="*/ 76 w 472"/>
                <a:gd name="T43" fmla="*/ 83 h 407"/>
                <a:gd name="T44" fmla="*/ 59 w 472"/>
                <a:gd name="T45" fmla="*/ 71 h 407"/>
                <a:gd name="T46" fmla="*/ 71 w 472"/>
                <a:gd name="T47" fmla="*/ 38 h 407"/>
                <a:gd name="T48" fmla="*/ 109 w 472"/>
                <a:gd name="T49" fmla="*/ 55 h 407"/>
                <a:gd name="T50" fmla="*/ 125 w 472"/>
                <a:gd name="T51" fmla="*/ 55 h 407"/>
                <a:gd name="T52" fmla="*/ 184 w 472"/>
                <a:gd name="T53" fmla="*/ 26 h 407"/>
                <a:gd name="T54" fmla="*/ 201 w 472"/>
                <a:gd name="T55" fmla="*/ 38 h 407"/>
                <a:gd name="T56" fmla="*/ 217 w 472"/>
                <a:gd name="T57" fmla="*/ 43 h 407"/>
                <a:gd name="T58" fmla="*/ 255 w 472"/>
                <a:gd name="T59" fmla="*/ 55 h 407"/>
                <a:gd name="T60" fmla="*/ 293 w 472"/>
                <a:gd name="T61" fmla="*/ 43 h 407"/>
                <a:gd name="T62" fmla="*/ 364 w 472"/>
                <a:gd name="T63" fmla="*/ 17 h 407"/>
                <a:gd name="T64" fmla="*/ 418 w 472"/>
                <a:gd name="T65" fmla="*/ 17 h 407"/>
                <a:gd name="T66" fmla="*/ 451 w 472"/>
                <a:gd name="T67" fmla="*/ 5 h 407"/>
                <a:gd name="T68" fmla="*/ 456 w 472"/>
                <a:gd name="T69" fmla="*/ 0 h 407"/>
                <a:gd name="T70" fmla="*/ 472 w 472"/>
                <a:gd name="T71" fmla="*/ 5 h 407"/>
                <a:gd name="T72" fmla="*/ 472 w 472"/>
                <a:gd name="T73" fmla="*/ 17 h 407"/>
                <a:gd name="T74" fmla="*/ 435 w 472"/>
                <a:gd name="T75" fmla="*/ 55 h 407"/>
                <a:gd name="T76" fmla="*/ 402 w 472"/>
                <a:gd name="T77" fmla="*/ 62 h 407"/>
                <a:gd name="T78" fmla="*/ 397 w 472"/>
                <a:gd name="T79" fmla="*/ 78 h 407"/>
                <a:gd name="T80" fmla="*/ 397 w 472"/>
                <a:gd name="T81" fmla="*/ 99 h 407"/>
                <a:gd name="T82" fmla="*/ 402 w 472"/>
                <a:gd name="T83" fmla="*/ 116 h 407"/>
                <a:gd name="T84" fmla="*/ 402 w 472"/>
                <a:gd name="T85" fmla="*/ 140 h 407"/>
                <a:gd name="T86" fmla="*/ 397 w 472"/>
                <a:gd name="T87" fmla="*/ 173 h 407"/>
                <a:gd name="T88" fmla="*/ 397 w 472"/>
                <a:gd name="T89" fmla="*/ 206 h 407"/>
                <a:gd name="T90" fmla="*/ 380 w 472"/>
                <a:gd name="T91" fmla="*/ 239 h 407"/>
                <a:gd name="T92" fmla="*/ 222 w 472"/>
                <a:gd name="T93" fmla="*/ 324 h 407"/>
                <a:gd name="T94" fmla="*/ 83 w 472"/>
                <a:gd name="T95" fmla="*/ 407 h 407"/>
                <a:gd name="T96" fmla="*/ 54 w 472"/>
                <a:gd name="T97" fmla="*/ 407 h 407"/>
                <a:gd name="T98" fmla="*/ 28 w 472"/>
                <a:gd name="T99" fmla="*/ 390 h 407"/>
                <a:gd name="T100" fmla="*/ 21 w 472"/>
                <a:gd name="T101" fmla="*/ 373 h 407"/>
                <a:gd name="T102" fmla="*/ 0 w 472"/>
                <a:gd name="T103" fmla="*/ 378 h 407"/>
                <a:gd name="T104" fmla="*/ 0 w 472"/>
                <a:gd name="T105" fmla="*/ 333 h 407"/>
                <a:gd name="T106" fmla="*/ 0 w 472"/>
                <a:gd name="T107" fmla="*/ 333 h 407"/>
                <a:gd name="T108" fmla="*/ 0 w 472"/>
                <a:gd name="T109" fmla="*/ 333 h 4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472" h="407">
                  <a:moveTo>
                    <a:pt x="0" y="333"/>
                  </a:moveTo>
                  <a:lnTo>
                    <a:pt x="0" y="333"/>
                  </a:lnTo>
                  <a:lnTo>
                    <a:pt x="28" y="300"/>
                  </a:lnTo>
                  <a:lnTo>
                    <a:pt x="21" y="300"/>
                  </a:lnTo>
                  <a:lnTo>
                    <a:pt x="28" y="284"/>
                  </a:lnTo>
                  <a:lnTo>
                    <a:pt x="54" y="284"/>
                  </a:lnTo>
                  <a:lnTo>
                    <a:pt x="43" y="279"/>
                  </a:lnTo>
                  <a:lnTo>
                    <a:pt x="71" y="251"/>
                  </a:lnTo>
                  <a:lnTo>
                    <a:pt x="59" y="239"/>
                  </a:lnTo>
                  <a:lnTo>
                    <a:pt x="43" y="229"/>
                  </a:lnTo>
                  <a:lnTo>
                    <a:pt x="54" y="222"/>
                  </a:lnTo>
                  <a:lnTo>
                    <a:pt x="21" y="222"/>
                  </a:lnTo>
                  <a:lnTo>
                    <a:pt x="17" y="194"/>
                  </a:lnTo>
                  <a:lnTo>
                    <a:pt x="21" y="173"/>
                  </a:lnTo>
                  <a:lnTo>
                    <a:pt x="21" y="156"/>
                  </a:lnTo>
                  <a:lnTo>
                    <a:pt x="5" y="140"/>
                  </a:lnTo>
                  <a:lnTo>
                    <a:pt x="21" y="111"/>
                  </a:lnTo>
                  <a:lnTo>
                    <a:pt x="38" y="128"/>
                  </a:lnTo>
                  <a:lnTo>
                    <a:pt x="38" y="111"/>
                  </a:lnTo>
                  <a:lnTo>
                    <a:pt x="54" y="111"/>
                  </a:lnTo>
                  <a:lnTo>
                    <a:pt x="54" y="83"/>
                  </a:lnTo>
                  <a:lnTo>
                    <a:pt x="76" y="83"/>
                  </a:lnTo>
                  <a:lnTo>
                    <a:pt x="59" y="71"/>
                  </a:lnTo>
                  <a:lnTo>
                    <a:pt x="71" y="38"/>
                  </a:lnTo>
                  <a:lnTo>
                    <a:pt x="109" y="55"/>
                  </a:lnTo>
                  <a:lnTo>
                    <a:pt x="125" y="55"/>
                  </a:lnTo>
                  <a:lnTo>
                    <a:pt x="184" y="26"/>
                  </a:lnTo>
                  <a:lnTo>
                    <a:pt x="201" y="38"/>
                  </a:lnTo>
                  <a:lnTo>
                    <a:pt x="217" y="43"/>
                  </a:lnTo>
                  <a:lnTo>
                    <a:pt x="255" y="55"/>
                  </a:lnTo>
                  <a:lnTo>
                    <a:pt x="293" y="43"/>
                  </a:lnTo>
                  <a:lnTo>
                    <a:pt x="364" y="17"/>
                  </a:lnTo>
                  <a:lnTo>
                    <a:pt x="418" y="17"/>
                  </a:lnTo>
                  <a:lnTo>
                    <a:pt x="451" y="5"/>
                  </a:lnTo>
                  <a:lnTo>
                    <a:pt x="456" y="0"/>
                  </a:lnTo>
                  <a:lnTo>
                    <a:pt x="472" y="5"/>
                  </a:lnTo>
                  <a:lnTo>
                    <a:pt x="472" y="17"/>
                  </a:lnTo>
                  <a:lnTo>
                    <a:pt x="435" y="55"/>
                  </a:lnTo>
                  <a:lnTo>
                    <a:pt x="402" y="62"/>
                  </a:lnTo>
                  <a:lnTo>
                    <a:pt x="397" y="78"/>
                  </a:lnTo>
                  <a:lnTo>
                    <a:pt x="397" y="99"/>
                  </a:lnTo>
                  <a:lnTo>
                    <a:pt x="402" y="116"/>
                  </a:lnTo>
                  <a:lnTo>
                    <a:pt x="402" y="140"/>
                  </a:lnTo>
                  <a:lnTo>
                    <a:pt x="397" y="173"/>
                  </a:lnTo>
                  <a:lnTo>
                    <a:pt x="397" y="206"/>
                  </a:lnTo>
                  <a:lnTo>
                    <a:pt x="380" y="239"/>
                  </a:lnTo>
                  <a:lnTo>
                    <a:pt x="222" y="324"/>
                  </a:lnTo>
                  <a:lnTo>
                    <a:pt x="83" y="407"/>
                  </a:lnTo>
                  <a:lnTo>
                    <a:pt x="54" y="407"/>
                  </a:lnTo>
                  <a:lnTo>
                    <a:pt x="28" y="390"/>
                  </a:lnTo>
                  <a:lnTo>
                    <a:pt x="21" y="373"/>
                  </a:lnTo>
                  <a:lnTo>
                    <a:pt x="0" y="378"/>
                  </a:lnTo>
                  <a:lnTo>
                    <a:pt x="0" y="333"/>
                  </a:lnTo>
                  <a:lnTo>
                    <a:pt x="0" y="333"/>
                  </a:lnTo>
                  <a:lnTo>
                    <a:pt x="0" y="333"/>
                  </a:lnTo>
                  <a:close/>
                </a:path>
              </a:pathLst>
            </a:custGeom>
            <a:solidFill>
              <a:schemeClr val="bg2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20" name="Freeform 564">
              <a:extLst>
                <a:ext uri="{FF2B5EF4-FFF2-40B4-BE49-F238E27FC236}">
                  <a16:creationId xmlns:a16="http://schemas.microsoft.com/office/drawing/2014/main" id="{ED13D2BC-1194-41B6-A81E-B1AA128AD1E9}"/>
                </a:ext>
              </a:extLst>
            </p:cNvPr>
            <p:cNvSpPr>
              <a:spLocks/>
            </p:cNvSpPr>
            <p:nvPr/>
          </p:nvSpPr>
          <p:spPr bwMode="gray">
            <a:xfrm>
              <a:off x="6225620" y="2169574"/>
              <a:ext cx="48191" cy="27628"/>
            </a:xfrm>
            <a:custGeom>
              <a:avLst/>
              <a:gdLst>
                <a:gd name="T0" fmla="*/ 38 w 314"/>
                <a:gd name="T1" fmla="*/ 90 h 180"/>
                <a:gd name="T2" fmla="*/ 71 w 314"/>
                <a:gd name="T3" fmla="*/ 50 h 180"/>
                <a:gd name="T4" fmla="*/ 76 w 314"/>
                <a:gd name="T5" fmla="*/ 38 h 180"/>
                <a:gd name="T6" fmla="*/ 71 w 314"/>
                <a:gd name="T7" fmla="*/ 38 h 180"/>
                <a:gd name="T8" fmla="*/ 76 w 314"/>
                <a:gd name="T9" fmla="*/ 28 h 180"/>
                <a:gd name="T10" fmla="*/ 97 w 314"/>
                <a:gd name="T11" fmla="*/ 33 h 180"/>
                <a:gd name="T12" fmla="*/ 113 w 314"/>
                <a:gd name="T13" fmla="*/ 17 h 180"/>
                <a:gd name="T14" fmla="*/ 184 w 314"/>
                <a:gd name="T15" fmla="*/ 17 h 180"/>
                <a:gd name="T16" fmla="*/ 184 w 314"/>
                <a:gd name="T17" fmla="*/ 10 h 180"/>
                <a:gd name="T18" fmla="*/ 168 w 314"/>
                <a:gd name="T19" fmla="*/ 10 h 180"/>
                <a:gd name="T20" fmla="*/ 184 w 314"/>
                <a:gd name="T21" fmla="*/ 0 h 180"/>
                <a:gd name="T22" fmla="*/ 194 w 314"/>
                <a:gd name="T23" fmla="*/ 0 h 180"/>
                <a:gd name="T24" fmla="*/ 194 w 314"/>
                <a:gd name="T25" fmla="*/ 10 h 180"/>
                <a:gd name="T26" fmla="*/ 231 w 314"/>
                <a:gd name="T27" fmla="*/ 10 h 180"/>
                <a:gd name="T28" fmla="*/ 253 w 314"/>
                <a:gd name="T29" fmla="*/ 28 h 180"/>
                <a:gd name="T30" fmla="*/ 260 w 314"/>
                <a:gd name="T31" fmla="*/ 33 h 180"/>
                <a:gd name="T32" fmla="*/ 253 w 314"/>
                <a:gd name="T33" fmla="*/ 50 h 180"/>
                <a:gd name="T34" fmla="*/ 248 w 314"/>
                <a:gd name="T35" fmla="*/ 66 h 180"/>
                <a:gd name="T36" fmla="*/ 253 w 314"/>
                <a:gd name="T37" fmla="*/ 66 h 180"/>
                <a:gd name="T38" fmla="*/ 276 w 314"/>
                <a:gd name="T39" fmla="*/ 73 h 180"/>
                <a:gd name="T40" fmla="*/ 276 w 314"/>
                <a:gd name="T41" fmla="*/ 83 h 180"/>
                <a:gd name="T42" fmla="*/ 293 w 314"/>
                <a:gd name="T43" fmla="*/ 90 h 180"/>
                <a:gd name="T44" fmla="*/ 307 w 314"/>
                <a:gd name="T45" fmla="*/ 73 h 180"/>
                <a:gd name="T46" fmla="*/ 314 w 314"/>
                <a:gd name="T47" fmla="*/ 83 h 180"/>
                <a:gd name="T48" fmla="*/ 314 w 314"/>
                <a:gd name="T49" fmla="*/ 111 h 180"/>
                <a:gd name="T50" fmla="*/ 302 w 314"/>
                <a:gd name="T51" fmla="*/ 106 h 180"/>
                <a:gd name="T52" fmla="*/ 286 w 314"/>
                <a:gd name="T53" fmla="*/ 111 h 180"/>
                <a:gd name="T54" fmla="*/ 286 w 314"/>
                <a:gd name="T55" fmla="*/ 123 h 180"/>
                <a:gd name="T56" fmla="*/ 293 w 314"/>
                <a:gd name="T57" fmla="*/ 128 h 180"/>
                <a:gd name="T58" fmla="*/ 293 w 314"/>
                <a:gd name="T59" fmla="*/ 147 h 180"/>
                <a:gd name="T60" fmla="*/ 276 w 314"/>
                <a:gd name="T61" fmla="*/ 128 h 180"/>
                <a:gd name="T62" fmla="*/ 253 w 314"/>
                <a:gd name="T63" fmla="*/ 139 h 180"/>
                <a:gd name="T64" fmla="*/ 248 w 314"/>
                <a:gd name="T65" fmla="*/ 123 h 180"/>
                <a:gd name="T66" fmla="*/ 231 w 314"/>
                <a:gd name="T67" fmla="*/ 123 h 180"/>
                <a:gd name="T68" fmla="*/ 231 w 314"/>
                <a:gd name="T69" fmla="*/ 139 h 180"/>
                <a:gd name="T70" fmla="*/ 215 w 314"/>
                <a:gd name="T71" fmla="*/ 168 h 180"/>
                <a:gd name="T72" fmla="*/ 222 w 314"/>
                <a:gd name="T73" fmla="*/ 168 h 180"/>
                <a:gd name="T74" fmla="*/ 215 w 314"/>
                <a:gd name="T75" fmla="*/ 180 h 180"/>
                <a:gd name="T76" fmla="*/ 201 w 314"/>
                <a:gd name="T77" fmla="*/ 163 h 180"/>
                <a:gd name="T78" fmla="*/ 201 w 314"/>
                <a:gd name="T79" fmla="*/ 151 h 180"/>
                <a:gd name="T80" fmla="*/ 177 w 314"/>
                <a:gd name="T81" fmla="*/ 147 h 180"/>
                <a:gd name="T82" fmla="*/ 177 w 314"/>
                <a:gd name="T83" fmla="*/ 123 h 180"/>
                <a:gd name="T84" fmla="*/ 163 w 314"/>
                <a:gd name="T85" fmla="*/ 123 h 180"/>
                <a:gd name="T86" fmla="*/ 151 w 314"/>
                <a:gd name="T87" fmla="*/ 151 h 180"/>
                <a:gd name="T88" fmla="*/ 130 w 314"/>
                <a:gd name="T89" fmla="*/ 168 h 180"/>
                <a:gd name="T90" fmla="*/ 125 w 314"/>
                <a:gd name="T91" fmla="*/ 168 h 180"/>
                <a:gd name="T92" fmla="*/ 87 w 314"/>
                <a:gd name="T93" fmla="*/ 180 h 180"/>
                <a:gd name="T94" fmla="*/ 76 w 314"/>
                <a:gd name="T95" fmla="*/ 168 h 180"/>
                <a:gd name="T96" fmla="*/ 59 w 314"/>
                <a:gd name="T97" fmla="*/ 151 h 180"/>
                <a:gd name="T98" fmla="*/ 59 w 314"/>
                <a:gd name="T99" fmla="*/ 128 h 180"/>
                <a:gd name="T100" fmla="*/ 54 w 314"/>
                <a:gd name="T101" fmla="*/ 123 h 180"/>
                <a:gd name="T102" fmla="*/ 21 w 314"/>
                <a:gd name="T103" fmla="*/ 128 h 180"/>
                <a:gd name="T104" fmla="*/ 21 w 314"/>
                <a:gd name="T105" fmla="*/ 147 h 180"/>
                <a:gd name="T106" fmla="*/ 5 w 314"/>
                <a:gd name="T107" fmla="*/ 151 h 180"/>
                <a:gd name="T108" fmla="*/ 0 w 314"/>
                <a:gd name="T109" fmla="*/ 147 h 180"/>
                <a:gd name="T110" fmla="*/ 16 w 314"/>
                <a:gd name="T111" fmla="*/ 139 h 180"/>
                <a:gd name="T112" fmla="*/ 16 w 314"/>
                <a:gd name="T113" fmla="*/ 128 h 180"/>
                <a:gd name="T114" fmla="*/ 5 w 314"/>
                <a:gd name="T115" fmla="*/ 123 h 180"/>
                <a:gd name="T116" fmla="*/ 16 w 314"/>
                <a:gd name="T117" fmla="*/ 111 h 180"/>
                <a:gd name="T118" fmla="*/ 33 w 314"/>
                <a:gd name="T119" fmla="*/ 95 h 180"/>
                <a:gd name="T120" fmla="*/ 38 w 314"/>
                <a:gd name="T121" fmla="*/ 90 h 180"/>
                <a:gd name="T122" fmla="*/ 38 w 314"/>
                <a:gd name="T123" fmla="*/ 90 h 180"/>
                <a:gd name="T124" fmla="*/ 38 w 314"/>
                <a:gd name="T125" fmla="*/ 90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14" h="180">
                  <a:moveTo>
                    <a:pt x="38" y="90"/>
                  </a:moveTo>
                  <a:lnTo>
                    <a:pt x="71" y="50"/>
                  </a:lnTo>
                  <a:lnTo>
                    <a:pt x="76" y="38"/>
                  </a:lnTo>
                  <a:lnTo>
                    <a:pt x="71" y="38"/>
                  </a:lnTo>
                  <a:lnTo>
                    <a:pt x="76" y="28"/>
                  </a:lnTo>
                  <a:lnTo>
                    <a:pt x="97" y="33"/>
                  </a:lnTo>
                  <a:lnTo>
                    <a:pt x="113" y="17"/>
                  </a:lnTo>
                  <a:lnTo>
                    <a:pt x="184" y="17"/>
                  </a:lnTo>
                  <a:lnTo>
                    <a:pt x="184" y="10"/>
                  </a:lnTo>
                  <a:lnTo>
                    <a:pt x="168" y="10"/>
                  </a:lnTo>
                  <a:lnTo>
                    <a:pt x="184" y="0"/>
                  </a:lnTo>
                  <a:lnTo>
                    <a:pt x="194" y="0"/>
                  </a:lnTo>
                  <a:lnTo>
                    <a:pt x="194" y="10"/>
                  </a:lnTo>
                  <a:lnTo>
                    <a:pt x="231" y="10"/>
                  </a:lnTo>
                  <a:lnTo>
                    <a:pt x="253" y="28"/>
                  </a:lnTo>
                  <a:lnTo>
                    <a:pt x="260" y="33"/>
                  </a:lnTo>
                  <a:lnTo>
                    <a:pt x="253" y="50"/>
                  </a:lnTo>
                  <a:lnTo>
                    <a:pt x="248" y="66"/>
                  </a:lnTo>
                  <a:lnTo>
                    <a:pt x="253" y="66"/>
                  </a:lnTo>
                  <a:lnTo>
                    <a:pt x="276" y="73"/>
                  </a:lnTo>
                  <a:lnTo>
                    <a:pt x="276" y="83"/>
                  </a:lnTo>
                  <a:lnTo>
                    <a:pt x="293" y="90"/>
                  </a:lnTo>
                  <a:lnTo>
                    <a:pt x="307" y="73"/>
                  </a:lnTo>
                  <a:lnTo>
                    <a:pt x="314" y="83"/>
                  </a:lnTo>
                  <a:lnTo>
                    <a:pt x="314" y="111"/>
                  </a:lnTo>
                  <a:lnTo>
                    <a:pt x="302" y="106"/>
                  </a:lnTo>
                  <a:lnTo>
                    <a:pt x="286" y="111"/>
                  </a:lnTo>
                  <a:lnTo>
                    <a:pt x="286" y="123"/>
                  </a:lnTo>
                  <a:lnTo>
                    <a:pt x="293" y="128"/>
                  </a:lnTo>
                  <a:lnTo>
                    <a:pt x="293" y="147"/>
                  </a:lnTo>
                  <a:lnTo>
                    <a:pt x="276" y="128"/>
                  </a:lnTo>
                  <a:lnTo>
                    <a:pt x="253" y="139"/>
                  </a:lnTo>
                  <a:lnTo>
                    <a:pt x="248" y="123"/>
                  </a:lnTo>
                  <a:lnTo>
                    <a:pt x="231" y="123"/>
                  </a:lnTo>
                  <a:lnTo>
                    <a:pt x="231" y="139"/>
                  </a:lnTo>
                  <a:lnTo>
                    <a:pt x="215" y="168"/>
                  </a:lnTo>
                  <a:lnTo>
                    <a:pt x="222" y="168"/>
                  </a:lnTo>
                  <a:lnTo>
                    <a:pt x="215" y="180"/>
                  </a:lnTo>
                  <a:lnTo>
                    <a:pt x="201" y="163"/>
                  </a:lnTo>
                  <a:lnTo>
                    <a:pt x="201" y="151"/>
                  </a:lnTo>
                  <a:lnTo>
                    <a:pt x="177" y="147"/>
                  </a:lnTo>
                  <a:lnTo>
                    <a:pt x="177" y="123"/>
                  </a:lnTo>
                  <a:lnTo>
                    <a:pt x="163" y="123"/>
                  </a:lnTo>
                  <a:lnTo>
                    <a:pt x="151" y="151"/>
                  </a:lnTo>
                  <a:lnTo>
                    <a:pt x="130" y="168"/>
                  </a:lnTo>
                  <a:lnTo>
                    <a:pt x="125" y="168"/>
                  </a:lnTo>
                  <a:lnTo>
                    <a:pt x="87" y="180"/>
                  </a:lnTo>
                  <a:lnTo>
                    <a:pt x="76" y="168"/>
                  </a:lnTo>
                  <a:lnTo>
                    <a:pt x="59" y="151"/>
                  </a:lnTo>
                  <a:lnTo>
                    <a:pt x="59" y="128"/>
                  </a:lnTo>
                  <a:lnTo>
                    <a:pt x="54" y="123"/>
                  </a:lnTo>
                  <a:lnTo>
                    <a:pt x="21" y="128"/>
                  </a:lnTo>
                  <a:lnTo>
                    <a:pt x="21" y="147"/>
                  </a:lnTo>
                  <a:lnTo>
                    <a:pt x="5" y="151"/>
                  </a:lnTo>
                  <a:lnTo>
                    <a:pt x="0" y="147"/>
                  </a:lnTo>
                  <a:lnTo>
                    <a:pt x="16" y="139"/>
                  </a:lnTo>
                  <a:lnTo>
                    <a:pt x="16" y="128"/>
                  </a:lnTo>
                  <a:lnTo>
                    <a:pt x="5" y="123"/>
                  </a:lnTo>
                  <a:lnTo>
                    <a:pt x="16" y="111"/>
                  </a:lnTo>
                  <a:lnTo>
                    <a:pt x="33" y="95"/>
                  </a:lnTo>
                  <a:lnTo>
                    <a:pt x="38" y="90"/>
                  </a:lnTo>
                  <a:lnTo>
                    <a:pt x="38" y="90"/>
                  </a:lnTo>
                  <a:lnTo>
                    <a:pt x="38" y="90"/>
                  </a:lnTo>
                  <a:close/>
                </a:path>
              </a:pathLst>
            </a:custGeom>
            <a:solidFill>
              <a:schemeClr val="bg2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21" name="Freeform 565">
              <a:extLst>
                <a:ext uri="{FF2B5EF4-FFF2-40B4-BE49-F238E27FC236}">
                  <a16:creationId xmlns:a16="http://schemas.microsoft.com/office/drawing/2014/main" id="{8D5A0B4A-7375-4012-86D1-E079341AFABB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716893" y="2446627"/>
              <a:ext cx="50033" cy="40215"/>
            </a:xfrm>
            <a:custGeom>
              <a:avLst/>
              <a:gdLst>
                <a:gd name="T0" fmla="*/ 326 w 326"/>
                <a:gd name="T1" fmla="*/ 97 h 262"/>
                <a:gd name="T2" fmla="*/ 312 w 326"/>
                <a:gd name="T3" fmla="*/ 106 h 262"/>
                <a:gd name="T4" fmla="*/ 304 w 326"/>
                <a:gd name="T5" fmla="*/ 97 h 262"/>
                <a:gd name="T6" fmla="*/ 312 w 326"/>
                <a:gd name="T7" fmla="*/ 97 h 262"/>
                <a:gd name="T8" fmla="*/ 304 w 326"/>
                <a:gd name="T9" fmla="*/ 90 h 262"/>
                <a:gd name="T10" fmla="*/ 288 w 326"/>
                <a:gd name="T11" fmla="*/ 97 h 262"/>
                <a:gd name="T12" fmla="*/ 288 w 326"/>
                <a:gd name="T13" fmla="*/ 146 h 262"/>
                <a:gd name="T14" fmla="*/ 304 w 326"/>
                <a:gd name="T15" fmla="*/ 146 h 262"/>
                <a:gd name="T16" fmla="*/ 304 w 326"/>
                <a:gd name="T17" fmla="*/ 151 h 262"/>
                <a:gd name="T18" fmla="*/ 274 w 326"/>
                <a:gd name="T19" fmla="*/ 163 h 262"/>
                <a:gd name="T20" fmla="*/ 274 w 326"/>
                <a:gd name="T21" fmla="*/ 179 h 262"/>
                <a:gd name="T22" fmla="*/ 252 w 326"/>
                <a:gd name="T23" fmla="*/ 234 h 262"/>
                <a:gd name="T24" fmla="*/ 252 w 326"/>
                <a:gd name="T25" fmla="*/ 262 h 262"/>
                <a:gd name="T26" fmla="*/ 245 w 326"/>
                <a:gd name="T27" fmla="*/ 262 h 262"/>
                <a:gd name="T28" fmla="*/ 71 w 326"/>
                <a:gd name="T29" fmla="*/ 241 h 262"/>
                <a:gd name="T30" fmla="*/ 0 w 326"/>
                <a:gd name="T31" fmla="*/ 151 h 262"/>
                <a:gd name="T32" fmla="*/ 0 w 326"/>
                <a:gd name="T33" fmla="*/ 146 h 262"/>
                <a:gd name="T34" fmla="*/ 7 w 326"/>
                <a:gd name="T35" fmla="*/ 146 h 262"/>
                <a:gd name="T36" fmla="*/ 16 w 326"/>
                <a:gd name="T37" fmla="*/ 163 h 262"/>
                <a:gd name="T38" fmla="*/ 33 w 326"/>
                <a:gd name="T39" fmla="*/ 167 h 262"/>
                <a:gd name="T40" fmla="*/ 54 w 326"/>
                <a:gd name="T41" fmla="*/ 163 h 262"/>
                <a:gd name="T42" fmla="*/ 71 w 326"/>
                <a:gd name="T43" fmla="*/ 146 h 262"/>
                <a:gd name="T44" fmla="*/ 139 w 326"/>
                <a:gd name="T45" fmla="*/ 163 h 262"/>
                <a:gd name="T46" fmla="*/ 177 w 326"/>
                <a:gd name="T47" fmla="*/ 151 h 262"/>
                <a:gd name="T48" fmla="*/ 198 w 326"/>
                <a:gd name="T49" fmla="*/ 146 h 262"/>
                <a:gd name="T50" fmla="*/ 198 w 326"/>
                <a:gd name="T51" fmla="*/ 130 h 262"/>
                <a:gd name="T52" fmla="*/ 203 w 326"/>
                <a:gd name="T53" fmla="*/ 130 h 262"/>
                <a:gd name="T54" fmla="*/ 215 w 326"/>
                <a:gd name="T55" fmla="*/ 106 h 262"/>
                <a:gd name="T56" fmla="*/ 245 w 326"/>
                <a:gd name="T57" fmla="*/ 78 h 262"/>
                <a:gd name="T58" fmla="*/ 274 w 326"/>
                <a:gd name="T59" fmla="*/ 40 h 262"/>
                <a:gd name="T60" fmla="*/ 283 w 326"/>
                <a:gd name="T61" fmla="*/ 40 h 262"/>
                <a:gd name="T62" fmla="*/ 300 w 326"/>
                <a:gd name="T63" fmla="*/ 35 h 262"/>
                <a:gd name="T64" fmla="*/ 312 w 326"/>
                <a:gd name="T65" fmla="*/ 0 h 262"/>
                <a:gd name="T66" fmla="*/ 321 w 326"/>
                <a:gd name="T67" fmla="*/ 12 h 262"/>
                <a:gd name="T68" fmla="*/ 312 w 326"/>
                <a:gd name="T69" fmla="*/ 35 h 262"/>
                <a:gd name="T70" fmla="*/ 326 w 326"/>
                <a:gd name="T71" fmla="*/ 35 h 262"/>
                <a:gd name="T72" fmla="*/ 326 w 326"/>
                <a:gd name="T73" fmla="*/ 40 h 262"/>
                <a:gd name="T74" fmla="*/ 326 w 326"/>
                <a:gd name="T75" fmla="*/ 90 h 262"/>
                <a:gd name="T76" fmla="*/ 326 w 326"/>
                <a:gd name="T77" fmla="*/ 97 h 262"/>
                <a:gd name="T78" fmla="*/ 326 w 326"/>
                <a:gd name="T79" fmla="*/ 97 h 262"/>
                <a:gd name="T80" fmla="*/ 326 w 326"/>
                <a:gd name="T81" fmla="*/ 97 h 262"/>
                <a:gd name="T82" fmla="*/ 198 w 326"/>
                <a:gd name="T83" fmla="*/ 130 h 262"/>
                <a:gd name="T84" fmla="*/ 193 w 326"/>
                <a:gd name="T85" fmla="*/ 130 h 262"/>
                <a:gd name="T86" fmla="*/ 193 w 326"/>
                <a:gd name="T87" fmla="*/ 123 h 262"/>
                <a:gd name="T88" fmla="*/ 198 w 326"/>
                <a:gd name="T89" fmla="*/ 130 h 262"/>
                <a:gd name="T90" fmla="*/ 198 w 326"/>
                <a:gd name="T91" fmla="*/ 130 h 262"/>
                <a:gd name="T92" fmla="*/ 198 w 326"/>
                <a:gd name="T93" fmla="*/ 130 h 262"/>
                <a:gd name="T94" fmla="*/ 71 w 326"/>
                <a:gd name="T95" fmla="*/ 146 h 262"/>
                <a:gd name="T96" fmla="*/ 71 w 326"/>
                <a:gd name="T97" fmla="*/ 134 h 262"/>
                <a:gd name="T98" fmla="*/ 75 w 326"/>
                <a:gd name="T99" fmla="*/ 134 h 262"/>
                <a:gd name="T100" fmla="*/ 71 w 326"/>
                <a:gd name="T101" fmla="*/ 146 h 262"/>
                <a:gd name="T102" fmla="*/ 71 w 326"/>
                <a:gd name="T103" fmla="*/ 146 h 262"/>
                <a:gd name="T104" fmla="*/ 71 w 326"/>
                <a:gd name="T105" fmla="*/ 146 h 262"/>
                <a:gd name="T106" fmla="*/ 151 w 326"/>
                <a:gd name="T107" fmla="*/ 151 h 262"/>
                <a:gd name="T108" fmla="*/ 144 w 326"/>
                <a:gd name="T109" fmla="*/ 151 h 262"/>
                <a:gd name="T110" fmla="*/ 160 w 326"/>
                <a:gd name="T111" fmla="*/ 146 h 262"/>
                <a:gd name="T112" fmla="*/ 165 w 326"/>
                <a:gd name="T113" fmla="*/ 146 h 262"/>
                <a:gd name="T114" fmla="*/ 151 w 326"/>
                <a:gd name="T115" fmla="*/ 151 h 262"/>
                <a:gd name="T116" fmla="*/ 151 w 326"/>
                <a:gd name="T117" fmla="*/ 151 h 262"/>
                <a:gd name="T118" fmla="*/ 151 w 326"/>
                <a:gd name="T119" fmla="*/ 151 h 2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26" h="262">
                  <a:moveTo>
                    <a:pt x="326" y="97"/>
                  </a:moveTo>
                  <a:lnTo>
                    <a:pt x="312" y="106"/>
                  </a:lnTo>
                  <a:lnTo>
                    <a:pt x="304" y="97"/>
                  </a:lnTo>
                  <a:lnTo>
                    <a:pt x="312" y="97"/>
                  </a:lnTo>
                  <a:lnTo>
                    <a:pt x="304" y="90"/>
                  </a:lnTo>
                  <a:lnTo>
                    <a:pt x="288" y="97"/>
                  </a:lnTo>
                  <a:lnTo>
                    <a:pt x="288" y="146"/>
                  </a:lnTo>
                  <a:lnTo>
                    <a:pt x="304" y="146"/>
                  </a:lnTo>
                  <a:lnTo>
                    <a:pt x="304" y="151"/>
                  </a:lnTo>
                  <a:lnTo>
                    <a:pt x="274" y="163"/>
                  </a:lnTo>
                  <a:lnTo>
                    <a:pt x="274" y="179"/>
                  </a:lnTo>
                  <a:lnTo>
                    <a:pt x="252" y="234"/>
                  </a:lnTo>
                  <a:lnTo>
                    <a:pt x="252" y="262"/>
                  </a:lnTo>
                  <a:lnTo>
                    <a:pt x="245" y="262"/>
                  </a:lnTo>
                  <a:lnTo>
                    <a:pt x="71" y="241"/>
                  </a:lnTo>
                  <a:lnTo>
                    <a:pt x="0" y="151"/>
                  </a:lnTo>
                  <a:lnTo>
                    <a:pt x="0" y="146"/>
                  </a:lnTo>
                  <a:lnTo>
                    <a:pt x="7" y="146"/>
                  </a:lnTo>
                  <a:lnTo>
                    <a:pt x="16" y="163"/>
                  </a:lnTo>
                  <a:lnTo>
                    <a:pt x="33" y="167"/>
                  </a:lnTo>
                  <a:lnTo>
                    <a:pt x="54" y="163"/>
                  </a:lnTo>
                  <a:lnTo>
                    <a:pt x="71" y="146"/>
                  </a:lnTo>
                  <a:lnTo>
                    <a:pt x="139" y="163"/>
                  </a:lnTo>
                  <a:lnTo>
                    <a:pt x="177" y="151"/>
                  </a:lnTo>
                  <a:lnTo>
                    <a:pt x="198" y="146"/>
                  </a:lnTo>
                  <a:lnTo>
                    <a:pt x="198" y="130"/>
                  </a:lnTo>
                  <a:lnTo>
                    <a:pt x="203" y="130"/>
                  </a:lnTo>
                  <a:lnTo>
                    <a:pt x="215" y="106"/>
                  </a:lnTo>
                  <a:lnTo>
                    <a:pt x="245" y="78"/>
                  </a:lnTo>
                  <a:lnTo>
                    <a:pt x="274" y="40"/>
                  </a:lnTo>
                  <a:lnTo>
                    <a:pt x="283" y="40"/>
                  </a:lnTo>
                  <a:lnTo>
                    <a:pt x="300" y="35"/>
                  </a:lnTo>
                  <a:lnTo>
                    <a:pt x="312" y="0"/>
                  </a:lnTo>
                  <a:lnTo>
                    <a:pt x="321" y="12"/>
                  </a:lnTo>
                  <a:lnTo>
                    <a:pt x="312" y="35"/>
                  </a:lnTo>
                  <a:lnTo>
                    <a:pt x="326" y="35"/>
                  </a:lnTo>
                  <a:lnTo>
                    <a:pt x="326" y="40"/>
                  </a:lnTo>
                  <a:lnTo>
                    <a:pt x="326" y="90"/>
                  </a:lnTo>
                  <a:lnTo>
                    <a:pt x="326" y="97"/>
                  </a:lnTo>
                  <a:lnTo>
                    <a:pt x="326" y="97"/>
                  </a:lnTo>
                  <a:lnTo>
                    <a:pt x="326" y="97"/>
                  </a:lnTo>
                  <a:close/>
                  <a:moveTo>
                    <a:pt x="198" y="130"/>
                  </a:moveTo>
                  <a:lnTo>
                    <a:pt x="193" y="130"/>
                  </a:lnTo>
                  <a:lnTo>
                    <a:pt x="193" y="123"/>
                  </a:lnTo>
                  <a:lnTo>
                    <a:pt x="198" y="130"/>
                  </a:lnTo>
                  <a:lnTo>
                    <a:pt x="198" y="130"/>
                  </a:lnTo>
                  <a:lnTo>
                    <a:pt x="198" y="130"/>
                  </a:lnTo>
                  <a:close/>
                  <a:moveTo>
                    <a:pt x="71" y="146"/>
                  </a:moveTo>
                  <a:lnTo>
                    <a:pt x="71" y="134"/>
                  </a:lnTo>
                  <a:lnTo>
                    <a:pt x="75" y="134"/>
                  </a:lnTo>
                  <a:lnTo>
                    <a:pt x="71" y="146"/>
                  </a:lnTo>
                  <a:lnTo>
                    <a:pt x="71" y="146"/>
                  </a:lnTo>
                  <a:lnTo>
                    <a:pt x="71" y="146"/>
                  </a:lnTo>
                  <a:close/>
                  <a:moveTo>
                    <a:pt x="151" y="151"/>
                  </a:moveTo>
                  <a:lnTo>
                    <a:pt x="144" y="151"/>
                  </a:lnTo>
                  <a:lnTo>
                    <a:pt x="160" y="146"/>
                  </a:lnTo>
                  <a:lnTo>
                    <a:pt x="165" y="146"/>
                  </a:lnTo>
                  <a:lnTo>
                    <a:pt x="151" y="151"/>
                  </a:lnTo>
                  <a:lnTo>
                    <a:pt x="151" y="151"/>
                  </a:lnTo>
                  <a:lnTo>
                    <a:pt x="151" y="151"/>
                  </a:lnTo>
                  <a:close/>
                </a:path>
              </a:pathLst>
            </a:custGeom>
            <a:solidFill>
              <a:schemeClr val="bg2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22" name="Freeform 566">
              <a:extLst>
                <a:ext uri="{FF2B5EF4-FFF2-40B4-BE49-F238E27FC236}">
                  <a16:creationId xmlns:a16="http://schemas.microsoft.com/office/drawing/2014/main" id="{5C9C1328-66F1-4F67-A1DD-182A679A555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494772" y="2616697"/>
              <a:ext cx="15501" cy="14428"/>
            </a:xfrm>
            <a:custGeom>
              <a:avLst/>
              <a:gdLst>
                <a:gd name="T0" fmla="*/ 80 w 101"/>
                <a:gd name="T1" fmla="*/ 16 h 94"/>
                <a:gd name="T2" fmla="*/ 80 w 101"/>
                <a:gd name="T3" fmla="*/ 16 h 94"/>
                <a:gd name="T4" fmla="*/ 101 w 101"/>
                <a:gd name="T5" fmla="*/ 0 h 94"/>
                <a:gd name="T6" fmla="*/ 101 w 101"/>
                <a:gd name="T7" fmla="*/ 4 h 94"/>
                <a:gd name="T8" fmla="*/ 80 w 101"/>
                <a:gd name="T9" fmla="*/ 16 h 94"/>
                <a:gd name="T10" fmla="*/ 80 w 101"/>
                <a:gd name="T11" fmla="*/ 16 h 94"/>
                <a:gd name="T12" fmla="*/ 80 w 101"/>
                <a:gd name="T13" fmla="*/ 16 h 94"/>
                <a:gd name="T14" fmla="*/ 64 w 101"/>
                <a:gd name="T15" fmla="*/ 40 h 94"/>
                <a:gd name="T16" fmla="*/ 68 w 101"/>
                <a:gd name="T17" fmla="*/ 40 h 94"/>
                <a:gd name="T18" fmla="*/ 64 w 101"/>
                <a:gd name="T19" fmla="*/ 44 h 94"/>
                <a:gd name="T20" fmla="*/ 64 w 101"/>
                <a:gd name="T21" fmla="*/ 89 h 94"/>
                <a:gd name="T22" fmla="*/ 0 w 101"/>
                <a:gd name="T23" fmla="*/ 94 h 94"/>
                <a:gd name="T24" fmla="*/ 31 w 101"/>
                <a:gd name="T25" fmla="*/ 78 h 94"/>
                <a:gd name="T26" fmla="*/ 31 w 101"/>
                <a:gd name="T27" fmla="*/ 56 h 94"/>
                <a:gd name="T28" fmla="*/ 14 w 101"/>
                <a:gd name="T29" fmla="*/ 44 h 94"/>
                <a:gd name="T30" fmla="*/ 64 w 101"/>
                <a:gd name="T31" fmla="*/ 40 h 94"/>
                <a:gd name="T32" fmla="*/ 64 w 101"/>
                <a:gd name="T33" fmla="*/ 40 h 94"/>
                <a:gd name="T34" fmla="*/ 64 w 101"/>
                <a:gd name="T35" fmla="*/ 40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01" h="94">
                  <a:moveTo>
                    <a:pt x="80" y="16"/>
                  </a:moveTo>
                  <a:lnTo>
                    <a:pt x="80" y="16"/>
                  </a:lnTo>
                  <a:lnTo>
                    <a:pt x="101" y="0"/>
                  </a:lnTo>
                  <a:lnTo>
                    <a:pt x="101" y="4"/>
                  </a:lnTo>
                  <a:lnTo>
                    <a:pt x="80" y="16"/>
                  </a:lnTo>
                  <a:lnTo>
                    <a:pt x="80" y="16"/>
                  </a:lnTo>
                  <a:lnTo>
                    <a:pt x="80" y="16"/>
                  </a:lnTo>
                  <a:close/>
                  <a:moveTo>
                    <a:pt x="64" y="40"/>
                  </a:moveTo>
                  <a:lnTo>
                    <a:pt x="68" y="40"/>
                  </a:lnTo>
                  <a:lnTo>
                    <a:pt x="64" y="44"/>
                  </a:lnTo>
                  <a:lnTo>
                    <a:pt x="64" y="89"/>
                  </a:lnTo>
                  <a:lnTo>
                    <a:pt x="0" y="94"/>
                  </a:lnTo>
                  <a:lnTo>
                    <a:pt x="31" y="78"/>
                  </a:lnTo>
                  <a:lnTo>
                    <a:pt x="31" y="56"/>
                  </a:lnTo>
                  <a:lnTo>
                    <a:pt x="14" y="44"/>
                  </a:lnTo>
                  <a:lnTo>
                    <a:pt x="64" y="40"/>
                  </a:lnTo>
                  <a:lnTo>
                    <a:pt x="64" y="40"/>
                  </a:lnTo>
                  <a:lnTo>
                    <a:pt x="64" y="40"/>
                  </a:lnTo>
                  <a:close/>
                </a:path>
              </a:pathLst>
            </a:custGeom>
            <a:solidFill>
              <a:schemeClr val="bg2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23" name="Freeform 567">
              <a:extLst>
                <a:ext uri="{FF2B5EF4-FFF2-40B4-BE49-F238E27FC236}">
                  <a16:creationId xmlns:a16="http://schemas.microsoft.com/office/drawing/2014/main" id="{94C11735-1023-4F51-8019-E5A6BD7921B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208780" y="2512629"/>
              <a:ext cx="89169" cy="166692"/>
            </a:xfrm>
            <a:custGeom>
              <a:avLst/>
              <a:gdLst>
                <a:gd name="T0" fmla="*/ 298 w 581"/>
                <a:gd name="T1" fmla="*/ 1070 h 1086"/>
                <a:gd name="T2" fmla="*/ 267 w 581"/>
                <a:gd name="T3" fmla="*/ 1046 h 1086"/>
                <a:gd name="T4" fmla="*/ 217 w 581"/>
                <a:gd name="T5" fmla="*/ 1025 h 1086"/>
                <a:gd name="T6" fmla="*/ 196 w 581"/>
                <a:gd name="T7" fmla="*/ 1025 h 1086"/>
                <a:gd name="T8" fmla="*/ 147 w 581"/>
                <a:gd name="T9" fmla="*/ 968 h 1086"/>
                <a:gd name="T10" fmla="*/ 121 w 581"/>
                <a:gd name="T11" fmla="*/ 930 h 1086"/>
                <a:gd name="T12" fmla="*/ 92 w 581"/>
                <a:gd name="T13" fmla="*/ 885 h 1086"/>
                <a:gd name="T14" fmla="*/ 66 w 581"/>
                <a:gd name="T15" fmla="*/ 881 h 1086"/>
                <a:gd name="T16" fmla="*/ 104 w 581"/>
                <a:gd name="T17" fmla="*/ 720 h 1086"/>
                <a:gd name="T18" fmla="*/ 147 w 581"/>
                <a:gd name="T19" fmla="*/ 588 h 1086"/>
                <a:gd name="T20" fmla="*/ 137 w 581"/>
                <a:gd name="T21" fmla="*/ 543 h 1086"/>
                <a:gd name="T22" fmla="*/ 71 w 581"/>
                <a:gd name="T23" fmla="*/ 432 h 1086"/>
                <a:gd name="T24" fmla="*/ 88 w 581"/>
                <a:gd name="T25" fmla="*/ 382 h 1086"/>
                <a:gd name="T26" fmla="*/ 109 w 581"/>
                <a:gd name="T27" fmla="*/ 304 h 1086"/>
                <a:gd name="T28" fmla="*/ 33 w 581"/>
                <a:gd name="T29" fmla="*/ 210 h 1086"/>
                <a:gd name="T30" fmla="*/ 12 w 581"/>
                <a:gd name="T31" fmla="*/ 156 h 1086"/>
                <a:gd name="T32" fmla="*/ 33 w 581"/>
                <a:gd name="T33" fmla="*/ 82 h 1086"/>
                <a:gd name="T34" fmla="*/ 66 w 581"/>
                <a:gd name="T35" fmla="*/ 56 h 1086"/>
                <a:gd name="T36" fmla="*/ 147 w 581"/>
                <a:gd name="T37" fmla="*/ 28 h 1086"/>
                <a:gd name="T38" fmla="*/ 191 w 581"/>
                <a:gd name="T39" fmla="*/ 0 h 1086"/>
                <a:gd name="T40" fmla="*/ 217 w 581"/>
                <a:gd name="T41" fmla="*/ 28 h 1086"/>
                <a:gd name="T42" fmla="*/ 243 w 581"/>
                <a:gd name="T43" fmla="*/ 73 h 1086"/>
                <a:gd name="T44" fmla="*/ 281 w 581"/>
                <a:gd name="T45" fmla="*/ 106 h 1086"/>
                <a:gd name="T46" fmla="*/ 272 w 581"/>
                <a:gd name="T47" fmla="*/ 160 h 1086"/>
                <a:gd name="T48" fmla="*/ 298 w 581"/>
                <a:gd name="T49" fmla="*/ 200 h 1086"/>
                <a:gd name="T50" fmla="*/ 359 w 581"/>
                <a:gd name="T51" fmla="*/ 182 h 1086"/>
                <a:gd name="T52" fmla="*/ 406 w 581"/>
                <a:gd name="T53" fmla="*/ 182 h 1086"/>
                <a:gd name="T54" fmla="*/ 428 w 581"/>
                <a:gd name="T55" fmla="*/ 156 h 1086"/>
                <a:gd name="T56" fmla="*/ 527 w 581"/>
                <a:gd name="T57" fmla="*/ 238 h 1086"/>
                <a:gd name="T58" fmla="*/ 569 w 581"/>
                <a:gd name="T59" fmla="*/ 345 h 1086"/>
                <a:gd name="T60" fmla="*/ 581 w 581"/>
                <a:gd name="T61" fmla="*/ 404 h 1086"/>
                <a:gd name="T62" fmla="*/ 543 w 581"/>
                <a:gd name="T63" fmla="*/ 453 h 1086"/>
                <a:gd name="T64" fmla="*/ 414 w 581"/>
                <a:gd name="T65" fmla="*/ 453 h 1086"/>
                <a:gd name="T66" fmla="*/ 373 w 581"/>
                <a:gd name="T67" fmla="*/ 510 h 1086"/>
                <a:gd name="T68" fmla="*/ 364 w 581"/>
                <a:gd name="T69" fmla="*/ 581 h 1086"/>
                <a:gd name="T70" fmla="*/ 373 w 581"/>
                <a:gd name="T71" fmla="*/ 609 h 1086"/>
                <a:gd name="T72" fmla="*/ 359 w 581"/>
                <a:gd name="T73" fmla="*/ 604 h 1086"/>
                <a:gd name="T74" fmla="*/ 310 w 581"/>
                <a:gd name="T75" fmla="*/ 571 h 1086"/>
                <a:gd name="T76" fmla="*/ 251 w 581"/>
                <a:gd name="T77" fmla="*/ 581 h 1086"/>
                <a:gd name="T78" fmla="*/ 191 w 581"/>
                <a:gd name="T79" fmla="*/ 531 h 1086"/>
                <a:gd name="T80" fmla="*/ 163 w 581"/>
                <a:gd name="T81" fmla="*/ 666 h 1086"/>
                <a:gd name="T82" fmla="*/ 142 w 581"/>
                <a:gd name="T83" fmla="*/ 819 h 1086"/>
                <a:gd name="T84" fmla="*/ 191 w 581"/>
                <a:gd name="T85" fmla="*/ 876 h 1086"/>
                <a:gd name="T86" fmla="*/ 201 w 581"/>
                <a:gd name="T87" fmla="*/ 885 h 1086"/>
                <a:gd name="T88" fmla="*/ 213 w 581"/>
                <a:gd name="T89" fmla="*/ 935 h 1086"/>
                <a:gd name="T90" fmla="*/ 217 w 581"/>
                <a:gd name="T91" fmla="*/ 975 h 1086"/>
                <a:gd name="T92" fmla="*/ 281 w 581"/>
                <a:gd name="T93" fmla="*/ 996 h 1086"/>
                <a:gd name="T94" fmla="*/ 336 w 581"/>
                <a:gd name="T95" fmla="*/ 1046 h 1086"/>
                <a:gd name="T96" fmla="*/ 352 w 581"/>
                <a:gd name="T97" fmla="*/ 626 h 1086"/>
                <a:gd name="T98" fmla="*/ 359 w 581"/>
                <a:gd name="T99" fmla="*/ 626 h 1086"/>
                <a:gd name="T100" fmla="*/ 364 w 581"/>
                <a:gd name="T101" fmla="*/ 642 h 1086"/>
                <a:gd name="T102" fmla="*/ 196 w 581"/>
                <a:gd name="T103" fmla="*/ 791 h 1086"/>
                <a:gd name="T104" fmla="*/ 191 w 581"/>
                <a:gd name="T105" fmla="*/ 786 h 1086"/>
                <a:gd name="T106" fmla="*/ 196 w 581"/>
                <a:gd name="T107" fmla="*/ 808 h 1086"/>
                <a:gd name="T108" fmla="*/ 66 w 581"/>
                <a:gd name="T109" fmla="*/ 843 h 1086"/>
                <a:gd name="T110" fmla="*/ 71 w 581"/>
                <a:gd name="T111" fmla="*/ 843 h 1086"/>
                <a:gd name="T112" fmla="*/ 66 w 581"/>
                <a:gd name="T113" fmla="*/ 902 h 1086"/>
                <a:gd name="T114" fmla="*/ 88 w 581"/>
                <a:gd name="T115" fmla="*/ 914 h 1086"/>
                <a:gd name="T116" fmla="*/ 88 w 581"/>
                <a:gd name="T117" fmla="*/ 914 h 1086"/>
                <a:gd name="T118" fmla="*/ 158 w 581"/>
                <a:gd name="T119" fmla="*/ 1025 h 10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81" h="1086">
                  <a:moveTo>
                    <a:pt x="336" y="1046"/>
                  </a:moveTo>
                  <a:lnTo>
                    <a:pt x="321" y="1079"/>
                  </a:lnTo>
                  <a:lnTo>
                    <a:pt x="305" y="1079"/>
                  </a:lnTo>
                  <a:lnTo>
                    <a:pt x="298" y="1070"/>
                  </a:lnTo>
                  <a:lnTo>
                    <a:pt x="267" y="1086"/>
                  </a:lnTo>
                  <a:lnTo>
                    <a:pt x="255" y="1079"/>
                  </a:lnTo>
                  <a:lnTo>
                    <a:pt x="267" y="1063"/>
                  </a:lnTo>
                  <a:lnTo>
                    <a:pt x="267" y="1046"/>
                  </a:lnTo>
                  <a:lnTo>
                    <a:pt x="251" y="1046"/>
                  </a:lnTo>
                  <a:lnTo>
                    <a:pt x="243" y="1025"/>
                  </a:lnTo>
                  <a:lnTo>
                    <a:pt x="234" y="1030"/>
                  </a:lnTo>
                  <a:lnTo>
                    <a:pt x="217" y="1025"/>
                  </a:lnTo>
                  <a:lnTo>
                    <a:pt x="213" y="1013"/>
                  </a:lnTo>
                  <a:lnTo>
                    <a:pt x="201" y="1013"/>
                  </a:lnTo>
                  <a:lnTo>
                    <a:pt x="196" y="1030"/>
                  </a:lnTo>
                  <a:lnTo>
                    <a:pt x="196" y="1025"/>
                  </a:lnTo>
                  <a:lnTo>
                    <a:pt x="163" y="996"/>
                  </a:lnTo>
                  <a:lnTo>
                    <a:pt x="175" y="987"/>
                  </a:lnTo>
                  <a:lnTo>
                    <a:pt x="158" y="987"/>
                  </a:lnTo>
                  <a:lnTo>
                    <a:pt x="147" y="968"/>
                  </a:lnTo>
                  <a:lnTo>
                    <a:pt x="137" y="942"/>
                  </a:lnTo>
                  <a:lnTo>
                    <a:pt x="125" y="935"/>
                  </a:lnTo>
                  <a:lnTo>
                    <a:pt x="121" y="935"/>
                  </a:lnTo>
                  <a:lnTo>
                    <a:pt x="121" y="930"/>
                  </a:lnTo>
                  <a:lnTo>
                    <a:pt x="104" y="919"/>
                  </a:lnTo>
                  <a:lnTo>
                    <a:pt x="92" y="897"/>
                  </a:lnTo>
                  <a:lnTo>
                    <a:pt x="92" y="897"/>
                  </a:lnTo>
                  <a:lnTo>
                    <a:pt x="92" y="885"/>
                  </a:lnTo>
                  <a:lnTo>
                    <a:pt x="83" y="897"/>
                  </a:lnTo>
                  <a:lnTo>
                    <a:pt x="83" y="902"/>
                  </a:lnTo>
                  <a:lnTo>
                    <a:pt x="66" y="897"/>
                  </a:lnTo>
                  <a:lnTo>
                    <a:pt x="66" y="881"/>
                  </a:lnTo>
                  <a:lnTo>
                    <a:pt x="71" y="831"/>
                  </a:lnTo>
                  <a:lnTo>
                    <a:pt x="104" y="748"/>
                  </a:lnTo>
                  <a:lnTo>
                    <a:pt x="104" y="737"/>
                  </a:lnTo>
                  <a:lnTo>
                    <a:pt x="104" y="720"/>
                  </a:lnTo>
                  <a:lnTo>
                    <a:pt x="137" y="699"/>
                  </a:lnTo>
                  <a:lnTo>
                    <a:pt x="163" y="642"/>
                  </a:lnTo>
                  <a:lnTo>
                    <a:pt x="147" y="604"/>
                  </a:lnTo>
                  <a:lnTo>
                    <a:pt x="147" y="588"/>
                  </a:lnTo>
                  <a:lnTo>
                    <a:pt x="137" y="571"/>
                  </a:lnTo>
                  <a:lnTo>
                    <a:pt x="125" y="548"/>
                  </a:lnTo>
                  <a:lnTo>
                    <a:pt x="125" y="543"/>
                  </a:lnTo>
                  <a:lnTo>
                    <a:pt x="137" y="543"/>
                  </a:lnTo>
                  <a:lnTo>
                    <a:pt x="137" y="498"/>
                  </a:lnTo>
                  <a:lnTo>
                    <a:pt x="121" y="477"/>
                  </a:lnTo>
                  <a:lnTo>
                    <a:pt x="92" y="460"/>
                  </a:lnTo>
                  <a:lnTo>
                    <a:pt x="71" y="432"/>
                  </a:lnTo>
                  <a:lnTo>
                    <a:pt x="66" y="404"/>
                  </a:lnTo>
                  <a:lnTo>
                    <a:pt x="66" y="387"/>
                  </a:lnTo>
                  <a:lnTo>
                    <a:pt x="83" y="382"/>
                  </a:lnTo>
                  <a:lnTo>
                    <a:pt x="88" y="382"/>
                  </a:lnTo>
                  <a:lnTo>
                    <a:pt x="92" y="333"/>
                  </a:lnTo>
                  <a:lnTo>
                    <a:pt x="109" y="326"/>
                  </a:lnTo>
                  <a:lnTo>
                    <a:pt x="109" y="304"/>
                  </a:lnTo>
                  <a:lnTo>
                    <a:pt x="109" y="304"/>
                  </a:lnTo>
                  <a:lnTo>
                    <a:pt x="92" y="309"/>
                  </a:lnTo>
                  <a:lnTo>
                    <a:pt x="83" y="276"/>
                  </a:lnTo>
                  <a:lnTo>
                    <a:pt x="88" y="267"/>
                  </a:lnTo>
                  <a:lnTo>
                    <a:pt x="33" y="210"/>
                  </a:lnTo>
                  <a:lnTo>
                    <a:pt x="29" y="165"/>
                  </a:lnTo>
                  <a:lnTo>
                    <a:pt x="12" y="165"/>
                  </a:lnTo>
                  <a:lnTo>
                    <a:pt x="0" y="144"/>
                  </a:lnTo>
                  <a:lnTo>
                    <a:pt x="12" y="156"/>
                  </a:lnTo>
                  <a:lnTo>
                    <a:pt x="33" y="144"/>
                  </a:lnTo>
                  <a:lnTo>
                    <a:pt x="29" y="111"/>
                  </a:lnTo>
                  <a:lnTo>
                    <a:pt x="33" y="106"/>
                  </a:lnTo>
                  <a:lnTo>
                    <a:pt x="33" y="82"/>
                  </a:lnTo>
                  <a:lnTo>
                    <a:pt x="38" y="66"/>
                  </a:lnTo>
                  <a:lnTo>
                    <a:pt x="50" y="66"/>
                  </a:lnTo>
                  <a:lnTo>
                    <a:pt x="50" y="49"/>
                  </a:lnTo>
                  <a:lnTo>
                    <a:pt x="66" y="56"/>
                  </a:lnTo>
                  <a:lnTo>
                    <a:pt x="109" y="49"/>
                  </a:lnTo>
                  <a:lnTo>
                    <a:pt x="121" y="49"/>
                  </a:lnTo>
                  <a:lnTo>
                    <a:pt x="125" y="33"/>
                  </a:lnTo>
                  <a:lnTo>
                    <a:pt x="147" y="28"/>
                  </a:lnTo>
                  <a:lnTo>
                    <a:pt x="158" y="28"/>
                  </a:lnTo>
                  <a:lnTo>
                    <a:pt x="158" y="11"/>
                  </a:lnTo>
                  <a:lnTo>
                    <a:pt x="175" y="11"/>
                  </a:lnTo>
                  <a:lnTo>
                    <a:pt x="191" y="0"/>
                  </a:lnTo>
                  <a:lnTo>
                    <a:pt x="196" y="11"/>
                  </a:lnTo>
                  <a:lnTo>
                    <a:pt x="201" y="16"/>
                  </a:lnTo>
                  <a:lnTo>
                    <a:pt x="213" y="11"/>
                  </a:lnTo>
                  <a:lnTo>
                    <a:pt x="217" y="28"/>
                  </a:lnTo>
                  <a:lnTo>
                    <a:pt x="229" y="28"/>
                  </a:lnTo>
                  <a:lnTo>
                    <a:pt x="217" y="56"/>
                  </a:lnTo>
                  <a:lnTo>
                    <a:pt x="229" y="73"/>
                  </a:lnTo>
                  <a:lnTo>
                    <a:pt x="243" y="73"/>
                  </a:lnTo>
                  <a:lnTo>
                    <a:pt x="251" y="66"/>
                  </a:lnTo>
                  <a:lnTo>
                    <a:pt x="281" y="73"/>
                  </a:lnTo>
                  <a:lnTo>
                    <a:pt x="272" y="82"/>
                  </a:lnTo>
                  <a:lnTo>
                    <a:pt x="281" y="106"/>
                  </a:lnTo>
                  <a:lnTo>
                    <a:pt x="272" y="123"/>
                  </a:lnTo>
                  <a:lnTo>
                    <a:pt x="281" y="139"/>
                  </a:lnTo>
                  <a:lnTo>
                    <a:pt x="267" y="156"/>
                  </a:lnTo>
                  <a:lnTo>
                    <a:pt x="272" y="160"/>
                  </a:lnTo>
                  <a:lnTo>
                    <a:pt x="272" y="177"/>
                  </a:lnTo>
                  <a:lnTo>
                    <a:pt x="255" y="217"/>
                  </a:lnTo>
                  <a:lnTo>
                    <a:pt x="272" y="222"/>
                  </a:lnTo>
                  <a:lnTo>
                    <a:pt x="298" y="200"/>
                  </a:lnTo>
                  <a:lnTo>
                    <a:pt x="310" y="182"/>
                  </a:lnTo>
                  <a:lnTo>
                    <a:pt x="321" y="182"/>
                  </a:lnTo>
                  <a:lnTo>
                    <a:pt x="336" y="165"/>
                  </a:lnTo>
                  <a:lnTo>
                    <a:pt x="359" y="182"/>
                  </a:lnTo>
                  <a:lnTo>
                    <a:pt x="373" y="193"/>
                  </a:lnTo>
                  <a:lnTo>
                    <a:pt x="373" y="200"/>
                  </a:lnTo>
                  <a:lnTo>
                    <a:pt x="390" y="182"/>
                  </a:lnTo>
                  <a:lnTo>
                    <a:pt x="406" y="182"/>
                  </a:lnTo>
                  <a:lnTo>
                    <a:pt x="406" y="177"/>
                  </a:lnTo>
                  <a:lnTo>
                    <a:pt x="418" y="165"/>
                  </a:lnTo>
                  <a:lnTo>
                    <a:pt x="418" y="160"/>
                  </a:lnTo>
                  <a:lnTo>
                    <a:pt x="428" y="156"/>
                  </a:lnTo>
                  <a:lnTo>
                    <a:pt x="466" y="160"/>
                  </a:lnTo>
                  <a:lnTo>
                    <a:pt x="489" y="200"/>
                  </a:lnTo>
                  <a:lnTo>
                    <a:pt x="520" y="222"/>
                  </a:lnTo>
                  <a:lnTo>
                    <a:pt x="527" y="238"/>
                  </a:lnTo>
                  <a:lnTo>
                    <a:pt x="520" y="293"/>
                  </a:lnTo>
                  <a:lnTo>
                    <a:pt x="543" y="326"/>
                  </a:lnTo>
                  <a:lnTo>
                    <a:pt x="569" y="333"/>
                  </a:lnTo>
                  <a:lnTo>
                    <a:pt x="569" y="345"/>
                  </a:lnTo>
                  <a:lnTo>
                    <a:pt x="569" y="349"/>
                  </a:lnTo>
                  <a:lnTo>
                    <a:pt x="581" y="361"/>
                  </a:lnTo>
                  <a:lnTo>
                    <a:pt x="574" y="399"/>
                  </a:lnTo>
                  <a:lnTo>
                    <a:pt x="581" y="404"/>
                  </a:lnTo>
                  <a:lnTo>
                    <a:pt x="574" y="437"/>
                  </a:lnTo>
                  <a:lnTo>
                    <a:pt x="553" y="453"/>
                  </a:lnTo>
                  <a:lnTo>
                    <a:pt x="543" y="470"/>
                  </a:lnTo>
                  <a:lnTo>
                    <a:pt x="543" y="453"/>
                  </a:lnTo>
                  <a:lnTo>
                    <a:pt x="527" y="444"/>
                  </a:lnTo>
                  <a:lnTo>
                    <a:pt x="466" y="453"/>
                  </a:lnTo>
                  <a:lnTo>
                    <a:pt x="444" y="444"/>
                  </a:lnTo>
                  <a:lnTo>
                    <a:pt x="414" y="453"/>
                  </a:lnTo>
                  <a:lnTo>
                    <a:pt x="397" y="470"/>
                  </a:lnTo>
                  <a:lnTo>
                    <a:pt x="380" y="498"/>
                  </a:lnTo>
                  <a:lnTo>
                    <a:pt x="364" y="498"/>
                  </a:lnTo>
                  <a:lnTo>
                    <a:pt x="373" y="510"/>
                  </a:lnTo>
                  <a:lnTo>
                    <a:pt x="359" y="510"/>
                  </a:lnTo>
                  <a:lnTo>
                    <a:pt x="352" y="531"/>
                  </a:lnTo>
                  <a:lnTo>
                    <a:pt x="364" y="555"/>
                  </a:lnTo>
                  <a:lnTo>
                    <a:pt x="364" y="581"/>
                  </a:lnTo>
                  <a:lnTo>
                    <a:pt x="380" y="597"/>
                  </a:lnTo>
                  <a:lnTo>
                    <a:pt x="380" y="621"/>
                  </a:lnTo>
                  <a:lnTo>
                    <a:pt x="397" y="654"/>
                  </a:lnTo>
                  <a:lnTo>
                    <a:pt x="373" y="609"/>
                  </a:lnTo>
                  <a:lnTo>
                    <a:pt x="364" y="609"/>
                  </a:lnTo>
                  <a:lnTo>
                    <a:pt x="364" y="621"/>
                  </a:lnTo>
                  <a:lnTo>
                    <a:pt x="352" y="609"/>
                  </a:lnTo>
                  <a:lnTo>
                    <a:pt x="359" y="604"/>
                  </a:lnTo>
                  <a:lnTo>
                    <a:pt x="343" y="604"/>
                  </a:lnTo>
                  <a:lnTo>
                    <a:pt x="336" y="588"/>
                  </a:lnTo>
                  <a:lnTo>
                    <a:pt x="326" y="588"/>
                  </a:lnTo>
                  <a:lnTo>
                    <a:pt x="310" y="571"/>
                  </a:lnTo>
                  <a:lnTo>
                    <a:pt x="288" y="581"/>
                  </a:lnTo>
                  <a:lnTo>
                    <a:pt x="267" y="581"/>
                  </a:lnTo>
                  <a:lnTo>
                    <a:pt x="255" y="588"/>
                  </a:lnTo>
                  <a:lnTo>
                    <a:pt x="251" y="581"/>
                  </a:lnTo>
                  <a:lnTo>
                    <a:pt x="255" y="515"/>
                  </a:lnTo>
                  <a:lnTo>
                    <a:pt x="229" y="515"/>
                  </a:lnTo>
                  <a:lnTo>
                    <a:pt x="196" y="526"/>
                  </a:lnTo>
                  <a:lnTo>
                    <a:pt x="191" y="531"/>
                  </a:lnTo>
                  <a:lnTo>
                    <a:pt x="196" y="548"/>
                  </a:lnTo>
                  <a:lnTo>
                    <a:pt x="191" y="581"/>
                  </a:lnTo>
                  <a:lnTo>
                    <a:pt x="191" y="609"/>
                  </a:lnTo>
                  <a:lnTo>
                    <a:pt x="163" y="666"/>
                  </a:lnTo>
                  <a:lnTo>
                    <a:pt x="158" y="708"/>
                  </a:lnTo>
                  <a:lnTo>
                    <a:pt x="125" y="748"/>
                  </a:lnTo>
                  <a:lnTo>
                    <a:pt x="125" y="791"/>
                  </a:lnTo>
                  <a:lnTo>
                    <a:pt x="142" y="819"/>
                  </a:lnTo>
                  <a:lnTo>
                    <a:pt x="137" y="826"/>
                  </a:lnTo>
                  <a:lnTo>
                    <a:pt x="147" y="831"/>
                  </a:lnTo>
                  <a:lnTo>
                    <a:pt x="180" y="826"/>
                  </a:lnTo>
                  <a:lnTo>
                    <a:pt x="191" y="876"/>
                  </a:lnTo>
                  <a:lnTo>
                    <a:pt x="196" y="885"/>
                  </a:lnTo>
                  <a:lnTo>
                    <a:pt x="201" y="885"/>
                  </a:lnTo>
                  <a:lnTo>
                    <a:pt x="196" y="881"/>
                  </a:lnTo>
                  <a:lnTo>
                    <a:pt x="201" y="885"/>
                  </a:lnTo>
                  <a:lnTo>
                    <a:pt x="217" y="959"/>
                  </a:lnTo>
                  <a:lnTo>
                    <a:pt x="229" y="975"/>
                  </a:lnTo>
                  <a:lnTo>
                    <a:pt x="217" y="968"/>
                  </a:lnTo>
                  <a:lnTo>
                    <a:pt x="213" y="935"/>
                  </a:lnTo>
                  <a:lnTo>
                    <a:pt x="201" y="935"/>
                  </a:lnTo>
                  <a:lnTo>
                    <a:pt x="196" y="935"/>
                  </a:lnTo>
                  <a:lnTo>
                    <a:pt x="201" y="952"/>
                  </a:lnTo>
                  <a:lnTo>
                    <a:pt x="217" y="975"/>
                  </a:lnTo>
                  <a:lnTo>
                    <a:pt x="234" y="975"/>
                  </a:lnTo>
                  <a:lnTo>
                    <a:pt x="243" y="992"/>
                  </a:lnTo>
                  <a:lnTo>
                    <a:pt x="255" y="996"/>
                  </a:lnTo>
                  <a:lnTo>
                    <a:pt x="281" y="996"/>
                  </a:lnTo>
                  <a:lnTo>
                    <a:pt x="281" y="992"/>
                  </a:lnTo>
                  <a:lnTo>
                    <a:pt x="298" y="996"/>
                  </a:lnTo>
                  <a:lnTo>
                    <a:pt x="310" y="1030"/>
                  </a:lnTo>
                  <a:lnTo>
                    <a:pt x="336" y="1046"/>
                  </a:lnTo>
                  <a:lnTo>
                    <a:pt x="336" y="1046"/>
                  </a:lnTo>
                  <a:lnTo>
                    <a:pt x="336" y="1046"/>
                  </a:lnTo>
                  <a:close/>
                  <a:moveTo>
                    <a:pt x="359" y="626"/>
                  </a:moveTo>
                  <a:lnTo>
                    <a:pt x="352" y="626"/>
                  </a:lnTo>
                  <a:lnTo>
                    <a:pt x="352" y="621"/>
                  </a:lnTo>
                  <a:lnTo>
                    <a:pt x="359" y="626"/>
                  </a:lnTo>
                  <a:lnTo>
                    <a:pt x="359" y="626"/>
                  </a:lnTo>
                  <a:lnTo>
                    <a:pt x="359" y="626"/>
                  </a:lnTo>
                  <a:close/>
                  <a:moveTo>
                    <a:pt x="364" y="642"/>
                  </a:moveTo>
                  <a:lnTo>
                    <a:pt x="373" y="659"/>
                  </a:lnTo>
                  <a:lnTo>
                    <a:pt x="364" y="659"/>
                  </a:lnTo>
                  <a:lnTo>
                    <a:pt x="364" y="642"/>
                  </a:lnTo>
                  <a:lnTo>
                    <a:pt x="364" y="642"/>
                  </a:lnTo>
                  <a:lnTo>
                    <a:pt x="364" y="642"/>
                  </a:lnTo>
                  <a:close/>
                  <a:moveTo>
                    <a:pt x="191" y="786"/>
                  </a:moveTo>
                  <a:lnTo>
                    <a:pt x="196" y="791"/>
                  </a:lnTo>
                  <a:lnTo>
                    <a:pt x="191" y="791"/>
                  </a:lnTo>
                  <a:lnTo>
                    <a:pt x="191" y="786"/>
                  </a:lnTo>
                  <a:lnTo>
                    <a:pt x="191" y="786"/>
                  </a:lnTo>
                  <a:lnTo>
                    <a:pt x="191" y="786"/>
                  </a:lnTo>
                  <a:close/>
                  <a:moveTo>
                    <a:pt x="196" y="808"/>
                  </a:moveTo>
                  <a:lnTo>
                    <a:pt x="191" y="819"/>
                  </a:lnTo>
                  <a:lnTo>
                    <a:pt x="191" y="808"/>
                  </a:lnTo>
                  <a:lnTo>
                    <a:pt x="196" y="808"/>
                  </a:lnTo>
                  <a:lnTo>
                    <a:pt x="196" y="808"/>
                  </a:lnTo>
                  <a:lnTo>
                    <a:pt x="196" y="808"/>
                  </a:lnTo>
                  <a:close/>
                  <a:moveTo>
                    <a:pt x="71" y="843"/>
                  </a:moveTo>
                  <a:lnTo>
                    <a:pt x="66" y="843"/>
                  </a:lnTo>
                  <a:lnTo>
                    <a:pt x="66" y="831"/>
                  </a:lnTo>
                  <a:lnTo>
                    <a:pt x="71" y="843"/>
                  </a:lnTo>
                  <a:lnTo>
                    <a:pt x="71" y="843"/>
                  </a:lnTo>
                  <a:lnTo>
                    <a:pt x="71" y="843"/>
                  </a:lnTo>
                  <a:close/>
                  <a:moveTo>
                    <a:pt x="71" y="902"/>
                  </a:moveTo>
                  <a:lnTo>
                    <a:pt x="83" y="930"/>
                  </a:lnTo>
                  <a:lnTo>
                    <a:pt x="71" y="935"/>
                  </a:lnTo>
                  <a:lnTo>
                    <a:pt x="66" y="902"/>
                  </a:lnTo>
                  <a:lnTo>
                    <a:pt x="71" y="902"/>
                  </a:lnTo>
                  <a:lnTo>
                    <a:pt x="71" y="902"/>
                  </a:lnTo>
                  <a:lnTo>
                    <a:pt x="71" y="902"/>
                  </a:lnTo>
                  <a:close/>
                  <a:moveTo>
                    <a:pt x="88" y="914"/>
                  </a:moveTo>
                  <a:lnTo>
                    <a:pt x="88" y="914"/>
                  </a:lnTo>
                  <a:lnTo>
                    <a:pt x="88" y="930"/>
                  </a:lnTo>
                  <a:lnTo>
                    <a:pt x="88" y="914"/>
                  </a:lnTo>
                  <a:lnTo>
                    <a:pt x="88" y="914"/>
                  </a:lnTo>
                  <a:lnTo>
                    <a:pt x="88" y="914"/>
                  </a:lnTo>
                  <a:close/>
                  <a:moveTo>
                    <a:pt x="163" y="1013"/>
                  </a:moveTo>
                  <a:lnTo>
                    <a:pt x="163" y="1030"/>
                  </a:lnTo>
                  <a:lnTo>
                    <a:pt x="158" y="1025"/>
                  </a:lnTo>
                  <a:lnTo>
                    <a:pt x="163" y="1013"/>
                  </a:lnTo>
                  <a:lnTo>
                    <a:pt x="163" y="1013"/>
                  </a:lnTo>
                  <a:lnTo>
                    <a:pt x="163" y="1013"/>
                  </a:lnTo>
                  <a:close/>
                </a:path>
              </a:pathLst>
            </a:custGeom>
            <a:solidFill>
              <a:schemeClr val="bg2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24" name="Freeform 568">
              <a:extLst>
                <a:ext uri="{FF2B5EF4-FFF2-40B4-BE49-F238E27FC236}">
                  <a16:creationId xmlns:a16="http://schemas.microsoft.com/office/drawing/2014/main" id="{17AAFF3F-FC2B-43AF-ADA0-144C6F8B25D6}"/>
                </a:ext>
              </a:extLst>
            </p:cNvPr>
            <p:cNvSpPr>
              <a:spLocks/>
            </p:cNvSpPr>
            <p:nvPr/>
          </p:nvSpPr>
          <p:spPr bwMode="gray">
            <a:xfrm>
              <a:off x="6885408" y="2261670"/>
              <a:ext cx="85639" cy="56639"/>
            </a:xfrm>
            <a:custGeom>
              <a:avLst/>
              <a:gdLst>
                <a:gd name="T0" fmla="*/ 520 w 558"/>
                <a:gd name="T1" fmla="*/ 302 h 369"/>
                <a:gd name="T2" fmla="*/ 451 w 558"/>
                <a:gd name="T3" fmla="*/ 319 h 369"/>
                <a:gd name="T4" fmla="*/ 461 w 558"/>
                <a:gd name="T5" fmla="*/ 314 h 369"/>
                <a:gd name="T6" fmla="*/ 418 w 558"/>
                <a:gd name="T7" fmla="*/ 298 h 369"/>
                <a:gd name="T8" fmla="*/ 380 w 558"/>
                <a:gd name="T9" fmla="*/ 335 h 369"/>
                <a:gd name="T10" fmla="*/ 321 w 558"/>
                <a:gd name="T11" fmla="*/ 359 h 369"/>
                <a:gd name="T12" fmla="*/ 305 w 558"/>
                <a:gd name="T13" fmla="*/ 359 h 369"/>
                <a:gd name="T14" fmla="*/ 305 w 558"/>
                <a:gd name="T15" fmla="*/ 265 h 369"/>
                <a:gd name="T16" fmla="*/ 288 w 558"/>
                <a:gd name="T17" fmla="*/ 232 h 369"/>
                <a:gd name="T18" fmla="*/ 246 w 558"/>
                <a:gd name="T19" fmla="*/ 220 h 369"/>
                <a:gd name="T20" fmla="*/ 213 w 558"/>
                <a:gd name="T21" fmla="*/ 281 h 369"/>
                <a:gd name="T22" fmla="*/ 180 w 558"/>
                <a:gd name="T23" fmla="*/ 286 h 369"/>
                <a:gd name="T24" fmla="*/ 147 w 558"/>
                <a:gd name="T25" fmla="*/ 302 h 369"/>
                <a:gd name="T26" fmla="*/ 142 w 558"/>
                <a:gd name="T27" fmla="*/ 331 h 369"/>
                <a:gd name="T28" fmla="*/ 54 w 558"/>
                <a:gd name="T29" fmla="*/ 343 h 369"/>
                <a:gd name="T30" fmla="*/ 33 w 558"/>
                <a:gd name="T31" fmla="*/ 319 h 369"/>
                <a:gd name="T32" fmla="*/ 66 w 558"/>
                <a:gd name="T33" fmla="*/ 260 h 369"/>
                <a:gd name="T34" fmla="*/ 83 w 558"/>
                <a:gd name="T35" fmla="*/ 243 h 369"/>
                <a:gd name="T36" fmla="*/ 54 w 558"/>
                <a:gd name="T37" fmla="*/ 187 h 369"/>
                <a:gd name="T38" fmla="*/ 54 w 558"/>
                <a:gd name="T39" fmla="*/ 170 h 369"/>
                <a:gd name="T40" fmla="*/ 28 w 558"/>
                <a:gd name="T41" fmla="*/ 165 h 369"/>
                <a:gd name="T42" fmla="*/ 0 w 558"/>
                <a:gd name="T43" fmla="*/ 149 h 369"/>
                <a:gd name="T44" fmla="*/ 33 w 558"/>
                <a:gd name="T45" fmla="*/ 116 h 369"/>
                <a:gd name="T46" fmla="*/ 92 w 558"/>
                <a:gd name="T47" fmla="*/ 99 h 369"/>
                <a:gd name="T48" fmla="*/ 104 w 558"/>
                <a:gd name="T49" fmla="*/ 83 h 369"/>
                <a:gd name="T50" fmla="*/ 92 w 558"/>
                <a:gd name="T51" fmla="*/ 78 h 369"/>
                <a:gd name="T52" fmla="*/ 142 w 558"/>
                <a:gd name="T53" fmla="*/ 45 h 369"/>
                <a:gd name="T54" fmla="*/ 147 w 558"/>
                <a:gd name="T55" fmla="*/ 21 h 369"/>
                <a:gd name="T56" fmla="*/ 213 w 558"/>
                <a:gd name="T57" fmla="*/ 12 h 369"/>
                <a:gd name="T58" fmla="*/ 250 w 558"/>
                <a:gd name="T59" fmla="*/ 28 h 369"/>
                <a:gd name="T60" fmla="*/ 217 w 558"/>
                <a:gd name="T61" fmla="*/ 54 h 369"/>
                <a:gd name="T62" fmla="*/ 255 w 558"/>
                <a:gd name="T63" fmla="*/ 66 h 369"/>
                <a:gd name="T64" fmla="*/ 234 w 558"/>
                <a:gd name="T65" fmla="*/ 78 h 369"/>
                <a:gd name="T66" fmla="*/ 229 w 558"/>
                <a:gd name="T67" fmla="*/ 95 h 369"/>
                <a:gd name="T68" fmla="*/ 196 w 558"/>
                <a:gd name="T69" fmla="*/ 66 h 369"/>
                <a:gd name="T70" fmla="*/ 158 w 558"/>
                <a:gd name="T71" fmla="*/ 95 h 369"/>
                <a:gd name="T72" fmla="*/ 142 w 558"/>
                <a:gd name="T73" fmla="*/ 83 h 369"/>
                <a:gd name="T74" fmla="*/ 142 w 558"/>
                <a:gd name="T75" fmla="*/ 121 h 369"/>
                <a:gd name="T76" fmla="*/ 234 w 558"/>
                <a:gd name="T77" fmla="*/ 121 h 369"/>
                <a:gd name="T78" fmla="*/ 255 w 558"/>
                <a:gd name="T79" fmla="*/ 137 h 369"/>
                <a:gd name="T80" fmla="*/ 298 w 558"/>
                <a:gd name="T81" fmla="*/ 121 h 369"/>
                <a:gd name="T82" fmla="*/ 310 w 558"/>
                <a:gd name="T83" fmla="*/ 132 h 369"/>
                <a:gd name="T84" fmla="*/ 336 w 558"/>
                <a:gd name="T85" fmla="*/ 137 h 369"/>
                <a:gd name="T86" fmla="*/ 359 w 558"/>
                <a:gd name="T87" fmla="*/ 137 h 369"/>
                <a:gd name="T88" fmla="*/ 451 w 558"/>
                <a:gd name="T89" fmla="*/ 132 h 369"/>
                <a:gd name="T90" fmla="*/ 461 w 558"/>
                <a:gd name="T91" fmla="*/ 170 h 369"/>
                <a:gd name="T92" fmla="*/ 461 w 558"/>
                <a:gd name="T93" fmla="*/ 203 h 369"/>
                <a:gd name="T94" fmla="*/ 482 w 558"/>
                <a:gd name="T95" fmla="*/ 203 h 369"/>
                <a:gd name="T96" fmla="*/ 536 w 558"/>
                <a:gd name="T97" fmla="*/ 220 h 369"/>
                <a:gd name="T98" fmla="*/ 543 w 558"/>
                <a:gd name="T99" fmla="*/ 276 h 369"/>
                <a:gd name="T100" fmla="*/ 558 w 558"/>
                <a:gd name="T101" fmla="*/ 302 h 369"/>
                <a:gd name="T102" fmla="*/ 536 w 558"/>
                <a:gd name="T103" fmla="*/ 319 h 3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558" h="369">
                  <a:moveTo>
                    <a:pt x="536" y="319"/>
                  </a:moveTo>
                  <a:lnTo>
                    <a:pt x="520" y="302"/>
                  </a:lnTo>
                  <a:lnTo>
                    <a:pt x="489" y="302"/>
                  </a:lnTo>
                  <a:lnTo>
                    <a:pt x="451" y="319"/>
                  </a:lnTo>
                  <a:lnTo>
                    <a:pt x="444" y="314"/>
                  </a:lnTo>
                  <a:lnTo>
                    <a:pt x="461" y="314"/>
                  </a:lnTo>
                  <a:lnTo>
                    <a:pt x="461" y="302"/>
                  </a:lnTo>
                  <a:lnTo>
                    <a:pt x="418" y="298"/>
                  </a:lnTo>
                  <a:lnTo>
                    <a:pt x="390" y="319"/>
                  </a:lnTo>
                  <a:lnTo>
                    <a:pt x="380" y="335"/>
                  </a:lnTo>
                  <a:lnTo>
                    <a:pt x="352" y="335"/>
                  </a:lnTo>
                  <a:lnTo>
                    <a:pt x="321" y="359"/>
                  </a:lnTo>
                  <a:lnTo>
                    <a:pt x="310" y="369"/>
                  </a:lnTo>
                  <a:lnTo>
                    <a:pt x="305" y="359"/>
                  </a:lnTo>
                  <a:lnTo>
                    <a:pt x="288" y="331"/>
                  </a:lnTo>
                  <a:lnTo>
                    <a:pt x="305" y="265"/>
                  </a:lnTo>
                  <a:lnTo>
                    <a:pt x="284" y="265"/>
                  </a:lnTo>
                  <a:lnTo>
                    <a:pt x="288" y="232"/>
                  </a:lnTo>
                  <a:lnTo>
                    <a:pt x="255" y="220"/>
                  </a:lnTo>
                  <a:lnTo>
                    <a:pt x="246" y="220"/>
                  </a:lnTo>
                  <a:lnTo>
                    <a:pt x="201" y="260"/>
                  </a:lnTo>
                  <a:lnTo>
                    <a:pt x="213" y="281"/>
                  </a:lnTo>
                  <a:lnTo>
                    <a:pt x="201" y="298"/>
                  </a:lnTo>
                  <a:lnTo>
                    <a:pt x="180" y="286"/>
                  </a:lnTo>
                  <a:lnTo>
                    <a:pt x="158" y="286"/>
                  </a:lnTo>
                  <a:lnTo>
                    <a:pt x="147" y="302"/>
                  </a:lnTo>
                  <a:lnTo>
                    <a:pt x="147" y="319"/>
                  </a:lnTo>
                  <a:lnTo>
                    <a:pt x="142" y="331"/>
                  </a:lnTo>
                  <a:lnTo>
                    <a:pt x="109" y="314"/>
                  </a:lnTo>
                  <a:lnTo>
                    <a:pt x="54" y="343"/>
                  </a:lnTo>
                  <a:lnTo>
                    <a:pt x="33" y="331"/>
                  </a:lnTo>
                  <a:lnTo>
                    <a:pt x="33" y="319"/>
                  </a:lnTo>
                  <a:lnTo>
                    <a:pt x="38" y="298"/>
                  </a:lnTo>
                  <a:lnTo>
                    <a:pt x="66" y="260"/>
                  </a:lnTo>
                  <a:lnTo>
                    <a:pt x="71" y="260"/>
                  </a:lnTo>
                  <a:lnTo>
                    <a:pt x="83" y="243"/>
                  </a:lnTo>
                  <a:lnTo>
                    <a:pt x="54" y="210"/>
                  </a:lnTo>
                  <a:lnTo>
                    <a:pt x="54" y="187"/>
                  </a:lnTo>
                  <a:lnTo>
                    <a:pt x="66" y="187"/>
                  </a:lnTo>
                  <a:lnTo>
                    <a:pt x="54" y="170"/>
                  </a:lnTo>
                  <a:lnTo>
                    <a:pt x="33" y="170"/>
                  </a:lnTo>
                  <a:lnTo>
                    <a:pt x="28" y="165"/>
                  </a:lnTo>
                  <a:lnTo>
                    <a:pt x="12" y="154"/>
                  </a:lnTo>
                  <a:lnTo>
                    <a:pt x="0" y="149"/>
                  </a:lnTo>
                  <a:lnTo>
                    <a:pt x="12" y="132"/>
                  </a:lnTo>
                  <a:lnTo>
                    <a:pt x="33" y="116"/>
                  </a:lnTo>
                  <a:lnTo>
                    <a:pt x="88" y="121"/>
                  </a:lnTo>
                  <a:lnTo>
                    <a:pt x="92" y="99"/>
                  </a:lnTo>
                  <a:lnTo>
                    <a:pt x="109" y="99"/>
                  </a:lnTo>
                  <a:lnTo>
                    <a:pt x="104" y="83"/>
                  </a:lnTo>
                  <a:lnTo>
                    <a:pt x="121" y="78"/>
                  </a:lnTo>
                  <a:lnTo>
                    <a:pt x="92" y="78"/>
                  </a:lnTo>
                  <a:lnTo>
                    <a:pt x="142" y="66"/>
                  </a:lnTo>
                  <a:lnTo>
                    <a:pt x="142" y="45"/>
                  </a:lnTo>
                  <a:lnTo>
                    <a:pt x="147" y="21"/>
                  </a:lnTo>
                  <a:lnTo>
                    <a:pt x="147" y="21"/>
                  </a:lnTo>
                  <a:lnTo>
                    <a:pt x="175" y="38"/>
                  </a:lnTo>
                  <a:lnTo>
                    <a:pt x="213" y="12"/>
                  </a:lnTo>
                  <a:lnTo>
                    <a:pt x="217" y="0"/>
                  </a:lnTo>
                  <a:lnTo>
                    <a:pt x="250" y="28"/>
                  </a:lnTo>
                  <a:lnTo>
                    <a:pt x="217" y="54"/>
                  </a:lnTo>
                  <a:lnTo>
                    <a:pt x="217" y="54"/>
                  </a:lnTo>
                  <a:lnTo>
                    <a:pt x="234" y="66"/>
                  </a:lnTo>
                  <a:lnTo>
                    <a:pt x="255" y="66"/>
                  </a:lnTo>
                  <a:lnTo>
                    <a:pt x="255" y="78"/>
                  </a:lnTo>
                  <a:lnTo>
                    <a:pt x="234" y="78"/>
                  </a:lnTo>
                  <a:lnTo>
                    <a:pt x="234" y="95"/>
                  </a:lnTo>
                  <a:lnTo>
                    <a:pt x="229" y="95"/>
                  </a:lnTo>
                  <a:lnTo>
                    <a:pt x="229" y="83"/>
                  </a:lnTo>
                  <a:lnTo>
                    <a:pt x="196" y="66"/>
                  </a:lnTo>
                  <a:lnTo>
                    <a:pt x="158" y="78"/>
                  </a:lnTo>
                  <a:lnTo>
                    <a:pt x="158" y="95"/>
                  </a:lnTo>
                  <a:lnTo>
                    <a:pt x="147" y="95"/>
                  </a:lnTo>
                  <a:lnTo>
                    <a:pt x="142" y="83"/>
                  </a:lnTo>
                  <a:lnTo>
                    <a:pt x="142" y="99"/>
                  </a:lnTo>
                  <a:lnTo>
                    <a:pt x="142" y="121"/>
                  </a:lnTo>
                  <a:lnTo>
                    <a:pt x="229" y="121"/>
                  </a:lnTo>
                  <a:lnTo>
                    <a:pt x="234" y="121"/>
                  </a:lnTo>
                  <a:lnTo>
                    <a:pt x="246" y="137"/>
                  </a:lnTo>
                  <a:lnTo>
                    <a:pt x="255" y="137"/>
                  </a:lnTo>
                  <a:lnTo>
                    <a:pt x="267" y="132"/>
                  </a:lnTo>
                  <a:lnTo>
                    <a:pt x="298" y="121"/>
                  </a:lnTo>
                  <a:lnTo>
                    <a:pt x="298" y="132"/>
                  </a:lnTo>
                  <a:lnTo>
                    <a:pt x="310" y="132"/>
                  </a:lnTo>
                  <a:lnTo>
                    <a:pt x="310" y="149"/>
                  </a:lnTo>
                  <a:lnTo>
                    <a:pt x="336" y="137"/>
                  </a:lnTo>
                  <a:lnTo>
                    <a:pt x="352" y="154"/>
                  </a:lnTo>
                  <a:lnTo>
                    <a:pt x="359" y="137"/>
                  </a:lnTo>
                  <a:lnTo>
                    <a:pt x="413" y="137"/>
                  </a:lnTo>
                  <a:lnTo>
                    <a:pt x="451" y="132"/>
                  </a:lnTo>
                  <a:lnTo>
                    <a:pt x="444" y="154"/>
                  </a:lnTo>
                  <a:lnTo>
                    <a:pt x="461" y="170"/>
                  </a:lnTo>
                  <a:lnTo>
                    <a:pt x="451" y="177"/>
                  </a:lnTo>
                  <a:lnTo>
                    <a:pt x="461" y="203"/>
                  </a:lnTo>
                  <a:lnTo>
                    <a:pt x="473" y="210"/>
                  </a:lnTo>
                  <a:lnTo>
                    <a:pt x="482" y="203"/>
                  </a:lnTo>
                  <a:lnTo>
                    <a:pt x="499" y="203"/>
                  </a:lnTo>
                  <a:lnTo>
                    <a:pt x="536" y="220"/>
                  </a:lnTo>
                  <a:lnTo>
                    <a:pt x="527" y="248"/>
                  </a:lnTo>
                  <a:lnTo>
                    <a:pt x="543" y="276"/>
                  </a:lnTo>
                  <a:lnTo>
                    <a:pt x="536" y="281"/>
                  </a:lnTo>
                  <a:lnTo>
                    <a:pt x="558" y="302"/>
                  </a:lnTo>
                  <a:lnTo>
                    <a:pt x="536" y="319"/>
                  </a:lnTo>
                  <a:lnTo>
                    <a:pt x="536" y="319"/>
                  </a:lnTo>
                  <a:lnTo>
                    <a:pt x="536" y="319"/>
                  </a:lnTo>
                  <a:close/>
                </a:path>
              </a:pathLst>
            </a:custGeom>
            <a:solidFill>
              <a:schemeClr val="bg2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25" name="Freeform 569">
              <a:extLst>
                <a:ext uri="{FF2B5EF4-FFF2-40B4-BE49-F238E27FC236}">
                  <a16:creationId xmlns:a16="http://schemas.microsoft.com/office/drawing/2014/main" id="{8867287A-5C84-49E7-9321-85EBF842BF62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385959" y="2495591"/>
              <a:ext cx="3990" cy="2456"/>
            </a:xfrm>
            <a:custGeom>
              <a:avLst/>
              <a:gdLst>
                <a:gd name="T0" fmla="*/ 14 w 26"/>
                <a:gd name="T1" fmla="*/ 11 h 16"/>
                <a:gd name="T2" fmla="*/ 0 w 26"/>
                <a:gd name="T3" fmla="*/ 0 h 16"/>
                <a:gd name="T4" fmla="*/ 5 w 26"/>
                <a:gd name="T5" fmla="*/ 0 h 16"/>
                <a:gd name="T6" fmla="*/ 14 w 26"/>
                <a:gd name="T7" fmla="*/ 11 h 16"/>
                <a:gd name="T8" fmla="*/ 14 w 26"/>
                <a:gd name="T9" fmla="*/ 11 h 16"/>
                <a:gd name="T10" fmla="*/ 14 w 26"/>
                <a:gd name="T11" fmla="*/ 11 h 16"/>
                <a:gd name="T12" fmla="*/ 26 w 26"/>
                <a:gd name="T13" fmla="*/ 16 h 16"/>
                <a:gd name="T14" fmla="*/ 14 w 26"/>
                <a:gd name="T15" fmla="*/ 16 h 16"/>
                <a:gd name="T16" fmla="*/ 14 w 26"/>
                <a:gd name="T17" fmla="*/ 11 h 16"/>
                <a:gd name="T18" fmla="*/ 21 w 26"/>
                <a:gd name="T19" fmla="*/ 11 h 16"/>
                <a:gd name="T20" fmla="*/ 26 w 26"/>
                <a:gd name="T21" fmla="*/ 16 h 16"/>
                <a:gd name="T22" fmla="*/ 26 w 26"/>
                <a:gd name="T23" fmla="*/ 16 h 16"/>
                <a:gd name="T24" fmla="*/ 26 w 26"/>
                <a:gd name="T25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6" h="16">
                  <a:moveTo>
                    <a:pt x="14" y="11"/>
                  </a:moveTo>
                  <a:lnTo>
                    <a:pt x="0" y="0"/>
                  </a:lnTo>
                  <a:lnTo>
                    <a:pt x="5" y="0"/>
                  </a:lnTo>
                  <a:lnTo>
                    <a:pt x="14" y="11"/>
                  </a:lnTo>
                  <a:lnTo>
                    <a:pt x="14" y="11"/>
                  </a:lnTo>
                  <a:lnTo>
                    <a:pt x="14" y="11"/>
                  </a:lnTo>
                  <a:close/>
                  <a:moveTo>
                    <a:pt x="26" y="16"/>
                  </a:moveTo>
                  <a:lnTo>
                    <a:pt x="14" y="16"/>
                  </a:lnTo>
                  <a:lnTo>
                    <a:pt x="14" y="11"/>
                  </a:lnTo>
                  <a:lnTo>
                    <a:pt x="21" y="11"/>
                  </a:lnTo>
                  <a:lnTo>
                    <a:pt x="26" y="16"/>
                  </a:lnTo>
                  <a:lnTo>
                    <a:pt x="26" y="16"/>
                  </a:lnTo>
                  <a:lnTo>
                    <a:pt x="26" y="16"/>
                  </a:lnTo>
                  <a:close/>
                </a:path>
              </a:pathLst>
            </a:custGeom>
            <a:solidFill>
              <a:schemeClr val="bg2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26" name="Freeform 570">
              <a:extLst>
                <a:ext uri="{FF2B5EF4-FFF2-40B4-BE49-F238E27FC236}">
                  <a16:creationId xmlns:a16="http://schemas.microsoft.com/office/drawing/2014/main" id="{59FFFA58-10B3-4567-BE43-9C2CA0E581E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273419" y="2949467"/>
              <a:ext cx="15961" cy="34843"/>
            </a:xfrm>
            <a:custGeom>
              <a:avLst/>
              <a:gdLst>
                <a:gd name="T0" fmla="*/ 104 w 104"/>
                <a:gd name="T1" fmla="*/ 0 h 227"/>
                <a:gd name="T2" fmla="*/ 104 w 104"/>
                <a:gd name="T3" fmla="*/ 10 h 227"/>
                <a:gd name="T4" fmla="*/ 92 w 104"/>
                <a:gd name="T5" fmla="*/ 10 h 227"/>
                <a:gd name="T6" fmla="*/ 104 w 104"/>
                <a:gd name="T7" fmla="*/ 0 h 227"/>
                <a:gd name="T8" fmla="*/ 104 w 104"/>
                <a:gd name="T9" fmla="*/ 0 h 227"/>
                <a:gd name="T10" fmla="*/ 104 w 104"/>
                <a:gd name="T11" fmla="*/ 0 h 227"/>
                <a:gd name="T12" fmla="*/ 16 w 104"/>
                <a:gd name="T13" fmla="*/ 210 h 227"/>
                <a:gd name="T14" fmla="*/ 0 w 104"/>
                <a:gd name="T15" fmla="*/ 198 h 227"/>
                <a:gd name="T16" fmla="*/ 0 w 104"/>
                <a:gd name="T17" fmla="*/ 194 h 227"/>
                <a:gd name="T18" fmla="*/ 16 w 104"/>
                <a:gd name="T19" fmla="*/ 198 h 227"/>
                <a:gd name="T20" fmla="*/ 23 w 104"/>
                <a:gd name="T21" fmla="*/ 198 h 227"/>
                <a:gd name="T22" fmla="*/ 16 w 104"/>
                <a:gd name="T23" fmla="*/ 210 h 227"/>
                <a:gd name="T24" fmla="*/ 16 w 104"/>
                <a:gd name="T25" fmla="*/ 210 h 227"/>
                <a:gd name="T26" fmla="*/ 16 w 104"/>
                <a:gd name="T27" fmla="*/ 210 h 227"/>
                <a:gd name="T28" fmla="*/ 33 w 104"/>
                <a:gd name="T29" fmla="*/ 227 h 227"/>
                <a:gd name="T30" fmla="*/ 23 w 104"/>
                <a:gd name="T31" fmla="*/ 215 h 227"/>
                <a:gd name="T32" fmla="*/ 33 w 104"/>
                <a:gd name="T33" fmla="*/ 210 h 227"/>
                <a:gd name="T34" fmla="*/ 33 w 104"/>
                <a:gd name="T35" fmla="*/ 227 h 227"/>
                <a:gd name="T36" fmla="*/ 33 w 104"/>
                <a:gd name="T37" fmla="*/ 227 h 227"/>
                <a:gd name="T38" fmla="*/ 33 w 104"/>
                <a:gd name="T39" fmla="*/ 227 h 2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04" h="227">
                  <a:moveTo>
                    <a:pt x="104" y="0"/>
                  </a:moveTo>
                  <a:lnTo>
                    <a:pt x="104" y="10"/>
                  </a:lnTo>
                  <a:lnTo>
                    <a:pt x="92" y="10"/>
                  </a:lnTo>
                  <a:lnTo>
                    <a:pt x="104" y="0"/>
                  </a:lnTo>
                  <a:lnTo>
                    <a:pt x="104" y="0"/>
                  </a:lnTo>
                  <a:lnTo>
                    <a:pt x="104" y="0"/>
                  </a:lnTo>
                  <a:close/>
                  <a:moveTo>
                    <a:pt x="16" y="210"/>
                  </a:moveTo>
                  <a:lnTo>
                    <a:pt x="0" y="198"/>
                  </a:lnTo>
                  <a:lnTo>
                    <a:pt x="0" y="194"/>
                  </a:lnTo>
                  <a:lnTo>
                    <a:pt x="16" y="198"/>
                  </a:lnTo>
                  <a:lnTo>
                    <a:pt x="23" y="198"/>
                  </a:lnTo>
                  <a:lnTo>
                    <a:pt x="16" y="210"/>
                  </a:lnTo>
                  <a:lnTo>
                    <a:pt x="16" y="210"/>
                  </a:lnTo>
                  <a:lnTo>
                    <a:pt x="16" y="210"/>
                  </a:lnTo>
                  <a:close/>
                  <a:moveTo>
                    <a:pt x="33" y="227"/>
                  </a:moveTo>
                  <a:lnTo>
                    <a:pt x="23" y="215"/>
                  </a:lnTo>
                  <a:lnTo>
                    <a:pt x="33" y="210"/>
                  </a:lnTo>
                  <a:lnTo>
                    <a:pt x="33" y="227"/>
                  </a:lnTo>
                  <a:lnTo>
                    <a:pt x="33" y="227"/>
                  </a:lnTo>
                  <a:lnTo>
                    <a:pt x="33" y="227"/>
                  </a:lnTo>
                  <a:close/>
                </a:path>
              </a:pathLst>
            </a:custGeom>
            <a:solidFill>
              <a:schemeClr val="bg2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27" name="Freeform 571">
              <a:extLst>
                <a:ext uri="{FF2B5EF4-FFF2-40B4-BE49-F238E27FC236}">
                  <a16:creationId xmlns:a16="http://schemas.microsoft.com/office/drawing/2014/main" id="{5B4DEC13-93BB-401D-9F3B-79FC4F6D9B4D}"/>
                </a:ext>
              </a:extLst>
            </p:cNvPr>
            <p:cNvSpPr>
              <a:spLocks/>
            </p:cNvSpPr>
            <p:nvPr/>
          </p:nvSpPr>
          <p:spPr bwMode="gray">
            <a:xfrm>
              <a:off x="6159625" y="2618845"/>
              <a:ext cx="21333" cy="55104"/>
            </a:xfrm>
            <a:custGeom>
              <a:avLst/>
              <a:gdLst>
                <a:gd name="T0" fmla="*/ 128 w 139"/>
                <a:gd name="T1" fmla="*/ 260 h 359"/>
                <a:gd name="T2" fmla="*/ 128 w 139"/>
                <a:gd name="T3" fmla="*/ 297 h 359"/>
                <a:gd name="T4" fmla="*/ 123 w 139"/>
                <a:gd name="T5" fmla="*/ 297 h 359"/>
                <a:gd name="T6" fmla="*/ 123 w 139"/>
                <a:gd name="T7" fmla="*/ 321 h 359"/>
                <a:gd name="T8" fmla="*/ 139 w 139"/>
                <a:gd name="T9" fmla="*/ 349 h 359"/>
                <a:gd name="T10" fmla="*/ 128 w 139"/>
                <a:gd name="T11" fmla="*/ 354 h 359"/>
                <a:gd name="T12" fmla="*/ 95 w 139"/>
                <a:gd name="T13" fmla="*/ 359 h 359"/>
                <a:gd name="T14" fmla="*/ 83 w 139"/>
                <a:gd name="T15" fmla="*/ 349 h 359"/>
                <a:gd name="T16" fmla="*/ 66 w 139"/>
                <a:gd name="T17" fmla="*/ 338 h 359"/>
                <a:gd name="T18" fmla="*/ 50 w 139"/>
                <a:gd name="T19" fmla="*/ 297 h 359"/>
                <a:gd name="T20" fmla="*/ 57 w 139"/>
                <a:gd name="T21" fmla="*/ 297 h 359"/>
                <a:gd name="T22" fmla="*/ 57 w 139"/>
                <a:gd name="T23" fmla="*/ 276 h 359"/>
                <a:gd name="T24" fmla="*/ 50 w 139"/>
                <a:gd name="T25" fmla="*/ 264 h 359"/>
                <a:gd name="T26" fmla="*/ 50 w 139"/>
                <a:gd name="T27" fmla="*/ 260 h 359"/>
                <a:gd name="T28" fmla="*/ 50 w 139"/>
                <a:gd name="T29" fmla="*/ 243 h 359"/>
                <a:gd name="T30" fmla="*/ 57 w 139"/>
                <a:gd name="T31" fmla="*/ 210 h 359"/>
                <a:gd name="T32" fmla="*/ 66 w 139"/>
                <a:gd name="T33" fmla="*/ 203 h 359"/>
                <a:gd name="T34" fmla="*/ 33 w 139"/>
                <a:gd name="T35" fmla="*/ 170 h 359"/>
                <a:gd name="T36" fmla="*/ 50 w 139"/>
                <a:gd name="T37" fmla="*/ 165 h 359"/>
                <a:gd name="T38" fmla="*/ 40 w 139"/>
                <a:gd name="T39" fmla="*/ 149 h 359"/>
                <a:gd name="T40" fmla="*/ 50 w 139"/>
                <a:gd name="T41" fmla="*/ 127 h 359"/>
                <a:gd name="T42" fmla="*/ 40 w 139"/>
                <a:gd name="T43" fmla="*/ 116 h 359"/>
                <a:gd name="T44" fmla="*/ 28 w 139"/>
                <a:gd name="T45" fmla="*/ 116 h 359"/>
                <a:gd name="T46" fmla="*/ 40 w 139"/>
                <a:gd name="T47" fmla="*/ 75 h 359"/>
                <a:gd name="T48" fmla="*/ 33 w 139"/>
                <a:gd name="T49" fmla="*/ 59 h 359"/>
                <a:gd name="T50" fmla="*/ 33 w 139"/>
                <a:gd name="T51" fmla="*/ 54 h 359"/>
                <a:gd name="T52" fmla="*/ 0 w 139"/>
                <a:gd name="T53" fmla="*/ 26 h 359"/>
                <a:gd name="T54" fmla="*/ 12 w 139"/>
                <a:gd name="T55" fmla="*/ 5 h 359"/>
                <a:gd name="T56" fmla="*/ 0 w 139"/>
                <a:gd name="T57" fmla="*/ 0 h 359"/>
                <a:gd name="T58" fmla="*/ 50 w 139"/>
                <a:gd name="T59" fmla="*/ 5 h 359"/>
                <a:gd name="T60" fmla="*/ 50 w 139"/>
                <a:gd name="T61" fmla="*/ 16 h 359"/>
                <a:gd name="T62" fmla="*/ 73 w 139"/>
                <a:gd name="T63" fmla="*/ 5 h 359"/>
                <a:gd name="T64" fmla="*/ 66 w 139"/>
                <a:gd name="T65" fmla="*/ 54 h 359"/>
                <a:gd name="T66" fmla="*/ 106 w 139"/>
                <a:gd name="T67" fmla="*/ 75 h 359"/>
                <a:gd name="T68" fmla="*/ 106 w 139"/>
                <a:gd name="T69" fmla="*/ 116 h 359"/>
                <a:gd name="T70" fmla="*/ 128 w 139"/>
                <a:gd name="T71" fmla="*/ 149 h 359"/>
                <a:gd name="T72" fmla="*/ 128 w 139"/>
                <a:gd name="T73" fmla="*/ 260 h 359"/>
                <a:gd name="T74" fmla="*/ 128 w 139"/>
                <a:gd name="T75" fmla="*/ 260 h 359"/>
                <a:gd name="T76" fmla="*/ 128 w 139"/>
                <a:gd name="T77" fmla="*/ 260 h 3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39" h="359">
                  <a:moveTo>
                    <a:pt x="128" y="260"/>
                  </a:moveTo>
                  <a:lnTo>
                    <a:pt x="128" y="297"/>
                  </a:lnTo>
                  <a:lnTo>
                    <a:pt x="123" y="297"/>
                  </a:lnTo>
                  <a:lnTo>
                    <a:pt x="123" y="321"/>
                  </a:lnTo>
                  <a:lnTo>
                    <a:pt x="139" y="349"/>
                  </a:lnTo>
                  <a:lnTo>
                    <a:pt x="128" y="354"/>
                  </a:lnTo>
                  <a:lnTo>
                    <a:pt x="95" y="359"/>
                  </a:lnTo>
                  <a:lnTo>
                    <a:pt x="83" y="349"/>
                  </a:lnTo>
                  <a:lnTo>
                    <a:pt x="66" y="338"/>
                  </a:lnTo>
                  <a:lnTo>
                    <a:pt x="50" y="297"/>
                  </a:lnTo>
                  <a:lnTo>
                    <a:pt x="57" y="297"/>
                  </a:lnTo>
                  <a:lnTo>
                    <a:pt x="57" y="276"/>
                  </a:lnTo>
                  <a:lnTo>
                    <a:pt x="50" y="264"/>
                  </a:lnTo>
                  <a:lnTo>
                    <a:pt x="50" y="260"/>
                  </a:lnTo>
                  <a:lnTo>
                    <a:pt x="50" y="243"/>
                  </a:lnTo>
                  <a:lnTo>
                    <a:pt x="57" y="210"/>
                  </a:lnTo>
                  <a:lnTo>
                    <a:pt x="66" y="203"/>
                  </a:lnTo>
                  <a:lnTo>
                    <a:pt x="33" y="170"/>
                  </a:lnTo>
                  <a:lnTo>
                    <a:pt x="50" y="165"/>
                  </a:lnTo>
                  <a:lnTo>
                    <a:pt x="40" y="149"/>
                  </a:lnTo>
                  <a:lnTo>
                    <a:pt x="50" y="127"/>
                  </a:lnTo>
                  <a:lnTo>
                    <a:pt x="40" y="116"/>
                  </a:lnTo>
                  <a:lnTo>
                    <a:pt x="28" y="116"/>
                  </a:lnTo>
                  <a:lnTo>
                    <a:pt x="40" y="75"/>
                  </a:lnTo>
                  <a:lnTo>
                    <a:pt x="33" y="59"/>
                  </a:lnTo>
                  <a:lnTo>
                    <a:pt x="33" y="54"/>
                  </a:lnTo>
                  <a:lnTo>
                    <a:pt x="0" y="26"/>
                  </a:lnTo>
                  <a:lnTo>
                    <a:pt x="12" y="5"/>
                  </a:lnTo>
                  <a:lnTo>
                    <a:pt x="0" y="0"/>
                  </a:lnTo>
                  <a:lnTo>
                    <a:pt x="50" y="5"/>
                  </a:lnTo>
                  <a:lnTo>
                    <a:pt x="50" y="16"/>
                  </a:lnTo>
                  <a:lnTo>
                    <a:pt x="73" y="5"/>
                  </a:lnTo>
                  <a:lnTo>
                    <a:pt x="66" y="54"/>
                  </a:lnTo>
                  <a:lnTo>
                    <a:pt x="106" y="75"/>
                  </a:lnTo>
                  <a:lnTo>
                    <a:pt x="106" y="116"/>
                  </a:lnTo>
                  <a:lnTo>
                    <a:pt x="128" y="149"/>
                  </a:lnTo>
                  <a:lnTo>
                    <a:pt x="128" y="260"/>
                  </a:lnTo>
                  <a:lnTo>
                    <a:pt x="128" y="260"/>
                  </a:lnTo>
                  <a:lnTo>
                    <a:pt x="128" y="260"/>
                  </a:lnTo>
                  <a:close/>
                </a:path>
              </a:pathLst>
            </a:custGeom>
            <a:solidFill>
              <a:schemeClr val="bg2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28" name="Freeform 572">
              <a:extLst>
                <a:ext uri="{FF2B5EF4-FFF2-40B4-BE49-F238E27FC236}">
                  <a16:creationId xmlns:a16="http://schemas.microsoft.com/office/drawing/2014/main" id="{0E45B715-3981-4321-BB57-EB9D4080C4CE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230991" y="2723220"/>
              <a:ext cx="10897" cy="18573"/>
            </a:xfrm>
            <a:custGeom>
              <a:avLst/>
              <a:gdLst>
                <a:gd name="T0" fmla="*/ 62 w 71"/>
                <a:gd name="T1" fmla="*/ 12 h 121"/>
                <a:gd name="T2" fmla="*/ 62 w 71"/>
                <a:gd name="T3" fmla="*/ 7 h 121"/>
                <a:gd name="T4" fmla="*/ 62 w 71"/>
                <a:gd name="T5" fmla="*/ 0 h 121"/>
                <a:gd name="T6" fmla="*/ 71 w 71"/>
                <a:gd name="T7" fmla="*/ 7 h 121"/>
                <a:gd name="T8" fmla="*/ 62 w 71"/>
                <a:gd name="T9" fmla="*/ 12 h 121"/>
                <a:gd name="T10" fmla="*/ 62 w 71"/>
                <a:gd name="T11" fmla="*/ 12 h 121"/>
                <a:gd name="T12" fmla="*/ 62 w 71"/>
                <a:gd name="T13" fmla="*/ 12 h 121"/>
                <a:gd name="T14" fmla="*/ 0 w 71"/>
                <a:gd name="T15" fmla="*/ 121 h 121"/>
                <a:gd name="T16" fmla="*/ 0 w 71"/>
                <a:gd name="T17" fmla="*/ 104 h 121"/>
                <a:gd name="T18" fmla="*/ 17 w 71"/>
                <a:gd name="T19" fmla="*/ 99 h 121"/>
                <a:gd name="T20" fmla="*/ 17 w 71"/>
                <a:gd name="T21" fmla="*/ 116 h 121"/>
                <a:gd name="T22" fmla="*/ 0 w 71"/>
                <a:gd name="T23" fmla="*/ 121 h 121"/>
                <a:gd name="T24" fmla="*/ 0 w 71"/>
                <a:gd name="T25" fmla="*/ 121 h 121"/>
                <a:gd name="T26" fmla="*/ 0 w 71"/>
                <a:gd name="T27" fmla="*/ 121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1" h="121">
                  <a:moveTo>
                    <a:pt x="62" y="12"/>
                  </a:moveTo>
                  <a:lnTo>
                    <a:pt x="62" y="7"/>
                  </a:lnTo>
                  <a:lnTo>
                    <a:pt x="62" y="0"/>
                  </a:lnTo>
                  <a:lnTo>
                    <a:pt x="71" y="7"/>
                  </a:lnTo>
                  <a:lnTo>
                    <a:pt x="62" y="12"/>
                  </a:lnTo>
                  <a:lnTo>
                    <a:pt x="62" y="12"/>
                  </a:lnTo>
                  <a:lnTo>
                    <a:pt x="62" y="12"/>
                  </a:lnTo>
                  <a:close/>
                  <a:moveTo>
                    <a:pt x="0" y="121"/>
                  </a:moveTo>
                  <a:lnTo>
                    <a:pt x="0" y="104"/>
                  </a:lnTo>
                  <a:lnTo>
                    <a:pt x="17" y="99"/>
                  </a:lnTo>
                  <a:lnTo>
                    <a:pt x="17" y="116"/>
                  </a:lnTo>
                  <a:lnTo>
                    <a:pt x="0" y="121"/>
                  </a:lnTo>
                  <a:lnTo>
                    <a:pt x="0" y="121"/>
                  </a:lnTo>
                  <a:lnTo>
                    <a:pt x="0" y="121"/>
                  </a:lnTo>
                  <a:close/>
                </a:path>
              </a:pathLst>
            </a:custGeom>
            <a:solidFill>
              <a:schemeClr val="bg2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29" name="Freeform 573">
              <a:extLst>
                <a:ext uri="{FF2B5EF4-FFF2-40B4-BE49-F238E27FC236}">
                  <a16:creationId xmlns:a16="http://schemas.microsoft.com/office/drawing/2014/main" id="{D89AF5B8-F49F-485C-A0B9-4769D6E57A1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241888" y="2309866"/>
              <a:ext cx="43587" cy="88104"/>
            </a:xfrm>
            <a:custGeom>
              <a:avLst/>
              <a:gdLst>
                <a:gd name="T0" fmla="*/ 24 w 284"/>
                <a:gd name="T1" fmla="*/ 251 h 574"/>
                <a:gd name="T2" fmla="*/ 55 w 284"/>
                <a:gd name="T3" fmla="*/ 222 h 574"/>
                <a:gd name="T4" fmla="*/ 59 w 284"/>
                <a:gd name="T5" fmla="*/ 156 h 574"/>
                <a:gd name="T6" fmla="*/ 55 w 284"/>
                <a:gd name="T7" fmla="*/ 116 h 574"/>
                <a:gd name="T8" fmla="*/ 45 w 284"/>
                <a:gd name="T9" fmla="*/ 62 h 574"/>
                <a:gd name="T10" fmla="*/ 76 w 284"/>
                <a:gd name="T11" fmla="*/ 26 h 574"/>
                <a:gd name="T12" fmla="*/ 168 w 284"/>
                <a:gd name="T13" fmla="*/ 0 h 574"/>
                <a:gd name="T14" fmla="*/ 161 w 284"/>
                <a:gd name="T15" fmla="*/ 17 h 574"/>
                <a:gd name="T16" fmla="*/ 168 w 284"/>
                <a:gd name="T17" fmla="*/ 5 h 574"/>
                <a:gd name="T18" fmla="*/ 194 w 284"/>
                <a:gd name="T19" fmla="*/ 5 h 574"/>
                <a:gd name="T20" fmla="*/ 194 w 284"/>
                <a:gd name="T21" fmla="*/ 17 h 574"/>
                <a:gd name="T22" fmla="*/ 199 w 284"/>
                <a:gd name="T23" fmla="*/ 38 h 574"/>
                <a:gd name="T24" fmla="*/ 199 w 284"/>
                <a:gd name="T25" fmla="*/ 43 h 574"/>
                <a:gd name="T26" fmla="*/ 253 w 284"/>
                <a:gd name="T27" fmla="*/ 26 h 574"/>
                <a:gd name="T28" fmla="*/ 215 w 284"/>
                <a:gd name="T29" fmla="*/ 78 h 574"/>
                <a:gd name="T30" fmla="*/ 220 w 284"/>
                <a:gd name="T31" fmla="*/ 128 h 574"/>
                <a:gd name="T32" fmla="*/ 248 w 284"/>
                <a:gd name="T33" fmla="*/ 156 h 574"/>
                <a:gd name="T34" fmla="*/ 232 w 284"/>
                <a:gd name="T35" fmla="*/ 210 h 574"/>
                <a:gd name="T36" fmla="*/ 177 w 284"/>
                <a:gd name="T37" fmla="*/ 251 h 574"/>
                <a:gd name="T38" fmla="*/ 199 w 284"/>
                <a:gd name="T39" fmla="*/ 296 h 574"/>
                <a:gd name="T40" fmla="*/ 220 w 284"/>
                <a:gd name="T41" fmla="*/ 296 h 574"/>
                <a:gd name="T42" fmla="*/ 232 w 284"/>
                <a:gd name="T43" fmla="*/ 317 h 574"/>
                <a:gd name="T44" fmla="*/ 236 w 284"/>
                <a:gd name="T45" fmla="*/ 300 h 574"/>
                <a:gd name="T46" fmla="*/ 258 w 284"/>
                <a:gd name="T47" fmla="*/ 333 h 574"/>
                <a:gd name="T48" fmla="*/ 274 w 284"/>
                <a:gd name="T49" fmla="*/ 378 h 574"/>
                <a:gd name="T50" fmla="*/ 236 w 284"/>
                <a:gd name="T51" fmla="*/ 418 h 574"/>
                <a:gd name="T52" fmla="*/ 199 w 284"/>
                <a:gd name="T53" fmla="*/ 463 h 574"/>
                <a:gd name="T54" fmla="*/ 199 w 284"/>
                <a:gd name="T55" fmla="*/ 518 h 574"/>
                <a:gd name="T56" fmla="*/ 168 w 284"/>
                <a:gd name="T57" fmla="*/ 562 h 574"/>
                <a:gd name="T58" fmla="*/ 109 w 284"/>
                <a:gd name="T59" fmla="*/ 430 h 574"/>
                <a:gd name="T60" fmla="*/ 59 w 284"/>
                <a:gd name="T61" fmla="*/ 362 h 574"/>
                <a:gd name="T62" fmla="*/ 17 w 284"/>
                <a:gd name="T63" fmla="*/ 333 h 574"/>
                <a:gd name="T64" fmla="*/ 0 w 284"/>
                <a:gd name="T65" fmla="*/ 262 h 574"/>
                <a:gd name="T66" fmla="*/ 0 w 284"/>
                <a:gd name="T67" fmla="*/ 262 h 574"/>
                <a:gd name="T68" fmla="*/ 258 w 284"/>
                <a:gd name="T69" fmla="*/ 206 h 574"/>
                <a:gd name="T70" fmla="*/ 253 w 284"/>
                <a:gd name="T71" fmla="*/ 210 h 574"/>
                <a:gd name="T72" fmla="*/ 253 w 284"/>
                <a:gd name="T73" fmla="*/ 210 h 574"/>
                <a:gd name="T74" fmla="*/ 232 w 284"/>
                <a:gd name="T75" fmla="*/ 296 h 574"/>
                <a:gd name="T76" fmla="*/ 232 w 284"/>
                <a:gd name="T77" fmla="*/ 279 h 574"/>
                <a:gd name="T78" fmla="*/ 236 w 284"/>
                <a:gd name="T79" fmla="*/ 300 h 574"/>
                <a:gd name="T80" fmla="*/ 236 w 284"/>
                <a:gd name="T81" fmla="*/ 300 h 5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284" h="574">
                  <a:moveTo>
                    <a:pt x="0" y="262"/>
                  </a:moveTo>
                  <a:lnTo>
                    <a:pt x="24" y="251"/>
                  </a:lnTo>
                  <a:lnTo>
                    <a:pt x="24" y="239"/>
                  </a:lnTo>
                  <a:lnTo>
                    <a:pt x="55" y="222"/>
                  </a:lnTo>
                  <a:lnTo>
                    <a:pt x="59" y="173"/>
                  </a:lnTo>
                  <a:lnTo>
                    <a:pt x="59" y="156"/>
                  </a:lnTo>
                  <a:lnTo>
                    <a:pt x="59" y="133"/>
                  </a:lnTo>
                  <a:lnTo>
                    <a:pt x="55" y="116"/>
                  </a:lnTo>
                  <a:lnTo>
                    <a:pt x="59" y="71"/>
                  </a:lnTo>
                  <a:lnTo>
                    <a:pt x="45" y="62"/>
                  </a:lnTo>
                  <a:lnTo>
                    <a:pt x="88" y="38"/>
                  </a:lnTo>
                  <a:lnTo>
                    <a:pt x="76" y="26"/>
                  </a:lnTo>
                  <a:lnTo>
                    <a:pt x="151" y="0"/>
                  </a:lnTo>
                  <a:lnTo>
                    <a:pt x="168" y="0"/>
                  </a:lnTo>
                  <a:lnTo>
                    <a:pt x="161" y="5"/>
                  </a:lnTo>
                  <a:lnTo>
                    <a:pt x="161" y="17"/>
                  </a:lnTo>
                  <a:lnTo>
                    <a:pt x="168" y="5"/>
                  </a:lnTo>
                  <a:lnTo>
                    <a:pt x="168" y="5"/>
                  </a:lnTo>
                  <a:lnTo>
                    <a:pt x="177" y="0"/>
                  </a:lnTo>
                  <a:lnTo>
                    <a:pt x="194" y="5"/>
                  </a:lnTo>
                  <a:lnTo>
                    <a:pt x="182" y="17"/>
                  </a:lnTo>
                  <a:lnTo>
                    <a:pt x="194" y="17"/>
                  </a:lnTo>
                  <a:lnTo>
                    <a:pt x="194" y="21"/>
                  </a:lnTo>
                  <a:lnTo>
                    <a:pt x="199" y="38"/>
                  </a:lnTo>
                  <a:lnTo>
                    <a:pt x="194" y="38"/>
                  </a:lnTo>
                  <a:lnTo>
                    <a:pt x="199" y="43"/>
                  </a:lnTo>
                  <a:lnTo>
                    <a:pt x="248" y="17"/>
                  </a:lnTo>
                  <a:lnTo>
                    <a:pt x="253" y="26"/>
                  </a:lnTo>
                  <a:lnTo>
                    <a:pt x="232" y="71"/>
                  </a:lnTo>
                  <a:lnTo>
                    <a:pt x="215" y="78"/>
                  </a:lnTo>
                  <a:lnTo>
                    <a:pt x="203" y="95"/>
                  </a:lnTo>
                  <a:lnTo>
                    <a:pt x="220" y="128"/>
                  </a:lnTo>
                  <a:lnTo>
                    <a:pt x="248" y="133"/>
                  </a:lnTo>
                  <a:lnTo>
                    <a:pt x="248" y="156"/>
                  </a:lnTo>
                  <a:lnTo>
                    <a:pt x="253" y="173"/>
                  </a:lnTo>
                  <a:lnTo>
                    <a:pt x="232" y="210"/>
                  </a:lnTo>
                  <a:lnTo>
                    <a:pt x="182" y="246"/>
                  </a:lnTo>
                  <a:lnTo>
                    <a:pt x="177" y="251"/>
                  </a:lnTo>
                  <a:lnTo>
                    <a:pt x="182" y="279"/>
                  </a:lnTo>
                  <a:lnTo>
                    <a:pt x="199" y="296"/>
                  </a:lnTo>
                  <a:lnTo>
                    <a:pt x="203" y="300"/>
                  </a:lnTo>
                  <a:lnTo>
                    <a:pt x="220" y="296"/>
                  </a:lnTo>
                  <a:lnTo>
                    <a:pt x="220" y="307"/>
                  </a:lnTo>
                  <a:lnTo>
                    <a:pt x="232" y="317"/>
                  </a:lnTo>
                  <a:lnTo>
                    <a:pt x="236" y="307"/>
                  </a:lnTo>
                  <a:lnTo>
                    <a:pt x="236" y="300"/>
                  </a:lnTo>
                  <a:lnTo>
                    <a:pt x="248" y="300"/>
                  </a:lnTo>
                  <a:lnTo>
                    <a:pt x="258" y="333"/>
                  </a:lnTo>
                  <a:lnTo>
                    <a:pt x="284" y="340"/>
                  </a:lnTo>
                  <a:lnTo>
                    <a:pt x="274" y="378"/>
                  </a:lnTo>
                  <a:lnTo>
                    <a:pt x="284" y="395"/>
                  </a:lnTo>
                  <a:lnTo>
                    <a:pt x="236" y="418"/>
                  </a:lnTo>
                  <a:lnTo>
                    <a:pt x="203" y="451"/>
                  </a:lnTo>
                  <a:lnTo>
                    <a:pt x="199" y="463"/>
                  </a:lnTo>
                  <a:lnTo>
                    <a:pt x="182" y="473"/>
                  </a:lnTo>
                  <a:lnTo>
                    <a:pt x="199" y="518"/>
                  </a:lnTo>
                  <a:lnTo>
                    <a:pt x="194" y="529"/>
                  </a:lnTo>
                  <a:lnTo>
                    <a:pt x="168" y="562"/>
                  </a:lnTo>
                  <a:lnTo>
                    <a:pt x="147" y="574"/>
                  </a:lnTo>
                  <a:lnTo>
                    <a:pt x="109" y="430"/>
                  </a:lnTo>
                  <a:lnTo>
                    <a:pt x="59" y="390"/>
                  </a:lnTo>
                  <a:lnTo>
                    <a:pt x="59" y="362"/>
                  </a:lnTo>
                  <a:lnTo>
                    <a:pt x="45" y="340"/>
                  </a:lnTo>
                  <a:lnTo>
                    <a:pt x="17" y="333"/>
                  </a:lnTo>
                  <a:lnTo>
                    <a:pt x="0" y="279"/>
                  </a:lnTo>
                  <a:lnTo>
                    <a:pt x="0" y="262"/>
                  </a:lnTo>
                  <a:lnTo>
                    <a:pt x="0" y="262"/>
                  </a:lnTo>
                  <a:lnTo>
                    <a:pt x="0" y="262"/>
                  </a:lnTo>
                  <a:close/>
                  <a:moveTo>
                    <a:pt x="253" y="210"/>
                  </a:moveTo>
                  <a:lnTo>
                    <a:pt x="258" y="206"/>
                  </a:lnTo>
                  <a:lnTo>
                    <a:pt x="270" y="206"/>
                  </a:lnTo>
                  <a:lnTo>
                    <a:pt x="253" y="210"/>
                  </a:lnTo>
                  <a:lnTo>
                    <a:pt x="253" y="210"/>
                  </a:lnTo>
                  <a:lnTo>
                    <a:pt x="253" y="210"/>
                  </a:lnTo>
                  <a:close/>
                  <a:moveTo>
                    <a:pt x="236" y="300"/>
                  </a:moveTo>
                  <a:lnTo>
                    <a:pt x="232" y="296"/>
                  </a:lnTo>
                  <a:lnTo>
                    <a:pt x="232" y="296"/>
                  </a:lnTo>
                  <a:lnTo>
                    <a:pt x="232" y="279"/>
                  </a:lnTo>
                  <a:lnTo>
                    <a:pt x="248" y="284"/>
                  </a:lnTo>
                  <a:lnTo>
                    <a:pt x="236" y="300"/>
                  </a:lnTo>
                  <a:lnTo>
                    <a:pt x="236" y="300"/>
                  </a:lnTo>
                  <a:lnTo>
                    <a:pt x="236" y="300"/>
                  </a:lnTo>
                  <a:close/>
                </a:path>
              </a:pathLst>
            </a:custGeom>
            <a:solidFill>
              <a:schemeClr val="bg2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30" name="Freeform 574">
              <a:extLst>
                <a:ext uri="{FF2B5EF4-FFF2-40B4-BE49-F238E27FC236}">
                  <a16:creationId xmlns:a16="http://schemas.microsoft.com/office/drawing/2014/main" id="{923B43C9-5A9D-48ED-BFFA-194CD544178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437722" y="2247855"/>
              <a:ext cx="205503" cy="81658"/>
            </a:xfrm>
            <a:custGeom>
              <a:avLst/>
              <a:gdLst>
                <a:gd name="T0" fmla="*/ 71 w 1339"/>
                <a:gd name="T1" fmla="*/ 62 h 532"/>
                <a:gd name="T2" fmla="*/ 59 w 1339"/>
                <a:gd name="T3" fmla="*/ 22 h 532"/>
                <a:gd name="T4" fmla="*/ 113 w 1339"/>
                <a:gd name="T5" fmla="*/ 0 h 532"/>
                <a:gd name="T6" fmla="*/ 168 w 1339"/>
                <a:gd name="T7" fmla="*/ 38 h 532"/>
                <a:gd name="T8" fmla="*/ 222 w 1339"/>
                <a:gd name="T9" fmla="*/ 95 h 532"/>
                <a:gd name="T10" fmla="*/ 177 w 1339"/>
                <a:gd name="T11" fmla="*/ 88 h 532"/>
                <a:gd name="T12" fmla="*/ 75 w 1339"/>
                <a:gd name="T13" fmla="*/ 144 h 532"/>
                <a:gd name="T14" fmla="*/ 80 w 1339"/>
                <a:gd name="T15" fmla="*/ 128 h 532"/>
                <a:gd name="T16" fmla="*/ 26 w 1339"/>
                <a:gd name="T17" fmla="*/ 116 h 532"/>
                <a:gd name="T18" fmla="*/ 1264 w 1339"/>
                <a:gd name="T19" fmla="*/ 409 h 532"/>
                <a:gd name="T20" fmla="*/ 1188 w 1339"/>
                <a:gd name="T21" fmla="*/ 421 h 532"/>
                <a:gd name="T22" fmla="*/ 1150 w 1339"/>
                <a:gd name="T23" fmla="*/ 409 h 532"/>
                <a:gd name="T24" fmla="*/ 957 w 1339"/>
                <a:gd name="T25" fmla="*/ 461 h 532"/>
                <a:gd name="T26" fmla="*/ 827 w 1339"/>
                <a:gd name="T27" fmla="*/ 461 h 532"/>
                <a:gd name="T28" fmla="*/ 777 w 1339"/>
                <a:gd name="T29" fmla="*/ 487 h 532"/>
                <a:gd name="T30" fmla="*/ 739 w 1339"/>
                <a:gd name="T31" fmla="*/ 532 h 532"/>
                <a:gd name="T32" fmla="*/ 739 w 1339"/>
                <a:gd name="T33" fmla="*/ 461 h 532"/>
                <a:gd name="T34" fmla="*/ 701 w 1339"/>
                <a:gd name="T35" fmla="*/ 461 h 532"/>
                <a:gd name="T36" fmla="*/ 583 w 1339"/>
                <a:gd name="T37" fmla="*/ 487 h 532"/>
                <a:gd name="T38" fmla="*/ 470 w 1339"/>
                <a:gd name="T39" fmla="*/ 499 h 532"/>
                <a:gd name="T40" fmla="*/ 340 w 1339"/>
                <a:gd name="T41" fmla="*/ 482 h 532"/>
                <a:gd name="T42" fmla="*/ 243 w 1339"/>
                <a:gd name="T43" fmla="*/ 482 h 532"/>
                <a:gd name="T44" fmla="*/ 231 w 1339"/>
                <a:gd name="T45" fmla="*/ 449 h 532"/>
                <a:gd name="T46" fmla="*/ 189 w 1339"/>
                <a:gd name="T47" fmla="*/ 444 h 532"/>
                <a:gd name="T48" fmla="*/ 168 w 1339"/>
                <a:gd name="T49" fmla="*/ 461 h 532"/>
                <a:gd name="T50" fmla="*/ 125 w 1339"/>
                <a:gd name="T51" fmla="*/ 461 h 532"/>
                <a:gd name="T52" fmla="*/ 113 w 1339"/>
                <a:gd name="T53" fmla="*/ 433 h 532"/>
                <a:gd name="T54" fmla="*/ 134 w 1339"/>
                <a:gd name="T55" fmla="*/ 409 h 532"/>
                <a:gd name="T56" fmla="*/ 113 w 1339"/>
                <a:gd name="T57" fmla="*/ 350 h 532"/>
                <a:gd name="T58" fmla="*/ 42 w 1339"/>
                <a:gd name="T59" fmla="*/ 322 h 532"/>
                <a:gd name="T60" fmla="*/ 54 w 1339"/>
                <a:gd name="T61" fmla="*/ 310 h 532"/>
                <a:gd name="T62" fmla="*/ 108 w 1339"/>
                <a:gd name="T63" fmla="*/ 310 h 532"/>
                <a:gd name="T64" fmla="*/ 97 w 1339"/>
                <a:gd name="T65" fmla="*/ 265 h 532"/>
                <a:gd name="T66" fmla="*/ 92 w 1339"/>
                <a:gd name="T67" fmla="*/ 222 h 532"/>
                <a:gd name="T68" fmla="*/ 75 w 1339"/>
                <a:gd name="T69" fmla="*/ 144 h 532"/>
                <a:gd name="T70" fmla="*/ 146 w 1339"/>
                <a:gd name="T71" fmla="*/ 133 h 532"/>
                <a:gd name="T72" fmla="*/ 163 w 1339"/>
                <a:gd name="T73" fmla="*/ 149 h 532"/>
                <a:gd name="T74" fmla="*/ 269 w 1339"/>
                <a:gd name="T75" fmla="*/ 116 h 532"/>
                <a:gd name="T76" fmla="*/ 238 w 1339"/>
                <a:gd name="T77" fmla="*/ 88 h 532"/>
                <a:gd name="T78" fmla="*/ 361 w 1339"/>
                <a:gd name="T79" fmla="*/ 88 h 532"/>
                <a:gd name="T80" fmla="*/ 541 w 1339"/>
                <a:gd name="T81" fmla="*/ 5 h 532"/>
                <a:gd name="T82" fmla="*/ 692 w 1339"/>
                <a:gd name="T83" fmla="*/ 38 h 532"/>
                <a:gd name="T84" fmla="*/ 756 w 1339"/>
                <a:gd name="T85" fmla="*/ 71 h 532"/>
                <a:gd name="T86" fmla="*/ 831 w 1339"/>
                <a:gd name="T87" fmla="*/ 88 h 532"/>
                <a:gd name="T88" fmla="*/ 961 w 1339"/>
                <a:gd name="T89" fmla="*/ 88 h 532"/>
                <a:gd name="T90" fmla="*/ 1134 w 1339"/>
                <a:gd name="T91" fmla="*/ 55 h 532"/>
                <a:gd name="T92" fmla="*/ 1205 w 1339"/>
                <a:gd name="T93" fmla="*/ 38 h 532"/>
                <a:gd name="T94" fmla="*/ 1268 w 1339"/>
                <a:gd name="T95" fmla="*/ 111 h 532"/>
                <a:gd name="T96" fmla="*/ 1280 w 1339"/>
                <a:gd name="T97" fmla="*/ 173 h 532"/>
                <a:gd name="T98" fmla="*/ 1334 w 1339"/>
                <a:gd name="T99" fmla="*/ 199 h 532"/>
                <a:gd name="T100" fmla="*/ 1301 w 1339"/>
                <a:gd name="T101" fmla="*/ 255 h 532"/>
                <a:gd name="T102" fmla="*/ 1318 w 1339"/>
                <a:gd name="T103" fmla="*/ 317 h 532"/>
                <a:gd name="T104" fmla="*/ 1339 w 1339"/>
                <a:gd name="T105" fmla="*/ 404 h 532"/>
                <a:gd name="T106" fmla="*/ 1301 w 1339"/>
                <a:gd name="T107" fmla="*/ 421 h 532"/>
                <a:gd name="T108" fmla="*/ 1297 w 1339"/>
                <a:gd name="T109" fmla="*/ 404 h 532"/>
                <a:gd name="T110" fmla="*/ 134 w 1339"/>
                <a:gd name="T111" fmla="*/ 128 h 532"/>
                <a:gd name="T112" fmla="*/ 0 w 1339"/>
                <a:gd name="T113" fmla="*/ 166 h 532"/>
                <a:gd name="T114" fmla="*/ 5 w 1339"/>
                <a:gd name="T115" fmla="*/ 166 h 532"/>
                <a:gd name="T116" fmla="*/ 21 w 1339"/>
                <a:gd name="T117" fmla="*/ 189 h 532"/>
                <a:gd name="T118" fmla="*/ 26 w 1339"/>
                <a:gd name="T119" fmla="*/ 199 h 5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339" h="532">
                  <a:moveTo>
                    <a:pt x="26" y="116"/>
                  </a:moveTo>
                  <a:lnTo>
                    <a:pt x="54" y="95"/>
                  </a:lnTo>
                  <a:lnTo>
                    <a:pt x="42" y="71"/>
                  </a:lnTo>
                  <a:lnTo>
                    <a:pt x="71" y="62"/>
                  </a:lnTo>
                  <a:lnTo>
                    <a:pt x="71" y="38"/>
                  </a:lnTo>
                  <a:lnTo>
                    <a:pt x="54" y="33"/>
                  </a:lnTo>
                  <a:lnTo>
                    <a:pt x="54" y="22"/>
                  </a:lnTo>
                  <a:lnTo>
                    <a:pt x="59" y="22"/>
                  </a:lnTo>
                  <a:lnTo>
                    <a:pt x="71" y="5"/>
                  </a:lnTo>
                  <a:lnTo>
                    <a:pt x="92" y="5"/>
                  </a:lnTo>
                  <a:lnTo>
                    <a:pt x="97" y="0"/>
                  </a:lnTo>
                  <a:lnTo>
                    <a:pt x="113" y="0"/>
                  </a:lnTo>
                  <a:lnTo>
                    <a:pt x="134" y="17"/>
                  </a:lnTo>
                  <a:lnTo>
                    <a:pt x="168" y="5"/>
                  </a:lnTo>
                  <a:lnTo>
                    <a:pt x="163" y="22"/>
                  </a:lnTo>
                  <a:lnTo>
                    <a:pt x="168" y="38"/>
                  </a:lnTo>
                  <a:lnTo>
                    <a:pt x="201" y="55"/>
                  </a:lnTo>
                  <a:lnTo>
                    <a:pt x="238" y="71"/>
                  </a:lnTo>
                  <a:lnTo>
                    <a:pt x="238" y="88"/>
                  </a:lnTo>
                  <a:lnTo>
                    <a:pt x="222" y="95"/>
                  </a:lnTo>
                  <a:lnTo>
                    <a:pt x="205" y="95"/>
                  </a:lnTo>
                  <a:lnTo>
                    <a:pt x="201" y="88"/>
                  </a:lnTo>
                  <a:lnTo>
                    <a:pt x="201" y="95"/>
                  </a:lnTo>
                  <a:lnTo>
                    <a:pt x="177" y="88"/>
                  </a:lnTo>
                  <a:lnTo>
                    <a:pt x="163" y="95"/>
                  </a:lnTo>
                  <a:lnTo>
                    <a:pt x="130" y="95"/>
                  </a:lnTo>
                  <a:lnTo>
                    <a:pt x="113" y="116"/>
                  </a:lnTo>
                  <a:lnTo>
                    <a:pt x="75" y="144"/>
                  </a:lnTo>
                  <a:lnTo>
                    <a:pt x="38" y="173"/>
                  </a:lnTo>
                  <a:lnTo>
                    <a:pt x="42" y="156"/>
                  </a:lnTo>
                  <a:lnTo>
                    <a:pt x="38" y="149"/>
                  </a:lnTo>
                  <a:lnTo>
                    <a:pt x="80" y="128"/>
                  </a:lnTo>
                  <a:lnTo>
                    <a:pt x="75" y="116"/>
                  </a:lnTo>
                  <a:lnTo>
                    <a:pt x="26" y="128"/>
                  </a:lnTo>
                  <a:lnTo>
                    <a:pt x="26" y="116"/>
                  </a:lnTo>
                  <a:lnTo>
                    <a:pt x="26" y="116"/>
                  </a:lnTo>
                  <a:lnTo>
                    <a:pt x="26" y="116"/>
                  </a:lnTo>
                  <a:close/>
                  <a:moveTo>
                    <a:pt x="1297" y="404"/>
                  </a:moveTo>
                  <a:lnTo>
                    <a:pt x="1280" y="409"/>
                  </a:lnTo>
                  <a:lnTo>
                    <a:pt x="1264" y="409"/>
                  </a:lnTo>
                  <a:lnTo>
                    <a:pt x="1226" y="392"/>
                  </a:lnTo>
                  <a:lnTo>
                    <a:pt x="1214" y="404"/>
                  </a:lnTo>
                  <a:lnTo>
                    <a:pt x="1205" y="392"/>
                  </a:lnTo>
                  <a:lnTo>
                    <a:pt x="1188" y="421"/>
                  </a:lnTo>
                  <a:lnTo>
                    <a:pt x="1171" y="421"/>
                  </a:lnTo>
                  <a:lnTo>
                    <a:pt x="1171" y="409"/>
                  </a:lnTo>
                  <a:lnTo>
                    <a:pt x="1155" y="404"/>
                  </a:lnTo>
                  <a:lnTo>
                    <a:pt x="1150" y="409"/>
                  </a:lnTo>
                  <a:lnTo>
                    <a:pt x="1117" y="421"/>
                  </a:lnTo>
                  <a:lnTo>
                    <a:pt x="1063" y="421"/>
                  </a:lnTo>
                  <a:lnTo>
                    <a:pt x="994" y="449"/>
                  </a:lnTo>
                  <a:lnTo>
                    <a:pt x="957" y="461"/>
                  </a:lnTo>
                  <a:lnTo>
                    <a:pt x="919" y="449"/>
                  </a:lnTo>
                  <a:lnTo>
                    <a:pt x="902" y="444"/>
                  </a:lnTo>
                  <a:lnTo>
                    <a:pt x="886" y="433"/>
                  </a:lnTo>
                  <a:lnTo>
                    <a:pt x="827" y="461"/>
                  </a:lnTo>
                  <a:lnTo>
                    <a:pt x="810" y="461"/>
                  </a:lnTo>
                  <a:lnTo>
                    <a:pt x="772" y="444"/>
                  </a:lnTo>
                  <a:lnTo>
                    <a:pt x="760" y="477"/>
                  </a:lnTo>
                  <a:lnTo>
                    <a:pt x="777" y="487"/>
                  </a:lnTo>
                  <a:lnTo>
                    <a:pt x="756" y="487"/>
                  </a:lnTo>
                  <a:lnTo>
                    <a:pt x="756" y="515"/>
                  </a:lnTo>
                  <a:lnTo>
                    <a:pt x="739" y="515"/>
                  </a:lnTo>
                  <a:lnTo>
                    <a:pt x="739" y="532"/>
                  </a:lnTo>
                  <a:lnTo>
                    <a:pt x="723" y="515"/>
                  </a:lnTo>
                  <a:lnTo>
                    <a:pt x="723" y="515"/>
                  </a:lnTo>
                  <a:lnTo>
                    <a:pt x="706" y="482"/>
                  </a:lnTo>
                  <a:lnTo>
                    <a:pt x="739" y="461"/>
                  </a:lnTo>
                  <a:lnTo>
                    <a:pt x="739" y="444"/>
                  </a:lnTo>
                  <a:lnTo>
                    <a:pt x="723" y="433"/>
                  </a:lnTo>
                  <a:lnTo>
                    <a:pt x="692" y="449"/>
                  </a:lnTo>
                  <a:lnTo>
                    <a:pt x="701" y="461"/>
                  </a:lnTo>
                  <a:lnTo>
                    <a:pt x="675" y="466"/>
                  </a:lnTo>
                  <a:lnTo>
                    <a:pt x="631" y="444"/>
                  </a:lnTo>
                  <a:lnTo>
                    <a:pt x="609" y="466"/>
                  </a:lnTo>
                  <a:lnTo>
                    <a:pt x="583" y="487"/>
                  </a:lnTo>
                  <a:lnTo>
                    <a:pt x="579" y="482"/>
                  </a:lnTo>
                  <a:lnTo>
                    <a:pt x="562" y="499"/>
                  </a:lnTo>
                  <a:lnTo>
                    <a:pt x="503" y="503"/>
                  </a:lnTo>
                  <a:lnTo>
                    <a:pt x="470" y="499"/>
                  </a:lnTo>
                  <a:lnTo>
                    <a:pt x="449" y="466"/>
                  </a:lnTo>
                  <a:lnTo>
                    <a:pt x="378" y="444"/>
                  </a:lnTo>
                  <a:lnTo>
                    <a:pt x="345" y="444"/>
                  </a:lnTo>
                  <a:lnTo>
                    <a:pt x="340" y="482"/>
                  </a:lnTo>
                  <a:lnTo>
                    <a:pt x="328" y="499"/>
                  </a:lnTo>
                  <a:lnTo>
                    <a:pt x="323" y="482"/>
                  </a:lnTo>
                  <a:lnTo>
                    <a:pt x="286" y="499"/>
                  </a:lnTo>
                  <a:lnTo>
                    <a:pt x="243" y="482"/>
                  </a:lnTo>
                  <a:lnTo>
                    <a:pt x="243" y="466"/>
                  </a:lnTo>
                  <a:lnTo>
                    <a:pt x="238" y="466"/>
                  </a:lnTo>
                  <a:lnTo>
                    <a:pt x="238" y="461"/>
                  </a:lnTo>
                  <a:lnTo>
                    <a:pt x="231" y="449"/>
                  </a:lnTo>
                  <a:lnTo>
                    <a:pt x="222" y="461"/>
                  </a:lnTo>
                  <a:lnTo>
                    <a:pt x="215" y="449"/>
                  </a:lnTo>
                  <a:lnTo>
                    <a:pt x="201" y="433"/>
                  </a:lnTo>
                  <a:lnTo>
                    <a:pt x="189" y="444"/>
                  </a:lnTo>
                  <a:lnTo>
                    <a:pt x="184" y="444"/>
                  </a:lnTo>
                  <a:lnTo>
                    <a:pt x="184" y="449"/>
                  </a:lnTo>
                  <a:lnTo>
                    <a:pt x="163" y="466"/>
                  </a:lnTo>
                  <a:lnTo>
                    <a:pt x="168" y="461"/>
                  </a:lnTo>
                  <a:lnTo>
                    <a:pt x="163" y="449"/>
                  </a:lnTo>
                  <a:lnTo>
                    <a:pt x="177" y="449"/>
                  </a:lnTo>
                  <a:lnTo>
                    <a:pt x="177" y="444"/>
                  </a:lnTo>
                  <a:lnTo>
                    <a:pt x="125" y="461"/>
                  </a:lnTo>
                  <a:lnTo>
                    <a:pt x="168" y="444"/>
                  </a:lnTo>
                  <a:lnTo>
                    <a:pt x="168" y="433"/>
                  </a:lnTo>
                  <a:lnTo>
                    <a:pt x="189" y="425"/>
                  </a:lnTo>
                  <a:lnTo>
                    <a:pt x="113" y="433"/>
                  </a:lnTo>
                  <a:lnTo>
                    <a:pt x="113" y="425"/>
                  </a:lnTo>
                  <a:lnTo>
                    <a:pt x="113" y="421"/>
                  </a:lnTo>
                  <a:lnTo>
                    <a:pt x="130" y="421"/>
                  </a:lnTo>
                  <a:lnTo>
                    <a:pt x="134" y="409"/>
                  </a:lnTo>
                  <a:lnTo>
                    <a:pt x="125" y="404"/>
                  </a:lnTo>
                  <a:lnTo>
                    <a:pt x="125" y="392"/>
                  </a:lnTo>
                  <a:lnTo>
                    <a:pt x="108" y="404"/>
                  </a:lnTo>
                  <a:lnTo>
                    <a:pt x="113" y="350"/>
                  </a:lnTo>
                  <a:lnTo>
                    <a:pt x="92" y="338"/>
                  </a:lnTo>
                  <a:lnTo>
                    <a:pt x="75" y="322"/>
                  </a:lnTo>
                  <a:lnTo>
                    <a:pt x="71" y="338"/>
                  </a:lnTo>
                  <a:lnTo>
                    <a:pt x="42" y="322"/>
                  </a:lnTo>
                  <a:lnTo>
                    <a:pt x="42" y="317"/>
                  </a:lnTo>
                  <a:lnTo>
                    <a:pt x="54" y="317"/>
                  </a:lnTo>
                  <a:lnTo>
                    <a:pt x="59" y="310"/>
                  </a:lnTo>
                  <a:lnTo>
                    <a:pt x="54" y="310"/>
                  </a:lnTo>
                  <a:lnTo>
                    <a:pt x="54" y="293"/>
                  </a:lnTo>
                  <a:lnTo>
                    <a:pt x="59" y="293"/>
                  </a:lnTo>
                  <a:lnTo>
                    <a:pt x="75" y="317"/>
                  </a:lnTo>
                  <a:lnTo>
                    <a:pt x="108" y="310"/>
                  </a:lnTo>
                  <a:lnTo>
                    <a:pt x="92" y="310"/>
                  </a:lnTo>
                  <a:lnTo>
                    <a:pt x="75" y="293"/>
                  </a:lnTo>
                  <a:lnTo>
                    <a:pt x="75" y="281"/>
                  </a:lnTo>
                  <a:lnTo>
                    <a:pt x="97" y="265"/>
                  </a:lnTo>
                  <a:lnTo>
                    <a:pt x="80" y="265"/>
                  </a:lnTo>
                  <a:lnTo>
                    <a:pt x="80" y="255"/>
                  </a:lnTo>
                  <a:lnTo>
                    <a:pt x="71" y="239"/>
                  </a:lnTo>
                  <a:lnTo>
                    <a:pt x="92" y="222"/>
                  </a:lnTo>
                  <a:lnTo>
                    <a:pt x="92" y="211"/>
                  </a:lnTo>
                  <a:lnTo>
                    <a:pt x="26" y="222"/>
                  </a:lnTo>
                  <a:lnTo>
                    <a:pt x="38" y="182"/>
                  </a:lnTo>
                  <a:lnTo>
                    <a:pt x="75" y="144"/>
                  </a:lnTo>
                  <a:lnTo>
                    <a:pt x="108" y="144"/>
                  </a:lnTo>
                  <a:lnTo>
                    <a:pt x="130" y="149"/>
                  </a:lnTo>
                  <a:lnTo>
                    <a:pt x="151" y="149"/>
                  </a:lnTo>
                  <a:lnTo>
                    <a:pt x="146" y="133"/>
                  </a:lnTo>
                  <a:lnTo>
                    <a:pt x="146" y="133"/>
                  </a:lnTo>
                  <a:lnTo>
                    <a:pt x="168" y="133"/>
                  </a:lnTo>
                  <a:lnTo>
                    <a:pt x="163" y="144"/>
                  </a:lnTo>
                  <a:lnTo>
                    <a:pt x="163" y="149"/>
                  </a:lnTo>
                  <a:lnTo>
                    <a:pt x="238" y="149"/>
                  </a:lnTo>
                  <a:lnTo>
                    <a:pt x="243" y="144"/>
                  </a:lnTo>
                  <a:lnTo>
                    <a:pt x="222" y="133"/>
                  </a:lnTo>
                  <a:lnTo>
                    <a:pt x="269" y="116"/>
                  </a:lnTo>
                  <a:lnTo>
                    <a:pt x="297" y="116"/>
                  </a:lnTo>
                  <a:lnTo>
                    <a:pt x="260" y="111"/>
                  </a:lnTo>
                  <a:lnTo>
                    <a:pt x="243" y="100"/>
                  </a:lnTo>
                  <a:lnTo>
                    <a:pt x="238" y="88"/>
                  </a:lnTo>
                  <a:lnTo>
                    <a:pt x="243" y="71"/>
                  </a:lnTo>
                  <a:lnTo>
                    <a:pt x="307" y="78"/>
                  </a:lnTo>
                  <a:lnTo>
                    <a:pt x="323" y="71"/>
                  </a:lnTo>
                  <a:lnTo>
                    <a:pt x="361" y="88"/>
                  </a:lnTo>
                  <a:lnTo>
                    <a:pt x="394" y="88"/>
                  </a:lnTo>
                  <a:lnTo>
                    <a:pt x="416" y="62"/>
                  </a:lnTo>
                  <a:lnTo>
                    <a:pt x="458" y="33"/>
                  </a:lnTo>
                  <a:lnTo>
                    <a:pt x="541" y="5"/>
                  </a:lnTo>
                  <a:lnTo>
                    <a:pt x="638" y="5"/>
                  </a:lnTo>
                  <a:lnTo>
                    <a:pt x="654" y="0"/>
                  </a:lnTo>
                  <a:lnTo>
                    <a:pt x="675" y="33"/>
                  </a:lnTo>
                  <a:lnTo>
                    <a:pt x="692" y="38"/>
                  </a:lnTo>
                  <a:lnTo>
                    <a:pt x="723" y="33"/>
                  </a:lnTo>
                  <a:lnTo>
                    <a:pt x="730" y="33"/>
                  </a:lnTo>
                  <a:lnTo>
                    <a:pt x="730" y="55"/>
                  </a:lnTo>
                  <a:lnTo>
                    <a:pt x="756" y="71"/>
                  </a:lnTo>
                  <a:lnTo>
                    <a:pt x="782" y="62"/>
                  </a:lnTo>
                  <a:lnTo>
                    <a:pt x="798" y="71"/>
                  </a:lnTo>
                  <a:lnTo>
                    <a:pt x="798" y="78"/>
                  </a:lnTo>
                  <a:lnTo>
                    <a:pt x="831" y="88"/>
                  </a:lnTo>
                  <a:lnTo>
                    <a:pt x="848" y="78"/>
                  </a:lnTo>
                  <a:lnTo>
                    <a:pt x="853" y="95"/>
                  </a:lnTo>
                  <a:lnTo>
                    <a:pt x="890" y="100"/>
                  </a:lnTo>
                  <a:lnTo>
                    <a:pt x="961" y="88"/>
                  </a:lnTo>
                  <a:lnTo>
                    <a:pt x="1016" y="100"/>
                  </a:lnTo>
                  <a:lnTo>
                    <a:pt x="1101" y="62"/>
                  </a:lnTo>
                  <a:lnTo>
                    <a:pt x="1117" y="45"/>
                  </a:lnTo>
                  <a:lnTo>
                    <a:pt x="1134" y="55"/>
                  </a:lnTo>
                  <a:lnTo>
                    <a:pt x="1150" y="45"/>
                  </a:lnTo>
                  <a:lnTo>
                    <a:pt x="1176" y="55"/>
                  </a:lnTo>
                  <a:lnTo>
                    <a:pt x="1188" y="38"/>
                  </a:lnTo>
                  <a:lnTo>
                    <a:pt x="1205" y="38"/>
                  </a:lnTo>
                  <a:lnTo>
                    <a:pt x="1231" y="78"/>
                  </a:lnTo>
                  <a:lnTo>
                    <a:pt x="1242" y="78"/>
                  </a:lnTo>
                  <a:lnTo>
                    <a:pt x="1247" y="78"/>
                  </a:lnTo>
                  <a:lnTo>
                    <a:pt x="1268" y="111"/>
                  </a:lnTo>
                  <a:lnTo>
                    <a:pt x="1259" y="144"/>
                  </a:lnTo>
                  <a:lnTo>
                    <a:pt x="1264" y="166"/>
                  </a:lnTo>
                  <a:lnTo>
                    <a:pt x="1264" y="166"/>
                  </a:lnTo>
                  <a:lnTo>
                    <a:pt x="1280" y="173"/>
                  </a:lnTo>
                  <a:lnTo>
                    <a:pt x="1311" y="173"/>
                  </a:lnTo>
                  <a:lnTo>
                    <a:pt x="1339" y="206"/>
                  </a:lnTo>
                  <a:lnTo>
                    <a:pt x="1339" y="206"/>
                  </a:lnTo>
                  <a:lnTo>
                    <a:pt x="1334" y="199"/>
                  </a:lnTo>
                  <a:lnTo>
                    <a:pt x="1318" y="206"/>
                  </a:lnTo>
                  <a:lnTo>
                    <a:pt x="1318" y="227"/>
                  </a:lnTo>
                  <a:lnTo>
                    <a:pt x="1285" y="227"/>
                  </a:lnTo>
                  <a:lnTo>
                    <a:pt x="1301" y="255"/>
                  </a:lnTo>
                  <a:lnTo>
                    <a:pt x="1301" y="265"/>
                  </a:lnTo>
                  <a:lnTo>
                    <a:pt x="1311" y="277"/>
                  </a:lnTo>
                  <a:lnTo>
                    <a:pt x="1311" y="317"/>
                  </a:lnTo>
                  <a:lnTo>
                    <a:pt x="1318" y="317"/>
                  </a:lnTo>
                  <a:lnTo>
                    <a:pt x="1301" y="355"/>
                  </a:lnTo>
                  <a:lnTo>
                    <a:pt x="1334" y="371"/>
                  </a:lnTo>
                  <a:lnTo>
                    <a:pt x="1323" y="392"/>
                  </a:lnTo>
                  <a:lnTo>
                    <a:pt x="1339" y="404"/>
                  </a:lnTo>
                  <a:lnTo>
                    <a:pt x="1339" y="421"/>
                  </a:lnTo>
                  <a:lnTo>
                    <a:pt x="1334" y="409"/>
                  </a:lnTo>
                  <a:lnTo>
                    <a:pt x="1311" y="433"/>
                  </a:lnTo>
                  <a:lnTo>
                    <a:pt x="1301" y="421"/>
                  </a:lnTo>
                  <a:lnTo>
                    <a:pt x="1301" y="409"/>
                  </a:lnTo>
                  <a:lnTo>
                    <a:pt x="1297" y="404"/>
                  </a:lnTo>
                  <a:lnTo>
                    <a:pt x="1297" y="404"/>
                  </a:lnTo>
                  <a:lnTo>
                    <a:pt x="1297" y="404"/>
                  </a:lnTo>
                  <a:close/>
                  <a:moveTo>
                    <a:pt x="134" y="128"/>
                  </a:moveTo>
                  <a:lnTo>
                    <a:pt x="130" y="128"/>
                  </a:lnTo>
                  <a:lnTo>
                    <a:pt x="146" y="128"/>
                  </a:lnTo>
                  <a:lnTo>
                    <a:pt x="134" y="128"/>
                  </a:lnTo>
                  <a:lnTo>
                    <a:pt x="134" y="128"/>
                  </a:lnTo>
                  <a:lnTo>
                    <a:pt x="134" y="128"/>
                  </a:lnTo>
                  <a:close/>
                  <a:moveTo>
                    <a:pt x="5" y="166"/>
                  </a:moveTo>
                  <a:lnTo>
                    <a:pt x="0" y="166"/>
                  </a:lnTo>
                  <a:lnTo>
                    <a:pt x="5" y="156"/>
                  </a:lnTo>
                  <a:lnTo>
                    <a:pt x="21" y="156"/>
                  </a:lnTo>
                  <a:lnTo>
                    <a:pt x="21" y="166"/>
                  </a:lnTo>
                  <a:lnTo>
                    <a:pt x="5" y="166"/>
                  </a:lnTo>
                  <a:lnTo>
                    <a:pt x="5" y="166"/>
                  </a:lnTo>
                  <a:lnTo>
                    <a:pt x="5" y="166"/>
                  </a:lnTo>
                  <a:close/>
                  <a:moveTo>
                    <a:pt x="26" y="199"/>
                  </a:moveTo>
                  <a:lnTo>
                    <a:pt x="21" y="189"/>
                  </a:lnTo>
                  <a:lnTo>
                    <a:pt x="26" y="189"/>
                  </a:lnTo>
                  <a:lnTo>
                    <a:pt x="26" y="199"/>
                  </a:lnTo>
                  <a:lnTo>
                    <a:pt x="26" y="199"/>
                  </a:lnTo>
                  <a:lnTo>
                    <a:pt x="26" y="199"/>
                  </a:lnTo>
                  <a:close/>
                </a:path>
              </a:pathLst>
            </a:custGeom>
            <a:solidFill>
              <a:schemeClr val="bg2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31" name="Freeform 575">
              <a:extLst>
                <a:ext uri="{FF2B5EF4-FFF2-40B4-BE49-F238E27FC236}">
                  <a16:creationId xmlns:a16="http://schemas.microsoft.com/office/drawing/2014/main" id="{59B5CEB5-470C-456B-85DA-46EFCD8BAF8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434235" y="2457525"/>
              <a:ext cx="39903" cy="38066"/>
            </a:xfrm>
            <a:custGeom>
              <a:avLst/>
              <a:gdLst>
                <a:gd name="T0" fmla="*/ 130 w 260"/>
                <a:gd name="T1" fmla="*/ 132 h 248"/>
                <a:gd name="T2" fmla="*/ 142 w 260"/>
                <a:gd name="T3" fmla="*/ 108 h 248"/>
                <a:gd name="T4" fmla="*/ 196 w 260"/>
                <a:gd name="T5" fmla="*/ 21 h 248"/>
                <a:gd name="T6" fmla="*/ 222 w 260"/>
                <a:gd name="T7" fmla="*/ 4 h 248"/>
                <a:gd name="T8" fmla="*/ 222 w 260"/>
                <a:gd name="T9" fmla="*/ 4 h 248"/>
                <a:gd name="T10" fmla="*/ 234 w 260"/>
                <a:gd name="T11" fmla="*/ 0 h 248"/>
                <a:gd name="T12" fmla="*/ 260 w 260"/>
                <a:gd name="T13" fmla="*/ 9 h 248"/>
                <a:gd name="T14" fmla="*/ 251 w 260"/>
                <a:gd name="T15" fmla="*/ 26 h 248"/>
                <a:gd name="T16" fmla="*/ 256 w 260"/>
                <a:gd name="T17" fmla="*/ 59 h 248"/>
                <a:gd name="T18" fmla="*/ 239 w 260"/>
                <a:gd name="T19" fmla="*/ 82 h 248"/>
                <a:gd name="T20" fmla="*/ 222 w 260"/>
                <a:gd name="T21" fmla="*/ 148 h 248"/>
                <a:gd name="T22" fmla="*/ 206 w 260"/>
                <a:gd name="T23" fmla="*/ 174 h 248"/>
                <a:gd name="T24" fmla="*/ 196 w 260"/>
                <a:gd name="T25" fmla="*/ 203 h 248"/>
                <a:gd name="T26" fmla="*/ 180 w 260"/>
                <a:gd name="T27" fmla="*/ 248 h 248"/>
                <a:gd name="T28" fmla="*/ 168 w 260"/>
                <a:gd name="T29" fmla="*/ 248 h 248"/>
                <a:gd name="T30" fmla="*/ 168 w 260"/>
                <a:gd name="T31" fmla="*/ 226 h 248"/>
                <a:gd name="T32" fmla="*/ 147 w 260"/>
                <a:gd name="T33" fmla="*/ 203 h 248"/>
                <a:gd name="T34" fmla="*/ 130 w 260"/>
                <a:gd name="T35" fmla="*/ 170 h 248"/>
                <a:gd name="T36" fmla="*/ 126 w 260"/>
                <a:gd name="T37" fmla="*/ 165 h 248"/>
                <a:gd name="T38" fmla="*/ 130 w 260"/>
                <a:gd name="T39" fmla="*/ 132 h 248"/>
                <a:gd name="T40" fmla="*/ 130 w 260"/>
                <a:gd name="T41" fmla="*/ 132 h 248"/>
                <a:gd name="T42" fmla="*/ 130 w 260"/>
                <a:gd name="T43" fmla="*/ 132 h 248"/>
                <a:gd name="T44" fmla="*/ 0 w 260"/>
                <a:gd name="T45" fmla="*/ 59 h 248"/>
                <a:gd name="T46" fmla="*/ 5 w 260"/>
                <a:gd name="T47" fmla="*/ 54 h 248"/>
                <a:gd name="T48" fmla="*/ 17 w 260"/>
                <a:gd name="T49" fmla="*/ 59 h 248"/>
                <a:gd name="T50" fmla="*/ 17 w 260"/>
                <a:gd name="T51" fmla="*/ 59 h 248"/>
                <a:gd name="T52" fmla="*/ 0 w 260"/>
                <a:gd name="T53" fmla="*/ 59 h 248"/>
                <a:gd name="T54" fmla="*/ 0 w 260"/>
                <a:gd name="T55" fmla="*/ 59 h 248"/>
                <a:gd name="T56" fmla="*/ 0 w 260"/>
                <a:gd name="T57" fmla="*/ 59 h 248"/>
                <a:gd name="T58" fmla="*/ 93 w 260"/>
                <a:gd name="T59" fmla="*/ 132 h 248"/>
                <a:gd name="T60" fmla="*/ 93 w 260"/>
                <a:gd name="T61" fmla="*/ 120 h 248"/>
                <a:gd name="T62" fmla="*/ 97 w 260"/>
                <a:gd name="T63" fmla="*/ 132 h 248"/>
                <a:gd name="T64" fmla="*/ 93 w 260"/>
                <a:gd name="T65" fmla="*/ 132 h 248"/>
                <a:gd name="T66" fmla="*/ 93 w 260"/>
                <a:gd name="T67" fmla="*/ 132 h 248"/>
                <a:gd name="T68" fmla="*/ 93 w 260"/>
                <a:gd name="T69" fmla="*/ 132 h 2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60" h="248">
                  <a:moveTo>
                    <a:pt x="130" y="132"/>
                  </a:moveTo>
                  <a:lnTo>
                    <a:pt x="142" y="108"/>
                  </a:lnTo>
                  <a:lnTo>
                    <a:pt x="196" y="21"/>
                  </a:lnTo>
                  <a:lnTo>
                    <a:pt x="222" y="4"/>
                  </a:lnTo>
                  <a:lnTo>
                    <a:pt x="222" y="4"/>
                  </a:lnTo>
                  <a:lnTo>
                    <a:pt x="234" y="0"/>
                  </a:lnTo>
                  <a:lnTo>
                    <a:pt x="260" y="9"/>
                  </a:lnTo>
                  <a:lnTo>
                    <a:pt x="251" y="26"/>
                  </a:lnTo>
                  <a:lnTo>
                    <a:pt x="256" y="59"/>
                  </a:lnTo>
                  <a:lnTo>
                    <a:pt x="239" y="82"/>
                  </a:lnTo>
                  <a:lnTo>
                    <a:pt x="222" y="148"/>
                  </a:lnTo>
                  <a:lnTo>
                    <a:pt x="206" y="174"/>
                  </a:lnTo>
                  <a:lnTo>
                    <a:pt x="196" y="203"/>
                  </a:lnTo>
                  <a:lnTo>
                    <a:pt x="180" y="248"/>
                  </a:lnTo>
                  <a:lnTo>
                    <a:pt x="168" y="248"/>
                  </a:lnTo>
                  <a:lnTo>
                    <a:pt x="168" y="226"/>
                  </a:lnTo>
                  <a:lnTo>
                    <a:pt x="147" y="203"/>
                  </a:lnTo>
                  <a:lnTo>
                    <a:pt x="130" y="170"/>
                  </a:lnTo>
                  <a:lnTo>
                    <a:pt x="126" y="165"/>
                  </a:lnTo>
                  <a:lnTo>
                    <a:pt x="130" y="132"/>
                  </a:lnTo>
                  <a:lnTo>
                    <a:pt x="130" y="132"/>
                  </a:lnTo>
                  <a:lnTo>
                    <a:pt x="130" y="132"/>
                  </a:lnTo>
                  <a:close/>
                  <a:moveTo>
                    <a:pt x="0" y="59"/>
                  </a:moveTo>
                  <a:lnTo>
                    <a:pt x="5" y="54"/>
                  </a:lnTo>
                  <a:lnTo>
                    <a:pt x="17" y="59"/>
                  </a:lnTo>
                  <a:lnTo>
                    <a:pt x="17" y="59"/>
                  </a:lnTo>
                  <a:lnTo>
                    <a:pt x="0" y="59"/>
                  </a:lnTo>
                  <a:lnTo>
                    <a:pt x="0" y="59"/>
                  </a:lnTo>
                  <a:lnTo>
                    <a:pt x="0" y="59"/>
                  </a:lnTo>
                  <a:close/>
                  <a:moveTo>
                    <a:pt x="93" y="132"/>
                  </a:moveTo>
                  <a:lnTo>
                    <a:pt x="93" y="120"/>
                  </a:lnTo>
                  <a:lnTo>
                    <a:pt x="97" y="132"/>
                  </a:lnTo>
                  <a:lnTo>
                    <a:pt x="93" y="132"/>
                  </a:lnTo>
                  <a:lnTo>
                    <a:pt x="93" y="132"/>
                  </a:lnTo>
                  <a:lnTo>
                    <a:pt x="93" y="132"/>
                  </a:lnTo>
                  <a:close/>
                </a:path>
              </a:pathLst>
            </a:custGeom>
            <a:solidFill>
              <a:schemeClr val="bg2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32" name="Freeform 577">
              <a:extLst>
                <a:ext uri="{FF2B5EF4-FFF2-40B4-BE49-F238E27FC236}">
                  <a16:creationId xmlns:a16="http://schemas.microsoft.com/office/drawing/2014/main" id="{47CD71AE-3520-4747-944C-4BB9F9258B3A}"/>
                </a:ext>
              </a:extLst>
            </p:cNvPr>
            <p:cNvSpPr>
              <a:spLocks/>
            </p:cNvSpPr>
            <p:nvPr/>
          </p:nvSpPr>
          <p:spPr bwMode="gray">
            <a:xfrm>
              <a:off x="6726255" y="2238185"/>
              <a:ext cx="152707" cy="98542"/>
            </a:xfrm>
            <a:custGeom>
              <a:avLst/>
              <a:gdLst>
                <a:gd name="T0" fmla="*/ 926 w 995"/>
                <a:gd name="T1" fmla="*/ 453 h 642"/>
                <a:gd name="T2" fmla="*/ 860 w 995"/>
                <a:gd name="T3" fmla="*/ 486 h 642"/>
                <a:gd name="T4" fmla="*/ 806 w 995"/>
                <a:gd name="T5" fmla="*/ 571 h 642"/>
                <a:gd name="T6" fmla="*/ 747 w 995"/>
                <a:gd name="T7" fmla="*/ 609 h 642"/>
                <a:gd name="T8" fmla="*/ 699 w 995"/>
                <a:gd name="T9" fmla="*/ 637 h 642"/>
                <a:gd name="T10" fmla="*/ 640 w 995"/>
                <a:gd name="T11" fmla="*/ 621 h 642"/>
                <a:gd name="T12" fmla="*/ 607 w 995"/>
                <a:gd name="T13" fmla="*/ 526 h 642"/>
                <a:gd name="T14" fmla="*/ 494 w 995"/>
                <a:gd name="T15" fmla="*/ 477 h 642"/>
                <a:gd name="T16" fmla="*/ 409 w 995"/>
                <a:gd name="T17" fmla="*/ 437 h 642"/>
                <a:gd name="T18" fmla="*/ 333 w 995"/>
                <a:gd name="T19" fmla="*/ 387 h 642"/>
                <a:gd name="T20" fmla="*/ 279 w 995"/>
                <a:gd name="T21" fmla="*/ 387 h 642"/>
                <a:gd name="T22" fmla="*/ 262 w 995"/>
                <a:gd name="T23" fmla="*/ 403 h 642"/>
                <a:gd name="T24" fmla="*/ 161 w 995"/>
                <a:gd name="T25" fmla="*/ 453 h 642"/>
                <a:gd name="T26" fmla="*/ 102 w 995"/>
                <a:gd name="T27" fmla="*/ 470 h 642"/>
                <a:gd name="T28" fmla="*/ 106 w 995"/>
                <a:gd name="T29" fmla="*/ 333 h 642"/>
                <a:gd name="T30" fmla="*/ 47 w 995"/>
                <a:gd name="T31" fmla="*/ 292 h 642"/>
                <a:gd name="T32" fmla="*/ 52 w 995"/>
                <a:gd name="T33" fmla="*/ 271 h 642"/>
                <a:gd name="T34" fmla="*/ 90 w 995"/>
                <a:gd name="T35" fmla="*/ 288 h 642"/>
                <a:gd name="T36" fmla="*/ 31 w 995"/>
                <a:gd name="T37" fmla="*/ 248 h 642"/>
                <a:gd name="T38" fmla="*/ 17 w 995"/>
                <a:gd name="T39" fmla="*/ 210 h 642"/>
                <a:gd name="T40" fmla="*/ 47 w 995"/>
                <a:gd name="T41" fmla="*/ 177 h 642"/>
                <a:gd name="T42" fmla="*/ 90 w 995"/>
                <a:gd name="T43" fmla="*/ 193 h 642"/>
                <a:gd name="T44" fmla="*/ 135 w 995"/>
                <a:gd name="T45" fmla="*/ 160 h 642"/>
                <a:gd name="T46" fmla="*/ 161 w 995"/>
                <a:gd name="T47" fmla="*/ 153 h 642"/>
                <a:gd name="T48" fmla="*/ 90 w 995"/>
                <a:gd name="T49" fmla="*/ 54 h 642"/>
                <a:gd name="T50" fmla="*/ 26 w 995"/>
                <a:gd name="T51" fmla="*/ 99 h 642"/>
                <a:gd name="T52" fmla="*/ 31 w 995"/>
                <a:gd name="T53" fmla="*/ 153 h 642"/>
                <a:gd name="T54" fmla="*/ 10 w 995"/>
                <a:gd name="T55" fmla="*/ 103 h 642"/>
                <a:gd name="T56" fmla="*/ 69 w 995"/>
                <a:gd name="T57" fmla="*/ 49 h 642"/>
                <a:gd name="T58" fmla="*/ 177 w 995"/>
                <a:gd name="T59" fmla="*/ 87 h 642"/>
                <a:gd name="T60" fmla="*/ 321 w 995"/>
                <a:gd name="T61" fmla="*/ 137 h 642"/>
                <a:gd name="T62" fmla="*/ 317 w 995"/>
                <a:gd name="T63" fmla="*/ 82 h 642"/>
                <a:gd name="T64" fmla="*/ 392 w 995"/>
                <a:gd name="T65" fmla="*/ 26 h 642"/>
                <a:gd name="T66" fmla="*/ 425 w 995"/>
                <a:gd name="T67" fmla="*/ 49 h 642"/>
                <a:gd name="T68" fmla="*/ 425 w 995"/>
                <a:gd name="T69" fmla="*/ 16 h 642"/>
                <a:gd name="T70" fmla="*/ 468 w 995"/>
                <a:gd name="T71" fmla="*/ 26 h 642"/>
                <a:gd name="T72" fmla="*/ 532 w 995"/>
                <a:gd name="T73" fmla="*/ 49 h 642"/>
                <a:gd name="T74" fmla="*/ 532 w 995"/>
                <a:gd name="T75" fmla="*/ 87 h 642"/>
                <a:gd name="T76" fmla="*/ 539 w 995"/>
                <a:gd name="T77" fmla="*/ 127 h 642"/>
                <a:gd name="T78" fmla="*/ 619 w 995"/>
                <a:gd name="T79" fmla="*/ 144 h 642"/>
                <a:gd name="T80" fmla="*/ 678 w 995"/>
                <a:gd name="T81" fmla="*/ 193 h 642"/>
                <a:gd name="T82" fmla="*/ 780 w 995"/>
                <a:gd name="T83" fmla="*/ 292 h 642"/>
                <a:gd name="T84" fmla="*/ 834 w 995"/>
                <a:gd name="T85" fmla="*/ 326 h 642"/>
                <a:gd name="T86" fmla="*/ 995 w 995"/>
                <a:gd name="T87" fmla="*/ 415 h 642"/>
                <a:gd name="T88" fmla="*/ 985 w 995"/>
                <a:gd name="T89" fmla="*/ 460 h 6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995" h="642">
                  <a:moveTo>
                    <a:pt x="985" y="460"/>
                  </a:moveTo>
                  <a:lnTo>
                    <a:pt x="969" y="470"/>
                  </a:lnTo>
                  <a:lnTo>
                    <a:pt x="926" y="453"/>
                  </a:lnTo>
                  <a:lnTo>
                    <a:pt x="914" y="477"/>
                  </a:lnTo>
                  <a:lnTo>
                    <a:pt x="888" y="477"/>
                  </a:lnTo>
                  <a:lnTo>
                    <a:pt x="860" y="486"/>
                  </a:lnTo>
                  <a:lnTo>
                    <a:pt x="860" y="498"/>
                  </a:lnTo>
                  <a:lnTo>
                    <a:pt x="839" y="552"/>
                  </a:lnTo>
                  <a:lnTo>
                    <a:pt x="806" y="571"/>
                  </a:lnTo>
                  <a:lnTo>
                    <a:pt x="747" y="588"/>
                  </a:lnTo>
                  <a:lnTo>
                    <a:pt x="747" y="604"/>
                  </a:lnTo>
                  <a:lnTo>
                    <a:pt x="747" y="609"/>
                  </a:lnTo>
                  <a:lnTo>
                    <a:pt x="747" y="621"/>
                  </a:lnTo>
                  <a:lnTo>
                    <a:pt x="716" y="637"/>
                  </a:lnTo>
                  <a:lnTo>
                    <a:pt x="699" y="637"/>
                  </a:lnTo>
                  <a:lnTo>
                    <a:pt x="683" y="642"/>
                  </a:lnTo>
                  <a:lnTo>
                    <a:pt x="671" y="621"/>
                  </a:lnTo>
                  <a:lnTo>
                    <a:pt x="640" y="621"/>
                  </a:lnTo>
                  <a:lnTo>
                    <a:pt x="624" y="604"/>
                  </a:lnTo>
                  <a:lnTo>
                    <a:pt x="619" y="609"/>
                  </a:lnTo>
                  <a:lnTo>
                    <a:pt x="607" y="526"/>
                  </a:lnTo>
                  <a:lnTo>
                    <a:pt x="548" y="526"/>
                  </a:lnTo>
                  <a:lnTo>
                    <a:pt x="532" y="493"/>
                  </a:lnTo>
                  <a:lnTo>
                    <a:pt x="494" y="477"/>
                  </a:lnTo>
                  <a:lnTo>
                    <a:pt x="477" y="453"/>
                  </a:lnTo>
                  <a:lnTo>
                    <a:pt x="456" y="437"/>
                  </a:lnTo>
                  <a:lnTo>
                    <a:pt x="409" y="437"/>
                  </a:lnTo>
                  <a:lnTo>
                    <a:pt x="404" y="432"/>
                  </a:lnTo>
                  <a:lnTo>
                    <a:pt x="350" y="415"/>
                  </a:lnTo>
                  <a:lnTo>
                    <a:pt x="333" y="387"/>
                  </a:lnTo>
                  <a:lnTo>
                    <a:pt x="321" y="399"/>
                  </a:lnTo>
                  <a:lnTo>
                    <a:pt x="300" y="387"/>
                  </a:lnTo>
                  <a:lnTo>
                    <a:pt x="279" y="387"/>
                  </a:lnTo>
                  <a:lnTo>
                    <a:pt x="269" y="399"/>
                  </a:lnTo>
                  <a:lnTo>
                    <a:pt x="269" y="403"/>
                  </a:lnTo>
                  <a:lnTo>
                    <a:pt x="262" y="403"/>
                  </a:lnTo>
                  <a:lnTo>
                    <a:pt x="210" y="403"/>
                  </a:lnTo>
                  <a:lnTo>
                    <a:pt x="173" y="432"/>
                  </a:lnTo>
                  <a:lnTo>
                    <a:pt x="161" y="453"/>
                  </a:lnTo>
                  <a:lnTo>
                    <a:pt x="156" y="460"/>
                  </a:lnTo>
                  <a:lnTo>
                    <a:pt x="123" y="470"/>
                  </a:lnTo>
                  <a:lnTo>
                    <a:pt x="102" y="470"/>
                  </a:lnTo>
                  <a:lnTo>
                    <a:pt x="90" y="420"/>
                  </a:lnTo>
                  <a:lnTo>
                    <a:pt x="90" y="366"/>
                  </a:lnTo>
                  <a:lnTo>
                    <a:pt x="106" y="333"/>
                  </a:lnTo>
                  <a:lnTo>
                    <a:pt x="85" y="321"/>
                  </a:lnTo>
                  <a:lnTo>
                    <a:pt x="80" y="304"/>
                  </a:lnTo>
                  <a:lnTo>
                    <a:pt x="47" y="292"/>
                  </a:lnTo>
                  <a:lnTo>
                    <a:pt x="47" y="309"/>
                  </a:lnTo>
                  <a:lnTo>
                    <a:pt x="47" y="288"/>
                  </a:lnTo>
                  <a:lnTo>
                    <a:pt x="52" y="271"/>
                  </a:lnTo>
                  <a:lnTo>
                    <a:pt x="52" y="288"/>
                  </a:lnTo>
                  <a:lnTo>
                    <a:pt x="80" y="288"/>
                  </a:lnTo>
                  <a:lnTo>
                    <a:pt x="90" y="288"/>
                  </a:lnTo>
                  <a:lnTo>
                    <a:pt x="69" y="271"/>
                  </a:lnTo>
                  <a:lnTo>
                    <a:pt x="80" y="248"/>
                  </a:lnTo>
                  <a:lnTo>
                    <a:pt x="31" y="248"/>
                  </a:lnTo>
                  <a:lnTo>
                    <a:pt x="38" y="264"/>
                  </a:lnTo>
                  <a:lnTo>
                    <a:pt x="17" y="238"/>
                  </a:lnTo>
                  <a:lnTo>
                    <a:pt x="17" y="210"/>
                  </a:lnTo>
                  <a:lnTo>
                    <a:pt x="31" y="181"/>
                  </a:lnTo>
                  <a:lnTo>
                    <a:pt x="31" y="153"/>
                  </a:lnTo>
                  <a:lnTo>
                    <a:pt x="47" y="177"/>
                  </a:lnTo>
                  <a:lnTo>
                    <a:pt x="69" y="181"/>
                  </a:lnTo>
                  <a:lnTo>
                    <a:pt x="80" y="165"/>
                  </a:lnTo>
                  <a:lnTo>
                    <a:pt x="90" y="193"/>
                  </a:lnTo>
                  <a:lnTo>
                    <a:pt x="139" y="181"/>
                  </a:lnTo>
                  <a:lnTo>
                    <a:pt x="123" y="165"/>
                  </a:lnTo>
                  <a:lnTo>
                    <a:pt x="135" y="160"/>
                  </a:lnTo>
                  <a:lnTo>
                    <a:pt x="139" y="177"/>
                  </a:lnTo>
                  <a:lnTo>
                    <a:pt x="156" y="165"/>
                  </a:lnTo>
                  <a:lnTo>
                    <a:pt x="161" y="153"/>
                  </a:lnTo>
                  <a:lnTo>
                    <a:pt x="118" y="120"/>
                  </a:lnTo>
                  <a:lnTo>
                    <a:pt x="102" y="66"/>
                  </a:lnTo>
                  <a:lnTo>
                    <a:pt x="90" y="54"/>
                  </a:lnTo>
                  <a:lnTo>
                    <a:pt x="47" y="66"/>
                  </a:lnTo>
                  <a:lnTo>
                    <a:pt x="31" y="70"/>
                  </a:lnTo>
                  <a:lnTo>
                    <a:pt x="26" y="99"/>
                  </a:lnTo>
                  <a:lnTo>
                    <a:pt x="31" y="99"/>
                  </a:lnTo>
                  <a:lnTo>
                    <a:pt x="26" y="120"/>
                  </a:lnTo>
                  <a:lnTo>
                    <a:pt x="31" y="153"/>
                  </a:lnTo>
                  <a:lnTo>
                    <a:pt x="26" y="127"/>
                  </a:lnTo>
                  <a:lnTo>
                    <a:pt x="10" y="111"/>
                  </a:lnTo>
                  <a:lnTo>
                    <a:pt x="10" y="103"/>
                  </a:lnTo>
                  <a:lnTo>
                    <a:pt x="0" y="99"/>
                  </a:lnTo>
                  <a:lnTo>
                    <a:pt x="38" y="54"/>
                  </a:lnTo>
                  <a:lnTo>
                    <a:pt x="69" y="49"/>
                  </a:lnTo>
                  <a:lnTo>
                    <a:pt x="123" y="37"/>
                  </a:lnTo>
                  <a:lnTo>
                    <a:pt x="177" y="82"/>
                  </a:lnTo>
                  <a:lnTo>
                    <a:pt x="177" y="87"/>
                  </a:lnTo>
                  <a:lnTo>
                    <a:pt x="210" y="137"/>
                  </a:lnTo>
                  <a:lnTo>
                    <a:pt x="246" y="127"/>
                  </a:lnTo>
                  <a:lnTo>
                    <a:pt x="321" y="137"/>
                  </a:lnTo>
                  <a:lnTo>
                    <a:pt x="321" y="127"/>
                  </a:lnTo>
                  <a:lnTo>
                    <a:pt x="317" y="99"/>
                  </a:lnTo>
                  <a:lnTo>
                    <a:pt x="317" y="82"/>
                  </a:lnTo>
                  <a:lnTo>
                    <a:pt x="350" y="54"/>
                  </a:lnTo>
                  <a:lnTo>
                    <a:pt x="376" y="54"/>
                  </a:lnTo>
                  <a:lnTo>
                    <a:pt x="392" y="26"/>
                  </a:lnTo>
                  <a:lnTo>
                    <a:pt x="409" y="33"/>
                  </a:lnTo>
                  <a:lnTo>
                    <a:pt x="413" y="49"/>
                  </a:lnTo>
                  <a:lnTo>
                    <a:pt x="425" y="49"/>
                  </a:lnTo>
                  <a:lnTo>
                    <a:pt x="404" y="16"/>
                  </a:lnTo>
                  <a:lnTo>
                    <a:pt x="409" y="9"/>
                  </a:lnTo>
                  <a:lnTo>
                    <a:pt x="425" y="16"/>
                  </a:lnTo>
                  <a:lnTo>
                    <a:pt x="430" y="0"/>
                  </a:lnTo>
                  <a:lnTo>
                    <a:pt x="456" y="26"/>
                  </a:lnTo>
                  <a:lnTo>
                    <a:pt x="468" y="26"/>
                  </a:lnTo>
                  <a:lnTo>
                    <a:pt x="477" y="37"/>
                  </a:lnTo>
                  <a:lnTo>
                    <a:pt x="515" y="37"/>
                  </a:lnTo>
                  <a:lnTo>
                    <a:pt x="532" y="49"/>
                  </a:lnTo>
                  <a:lnTo>
                    <a:pt x="532" y="66"/>
                  </a:lnTo>
                  <a:lnTo>
                    <a:pt x="548" y="87"/>
                  </a:lnTo>
                  <a:lnTo>
                    <a:pt x="532" y="87"/>
                  </a:lnTo>
                  <a:lnTo>
                    <a:pt x="539" y="103"/>
                  </a:lnTo>
                  <a:lnTo>
                    <a:pt x="532" y="120"/>
                  </a:lnTo>
                  <a:lnTo>
                    <a:pt x="539" y="127"/>
                  </a:lnTo>
                  <a:lnTo>
                    <a:pt x="565" y="137"/>
                  </a:lnTo>
                  <a:lnTo>
                    <a:pt x="591" y="137"/>
                  </a:lnTo>
                  <a:lnTo>
                    <a:pt x="619" y="144"/>
                  </a:lnTo>
                  <a:lnTo>
                    <a:pt x="628" y="127"/>
                  </a:lnTo>
                  <a:lnTo>
                    <a:pt x="662" y="144"/>
                  </a:lnTo>
                  <a:lnTo>
                    <a:pt x="678" y="193"/>
                  </a:lnTo>
                  <a:lnTo>
                    <a:pt x="695" y="210"/>
                  </a:lnTo>
                  <a:lnTo>
                    <a:pt x="699" y="238"/>
                  </a:lnTo>
                  <a:lnTo>
                    <a:pt x="780" y="292"/>
                  </a:lnTo>
                  <a:lnTo>
                    <a:pt x="784" y="309"/>
                  </a:lnTo>
                  <a:lnTo>
                    <a:pt x="817" y="333"/>
                  </a:lnTo>
                  <a:lnTo>
                    <a:pt x="834" y="326"/>
                  </a:lnTo>
                  <a:lnTo>
                    <a:pt x="914" y="387"/>
                  </a:lnTo>
                  <a:lnTo>
                    <a:pt x="940" y="387"/>
                  </a:lnTo>
                  <a:lnTo>
                    <a:pt x="995" y="415"/>
                  </a:lnTo>
                  <a:lnTo>
                    <a:pt x="985" y="432"/>
                  </a:lnTo>
                  <a:lnTo>
                    <a:pt x="985" y="460"/>
                  </a:lnTo>
                  <a:lnTo>
                    <a:pt x="985" y="460"/>
                  </a:lnTo>
                  <a:lnTo>
                    <a:pt x="985" y="460"/>
                  </a:lnTo>
                  <a:close/>
                </a:path>
              </a:pathLst>
            </a:custGeom>
            <a:solidFill>
              <a:schemeClr val="bg2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33" name="Freeform 578">
              <a:extLst>
                <a:ext uri="{FF2B5EF4-FFF2-40B4-BE49-F238E27FC236}">
                  <a16:creationId xmlns:a16="http://schemas.microsoft.com/office/drawing/2014/main" id="{F6DBC8AF-7E52-4DD9-96B8-D7621518AA8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477165" y="2753611"/>
              <a:ext cx="120478" cy="119417"/>
            </a:xfrm>
            <a:custGeom>
              <a:avLst/>
              <a:gdLst>
                <a:gd name="T0" fmla="*/ 612 w 785"/>
                <a:gd name="T1" fmla="*/ 737 h 778"/>
                <a:gd name="T2" fmla="*/ 596 w 785"/>
                <a:gd name="T3" fmla="*/ 766 h 778"/>
                <a:gd name="T4" fmla="*/ 525 w 785"/>
                <a:gd name="T5" fmla="*/ 766 h 778"/>
                <a:gd name="T6" fmla="*/ 482 w 785"/>
                <a:gd name="T7" fmla="*/ 778 h 778"/>
                <a:gd name="T8" fmla="*/ 461 w 785"/>
                <a:gd name="T9" fmla="*/ 754 h 778"/>
                <a:gd name="T10" fmla="*/ 395 w 785"/>
                <a:gd name="T11" fmla="*/ 766 h 778"/>
                <a:gd name="T12" fmla="*/ 374 w 785"/>
                <a:gd name="T13" fmla="*/ 712 h 778"/>
                <a:gd name="T14" fmla="*/ 352 w 785"/>
                <a:gd name="T15" fmla="*/ 626 h 778"/>
                <a:gd name="T16" fmla="*/ 319 w 785"/>
                <a:gd name="T17" fmla="*/ 626 h 778"/>
                <a:gd name="T18" fmla="*/ 288 w 785"/>
                <a:gd name="T19" fmla="*/ 622 h 778"/>
                <a:gd name="T20" fmla="*/ 248 w 785"/>
                <a:gd name="T21" fmla="*/ 605 h 778"/>
                <a:gd name="T22" fmla="*/ 218 w 785"/>
                <a:gd name="T23" fmla="*/ 589 h 778"/>
                <a:gd name="T24" fmla="*/ 189 w 785"/>
                <a:gd name="T25" fmla="*/ 572 h 778"/>
                <a:gd name="T26" fmla="*/ 147 w 785"/>
                <a:gd name="T27" fmla="*/ 551 h 778"/>
                <a:gd name="T28" fmla="*/ 104 w 785"/>
                <a:gd name="T29" fmla="*/ 515 h 778"/>
                <a:gd name="T30" fmla="*/ 50 w 785"/>
                <a:gd name="T31" fmla="*/ 423 h 778"/>
                <a:gd name="T32" fmla="*/ 17 w 785"/>
                <a:gd name="T33" fmla="*/ 383 h 778"/>
                <a:gd name="T34" fmla="*/ 17 w 785"/>
                <a:gd name="T35" fmla="*/ 345 h 778"/>
                <a:gd name="T36" fmla="*/ 0 w 785"/>
                <a:gd name="T37" fmla="*/ 251 h 778"/>
                <a:gd name="T38" fmla="*/ 50 w 785"/>
                <a:gd name="T39" fmla="*/ 234 h 778"/>
                <a:gd name="T40" fmla="*/ 71 w 785"/>
                <a:gd name="T41" fmla="*/ 201 h 778"/>
                <a:gd name="T42" fmla="*/ 104 w 785"/>
                <a:gd name="T43" fmla="*/ 161 h 778"/>
                <a:gd name="T44" fmla="*/ 88 w 785"/>
                <a:gd name="T45" fmla="*/ 140 h 778"/>
                <a:gd name="T46" fmla="*/ 81 w 785"/>
                <a:gd name="T47" fmla="*/ 140 h 778"/>
                <a:gd name="T48" fmla="*/ 104 w 785"/>
                <a:gd name="T49" fmla="*/ 100 h 778"/>
                <a:gd name="T50" fmla="*/ 104 w 785"/>
                <a:gd name="T51" fmla="*/ 67 h 778"/>
                <a:gd name="T52" fmla="*/ 92 w 785"/>
                <a:gd name="T53" fmla="*/ 34 h 778"/>
                <a:gd name="T54" fmla="*/ 81 w 785"/>
                <a:gd name="T55" fmla="*/ 0 h 778"/>
                <a:gd name="T56" fmla="*/ 248 w 785"/>
                <a:gd name="T57" fmla="*/ 0 h 778"/>
                <a:gd name="T58" fmla="*/ 579 w 785"/>
                <a:gd name="T59" fmla="*/ 145 h 778"/>
                <a:gd name="T60" fmla="*/ 579 w 785"/>
                <a:gd name="T61" fmla="*/ 178 h 778"/>
                <a:gd name="T62" fmla="*/ 700 w 785"/>
                <a:gd name="T63" fmla="*/ 277 h 778"/>
                <a:gd name="T64" fmla="*/ 688 w 785"/>
                <a:gd name="T65" fmla="*/ 277 h 778"/>
                <a:gd name="T66" fmla="*/ 678 w 785"/>
                <a:gd name="T67" fmla="*/ 388 h 778"/>
                <a:gd name="T68" fmla="*/ 721 w 785"/>
                <a:gd name="T69" fmla="*/ 433 h 778"/>
                <a:gd name="T70" fmla="*/ 700 w 785"/>
                <a:gd name="T71" fmla="*/ 489 h 778"/>
                <a:gd name="T72" fmla="*/ 716 w 785"/>
                <a:gd name="T73" fmla="*/ 499 h 778"/>
                <a:gd name="T74" fmla="*/ 704 w 785"/>
                <a:gd name="T75" fmla="*/ 556 h 778"/>
                <a:gd name="T76" fmla="*/ 704 w 785"/>
                <a:gd name="T77" fmla="*/ 572 h 778"/>
                <a:gd name="T78" fmla="*/ 737 w 785"/>
                <a:gd name="T79" fmla="*/ 655 h 778"/>
                <a:gd name="T80" fmla="*/ 754 w 785"/>
                <a:gd name="T81" fmla="*/ 662 h 778"/>
                <a:gd name="T82" fmla="*/ 770 w 785"/>
                <a:gd name="T83" fmla="*/ 667 h 778"/>
                <a:gd name="T84" fmla="*/ 700 w 785"/>
                <a:gd name="T85" fmla="*/ 737 h 778"/>
                <a:gd name="T86" fmla="*/ 645 w 785"/>
                <a:gd name="T87" fmla="*/ 754 h 778"/>
                <a:gd name="T88" fmla="*/ 645 w 785"/>
                <a:gd name="T89" fmla="*/ 754 h 778"/>
                <a:gd name="T90" fmla="*/ 733 w 785"/>
                <a:gd name="T91" fmla="*/ 277 h 778"/>
                <a:gd name="T92" fmla="*/ 737 w 785"/>
                <a:gd name="T93" fmla="*/ 305 h 778"/>
                <a:gd name="T94" fmla="*/ 721 w 785"/>
                <a:gd name="T95" fmla="*/ 322 h 778"/>
                <a:gd name="T96" fmla="*/ 733 w 785"/>
                <a:gd name="T97" fmla="*/ 305 h 778"/>
                <a:gd name="T98" fmla="*/ 704 w 785"/>
                <a:gd name="T99" fmla="*/ 362 h 778"/>
                <a:gd name="T100" fmla="*/ 716 w 785"/>
                <a:gd name="T101" fmla="*/ 367 h 778"/>
                <a:gd name="T102" fmla="*/ 721 w 785"/>
                <a:gd name="T103" fmla="*/ 388 h 778"/>
                <a:gd name="T104" fmla="*/ 688 w 785"/>
                <a:gd name="T105" fmla="*/ 378 h 778"/>
                <a:gd name="T106" fmla="*/ 700 w 785"/>
                <a:gd name="T107" fmla="*/ 345 h 778"/>
                <a:gd name="T108" fmla="*/ 704 w 785"/>
                <a:gd name="T109" fmla="*/ 362 h 778"/>
                <a:gd name="T110" fmla="*/ 721 w 785"/>
                <a:gd name="T111" fmla="*/ 499 h 778"/>
                <a:gd name="T112" fmla="*/ 742 w 785"/>
                <a:gd name="T113" fmla="*/ 478 h 778"/>
                <a:gd name="T114" fmla="*/ 721 w 785"/>
                <a:gd name="T115" fmla="*/ 499 h 778"/>
                <a:gd name="T116" fmla="*/ 721 w 785"/>
                <a:gd name="T117" fmla="*/ 499 h 7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785" h="778">
                  <a:moveTo>
                    <a:pt x="645" y="754"/>
                  </a:moveTo>
                  <a:lnTo>
                    <a:pt x="612" y="737"/>
                  </a:lnTo>
                  <a:lnTo>
                    <a:pt x="607" y="749"/>
                  </a:lnTo>
                  <a:lnTo>
                    <a:pt x="596" y="766"/>
                  </a:lnTo>
                  <a:lnTo>
                    <a:pt x="574" y="778"/>
                  </a:lnTo>
                  <a:lnTo>
                    <a:pt x="525" y="766"/>
                  </a:lnTo>
                  <a:lnTo>
                    <a:pt x="503" y="778"/>
                  </a:lnTo>
                  <a:lnTo>
                    <a:pt x="482" y="778"/>
                  </a:lnTo>
                  <a:lnTo>
                    <a:pt x="482" y="766"/>
                  </a:lnTo>
                  <a:lnTo>
                    <a:pt x="461" y="754"/>
                  </a:lnTo>
                  <a:lnTo>
                    <a:pt x="433" y="771"/>
                  </a:lnTo>
                  <a:lnTo>
                    <a:pt x="395" y="766"/>
                  </a:lnTo>
                  <a:lnTo>
                    <a:pt x="374" y="733"/>
                  </a:lnTo>
                  <a:lnTo>
                    <a:pt x="374" y="712"/>
                  </a:lnTo>
                  <a:lnTo>
                    <a:pt x="364" y="655"/>
                  </a:lnTo>
                  <a:lnTo>
                    <a:pt x="352" y="626"/>
                  </a:lnTo>
                  <a:lnTo>
                    <a:pt x="326" y="610"/>
                  </a:lnTo>
                  <a:lnTo>
                    <a:pt x="319" y="626"/>
                  </a:lnTo>
                  <a:lnTo>
                    <a:pt x="310" y="622"/>
                  </a:lnTo>
                  <a:lnTo>
                    <a:pt x="288" y="622"/>
                  </a:lnTo>
                  <a:lnTo>
                    <a:pt x="281" y="610"/>
                  </a:lnTo>
                  <a:lnTo>
                    <a:pt x="248" y="605"/>
                  </a:lnTo>
                  <a:lnTo>
                    <a:pt x="227" y="600"/>
                  </a:lnTo>
                  <a:lnTo>
                    <a:pt x="218" y="589"/>
                  </a:lnTo>
                  <a:lnTo>
                    <a:pt x="189" y="584"/>
                  </a:lnTo>
                  <a:lnTo>
                    <a:pt x="189" y="572"/>
                  </a:lnTo>
                  <a:lnTo>
                    <a:pt x="163" y="572"/>
                  </a:lnTo>
                  <a:lnTo>
                    <a:pt x="147" y="551"/>
                  </a:lnTo>
                  <a:lnTo>
                    <a:pt x="118" y="551"/>
                  </a:lnTo>
                  <a:lnTo>
                    <a:pt x="104" y="515"/>
                  </a:lnTo>
                  <a:lnTo>
                    <a:pt x="71" y="445"/>
                  </a:lnTo>
                  <a:lnTo>
                    <a:pt x="50" y="423"/>
                  </a:lnTo>
                  <a:lnTo>
                    <a:pt x="26" y="404"/>
                  </a:lnTo>
                  <a:lnTo>
                    <a:pt x="17" y="383"/>
                  </a:lnTo>
                  <a:lnTo>
                    <a:pt x="12" y="362"/>
                  </a:lnTo>
                  <a:lnTo>
                    <a:pt x="17" y="345"/>
                  </a:lnTo>
                  <a:lnTo>
                    <a:pt x="0" y="289"/>
                  </a:lnTo>
                  <a:lnTo>
                    <a:pt x="0" y="251"/>
                  </a:lnTo>
                  <a:lnTo>
                    <a:pt x="33" y="251"/>
                  </a:lnTo>
                  <a:lnTo>
                    <a:pt x="50" y="234"/>
                  </a:lnTo>
                  <a:lnTo>
                    <a:pt x="71" y="201"/>
                  </a:lnTo>
                  <a:lnTo>
                    <a:pt x="71" y="201"/>
                  </a:lnTo>
                  <a:lnTo>
                    <a:pt x="81" y="185"/>
                  </a:lnTo>
                  <a:lnTo>
                    <a:pt x="104" y="161"/>
                  </a:lnTo>
                  <a:lnTo>
                    <a:pt x="104" y="145"/>
                  </a:lnTo>
                  <a:lnTo>
                    <a:pt x="88" y="140"/>
                  </a:lnTo>
                  <a:lnTo>
                    <a:pt x="81" y="140"/>
                  </a:lnTo>
                  <a:lnTo>
                    <a:pt x="81" y="140"/>
                  </a:lnTo>
                  <a:lnTo>
                    <a:pt x="88" y="100"/>
                  </a:lnTo>
                  <a:lnTo>
                    <a:pt x="104" y="100"/>
                  </a:lnTo>
                  <a:lnTo>
                    <a:pt x="109" y="74"/>
                  </a:lnTo>
                  <a:lnTo>
                    <a:pt x="104" y="67"/>
                  </a:lnTo>
                  <a:lnTo>
                    <a:pt x="104" y="50"/>
                  </a:lnTo>
                  <a:lnTo>
                    <a:pt x="92" y="34"/>
                  </a:lnTo>
                  <a:lnTo>
                    <a:pt x="88" y="29"/>
                  </a:lnTo>
                  <a:lnTo>
                    <a:pt x="81" y="0"/>
                  </a:lnTo>
                  <a:lnTo>
                    <a:pt x="104" y="0"/>
                  </a:lnTo>
                  <a:lnTo>
                    <a:pt x="248" y="0"/>
                  </a:lnTo>
                  <a:lnTo>
                    <a:pt x="319" y="0"/>
                  </a:lnTo>
                  <a:lnTo>
                    <a:pt x="579" y="145"/>
                  </a:lnTo>
                  <a:lnTo>
                    <a:pt x="591" y="166"/>
                  </a:lnTo>
                  <a:lnTo>
                    <a:pt x="579" y="178"/>
                  </a:lnTo>
                  <a:lnTo>
                    <a:pt x="688" y="267"/>
                  </a:lnTo>
                  <a:lnTo>
                    <a:pt x="700" y="277"/>
                  </a:lnTo>
                  <a:lnTo>
                    <a:pt x="688" y="289"/>
                  </a:lnTo>
                  <a:lnTo>
                    <a:pt x="688" y="277"/>
                  </a:lnTo>
                  <a:lnTo>
                    <a:pt x="666" y="367"/>
                  </a:lnTo>
                  <a:lnTo>
                    <a:pt x="678" y="388"/>
                  </a:lnTo>
                  <a:lnTo>
                    <a:pt x="683" y="400"/>
                  </a:lnTo>
                  <a:lnTo>
                    <a:pt x="721" y="433"/>
                  </a:lnTo>
                  <a:lnTo>
                    <a:pt x="700" y="478"/>
                  </a:lnTo>
                  <a:lnTo>
                    <a:pt x="700" y="489"/>
                  </a:lnTo>
                  <a:lnTo>
                    <a:pt x="716" y="494"/>
                  </a:lnTo>
                  <a:lnTo>
                    <a:pt x="716" y="499"/>
                  </a:lnTo>
                  <a:lnTo>
                    <a:pt x="700" y="527"/>
                  </a:lnTo>
                  <a:lnTo>
                    <a:pt x="704" y="556"/>
                  </a:lnTo>
                  <a:lnTo>
                    <a:pt x="716" y="572"/>
                  </a:lnTo>
                  <a:lnTo>
                    <a:pt x="704" y="572"/>
                  </a:lnTo>
                  <a:lnTo>
                    <a:pt x="721" y="589"/>
                  </a:lnTo>
                  <a:lnTo>
                    <a:pt x="737" y="655"/>
                  </a:lnTo>
                  <a:lnTo>
                    <a:pt x="754" y="667"/>
                  </a:lnTo>
                  <a:lnTo>
                    <a:pt x="754" y="662"/>
                  </a:lnTo>
                  <a:lnTo>
                    <a:pt x="770" y="678"/>
                  </a:lnTo>
                  <a:lnTo>
                    <a:pt x="770" y="667"/>
                  </a:lnTo>
                  <a:lnTo>
                    <a:pt x="785" y="683"/>
                  </a:lnTo>
                  <a:lnTo>
                    <a:pt x="700" y="737"/>
                  </a:lnTo>
                  <a:lnTo>
                    <a:pt x="678" y="737"/>
                  </a:lnTo>
                  <a:lnTo>
                    <a:pt x="645" y="754"/>
                  </a:lnTo>
                  <a:lnTo>
                    <a:pt x="645" y="754"/>
                  </a:lnTo>
                  <a:lnTo>
                    <a:pt x="645" y="754"/>
                  </a:lnTo>
                  <a:close/>
                  <a:moveTo>
                    <a:pt x="733" y="305"/>
                  </a:moveTo>
                  <a:lnTo>
                    <a:pt x="733" y="277"/>
                  </a:lnTo>
                  <a:lnTo>
                    <a:pt x="737" y="277"/>
                  </a:lnTo>
                  <a:lnTo>
                    <a:pt x="737" y="305"/>
                  </a:lnTo>
                  <a:lnTo>
                    <a:pt x="733" y="322"/>
                  </a:lnTo>
                  <a:lnTo>
                    <a:pt x="721" y="322"/>
                  </a:lnTo>
                  <a:lnTo>
                    <a:pt x="733" y="305"/>
                  </a:lnTo>
                  <a:lnTo>
                    <a:pt x="733" y="305"/>
                  </a:lnTo>
                  <a:lnTo>
                    <a:pt x="733" y="305"/>
                  </a:lnTo>
                  <a:close/>
                  <a:moveTo>
                    <a:pt x="704" y="362"/>
                  </a:moveTo>
                  <a:lnTo>
                    <a:pt x="716" y="378"/>
                  </a:lnTo>
                  <a:lnTo>
                    <a:pt x="716" y="367"/>
                  </a:lnTo>
                  <a:lnTo>
                    <a:pt x="716" y="378"/>
                  </a:lnTo>
                  <a:lnTo>
                    <a:pt x="721" y="388"/>
                  </a:lnTo>
                  <a:lnTo>
                    <a:pt x="716" y="400"/>
                  </a:lnTo>
                  <a:lnTo>
                    <a:pt x="688" y="378"/>
                  </a:lnTo>
                  <a:lnTo>
                    <a:pt x="688" y="362"/>
                  </a:lnTo>
                  <a:lnTo>
                    <a:pt x="700" y="345"/>
                  </a:lnTo>
                  <a:lnTo>
                    <a:pt x="704" y="362"/>
                  </a:lnTo>
                  <a:lnTo>
                    <a:pt x="704" y="362"/>
                  </a:lnTo>
                  <a:lnTo>
                    <a:pt x="704" y="362"/>
                  </a:lnTo>
                  <a:close/>
                  <a:moveTo>
                    <a:pt x="721" y="499"/>
                  </a:moveTo>
                  <a:lnTo>
                    <a:pt x="721" y="499"/>
                  </a:lnTo>
                  <a:lnTo>
                    <a:pt x="742" y="478"/>
                  </a:lnTo>
                  <a:lnTo>
                    <a:pt x="737" y="499"/>
                  </a:lnTo>
                  <a:lnTo>
                    <a:pt x="721" y="499"/>
                  </a:lnTo>
                  <a:lnTo>
                    <a:pt x="721" y="499"/>
                  </a:lnTo>
                  <a:lnTo>
                    <a:pt x="721" y="499"/>
                  </a:lnTo>
                  <a:close/>
                </a:path>
              </a:pathLst>
            </a:custGeom>
            <a:solidFill>
              <a:schemeClr val="bg2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34" name="Freeform 579">
              <a:extLst>
                <a:ext uri="{FF2B5EF4-FFF2-40B4-BE49-F238E27FC236}">
                  <a16:creationId xmlns:a16="http://schemas.microsoft.com/office/drawing/2014/main" id="{43E32FFB-D711-4D26-AFFF-5C9C8F37A5E6}"/>
                </a:ext>
              </a:extLst>
            </p:cNvPr>
            <p:cNvSpPr>
              <a:spLocks/>
            </p:cNvSpPr>
            <p:nvPr/>
          </p:nvSpPr>
          <p:spPr bwMode="gray">
            <a:xfrm>
              <a:off x="6479774" y="2695745"/>
              <a:ext cx="58013" cy="62625"/>
            </a:xfrm>
            <a:custGeom>
              <a:avLst/>
              <a:gdLst>
                <a:gd name="T0" fmla="*/ 231 w 378"/>
                <a:gd name="T1" fmla="*/ 375 h 408"/>
                <a:gd name="T2" fmla="*/ 87 w 378"/>
                <a:gd name="T3" fmla="*/ 375 h 408"/>
                <a:gd name="T4" fmla="*/ 66 w 378"/>
                <a:gd name="T5" fmla="*/ 375 h 408"/>
                <a:gd name="T6" fmla="*/ 54 w 378"/>
                <a:gd name="T7" fmla="*/ 375 h 408"/>
                <a:gd name="T8" fmla="*/ 33 w 378"/>
                <a:gd name="T9" fmla="*/ 408 h 408"/>
                <a:gd name="T10" fmla="*/ 16 w 378"/>
                <a:gd name="T11" fmla="*/ 401 h 408"/>
                <a:gd name="T12" fmla="*/ 0 w 378"/>
                <a:gd name="T13" fmla="*/ 401 h 408"/>
                <a:gd name="T14" fmla="*/ 0 w 378"/>
                <a:gd name="T15" fmla="*/ 368 h 408"/>
                <a:gd name="T16" fmla="*/ 12 w 378"/>
                <a:gd name="T17" fmla="*/ 297 h 408"/>
                <a:gd name="T18" fmla="*/ 21 w 378"/>
                <a:gd name="T19" fmla="*/ 264 h 408"/>
                <a:gd name="T20" fmla="*/ 21 w 378"/>
                <a:gd name="T21" fmla="*/ 243 h 408"/>
                <a:gd name="T22" fmla="*/ 38 w 378"/>
                <a:gd name="T23" fmla="*/ 236 h 408"/>
                <a:gd name="T24" fmla="*/ 49 w 378"/>
                <a:gd name="T25" fmla="*/ 219 h 408"/>
                <a:gd name="T26" fmla="*/ 66 w 378"/>
                <a:gd name="T27" fmla="*/ 219 h 408"/>
                <a:gd name="T28" fmla="*/ 125 w 378"/>
                <a:gd name="T29" fmla="*/ 148 h 408"/>
                <a:gd name="T30" fmla="*/ 104 w 378"/>
                <a:gd name="T31" fmla="*/ 132 h 408"/>
                <a:gd name="T32" fmla="*/ 92 w 378"/>
                <a:gd name="T33" fmla="*/ 132 h 408"/>
                <a:gd name="T34" fmla="*/ 75 w 378"/>
                <a:gd name="T35" fmla="*/ 127 h 408"/>
                <a:gd name="T36" fmla="*/ 92 w 378"/>
                <a:gd name="T37" fmla="*/ 99 h 408"/>
                <a:gd name="T38" fmla="*/ 87 w 378"/>
                <a:gd name="T39" fmla="*/ 82 h 408"/>
                <a:gd name="T40" fmla="*/ 92 w 378"/>
                <a:gd name="T41" fmla="*/ 61 h 408"/>
                <a:gd name="T42" fmla="*/ 92 w 378"/>
                <a:gd name="T43" fmla="*/ 54 h 408"/>
                <a:gd name="T44" fmla="*/ 92 w 378"/>
                <a:gd name="T45" fmla="*/ 54 h 408"/>
                <a:gd name="T46" fmla="*/ 104 w 378"/>
                <a:gd name="T47" fmla="*/ 37 h 408"/>
                <a:gd name="T48" fmla="*/ 108 w 378"/>
                <a:gd name="T49" fmla="*/ 28 h 408"/>
                <a:gd name="T50" fmla="*/ 142 w 378"/>
                <a:gd name="T51" fmla="*/ 37 h 408"/>
                <a:gd name="T52" fmla="*/ 156 w 378"/>
                <a:gd name="T53" fmla="*/ 28 h 408"/>
                <a:gd name="T54" fmla="*/ 163 w 378"/>
                <a:gd name="T55" fmla="*/ 44 h 408"/>
                <a:gd name="T56" fmla="*/ 184 w 378"/>
                <a:gd name="T57" fmla="*/ 54 h 408"/>
                <a:gd name="T58" fmla="*/ 184 w 378"/>
                <a:gd name="T59" fmla="*/ 44 h 408"/>
                <a:gd name="T60" fmla="*/ 201 w 378"/>
                <a:gd name="T61" fmla="*/ 37 h 408"/>
                <a:gd name="T62" fmla="*/ 217 w 378"/>
                <a:gd name="T63" fmla="*/ 28 h 408"/>
                <a:gd name="T64" fmla="*/ 238 w 378"/>
                <a:gd name="T65" fmla="*/ 21 h 408"/>
                <a:gd name="T66" fmla="*/ 255 w 378"/>
                <a:gd name="T67" fmla="*/ 28 h 408"/>
                <a:gd name="T68" fmla="*/ 281 w 378"/>
                <a:gd name="T69" fmla="*/ 28 h 408"/>
                <a:gd name="T70" fmla="*/ 307 w 378"/>
                <a:gd name="T71" fmla="*/ 0 h 408"/>
                <a:gd name="T72" fmla="*/ 323 w 378"/>
                <a:gd name="T73" fmla="*/ 28 h 408"/>
                <a:gd name="T74" fmla="*/ 340 w 378"/>
                <a:gd name="T75" fmla="*/ 37 h 408"/>
                <a:gd name="T76" fmla="*/ 340 w 378"/>
                <a:gd name="T77" fmla="*/ 61 h 408"/>
                <a:gd name="T78" fmla="*/ 345 w 378"/>
                <a:gd name="T79" fmla="*/ 94 h 408"/>
                <a:gd name="T80" fmla="*/ 361 w 378"/>
                <a:gd name="T81" fmla="*/ 99 h 408"/>
                <a:gd name="T82" fmla="*/ 373 w 378"/>
                <a:gd name="T83" fmla="*/ 127 h 408"/>
                <a:gd name="T84" fmla="*/ 378 w 378"/>
                <a:gd name="T85" fmla="*/ 165 h 408"/>
                <a:gd name="T86" fmla="*/ 378 w 378"/>
                <a:gd name="T87" fmla="*/ 181 h 408"/>
                <a:gd name="T88" fmla="*/ 361 w 378"/>
                <a:gd name="T89" fmla="*/ 203 h 408"/>
                <a:gd name="T90" fmla="*/ 373 w 378"/>
                <a:gd name="T91" fmla="*/ 210 h 408"/>
                <a:gd name="T92" fmla="*/ 345 w 378"/>
                <a:gd name="T93" fmla="*/ 219 h 408"/>
                <a:gd name="T94" fmla="*/ 340 w 378"/>
                <a:gd name="T95" fmla="*/ 243 h 408"/>
                <a:gd name="T96" fmla="*/ 323 w 378"/>
                <a:gd name="T97" fmla="*/ 259 h 408"/>
                <a:gd name="T98" fmla="*/ 302 w 378"/>
                <a:gd name="T99" fmla="*/ 297 h 408"/>
                <a:gd name="T100" fmla="*/ 307 w 378"/>
                <a:gd name="T101" fmla="*/ 314 h 408"/>
                <a:gd name="T102" fmla="*/ 302 w 378"/>
                <a:gd name="T103" fmla="*/ 375 h 408"/>
                <a:gd name="T104" fmla="*/ 231 w 378"/>
                <a:gd name="T105" fmla="*/ 375 h 408"/>
                <a:gd name="T106" fmla="*/ 231 w 378"/>
                <a:gd name="T107" fmla="*/ 375 h 408"/>
                <a:gd name="T108" fmla="*/ 231 w 378"/>
                <a:gd name="T109" fmla="*/ 375 h 4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378" h="408">
                  <a:moveTo>
                    <a:pt x="231" y="375"/>
                  </a:moveTo>
                  <a:lnTo>
                    <a:pt x="87" y="375"/>
                  </a:lnTo>
                  <a:lnTo>
                    <a:pt x="66" y="375"/>
                  </a:lnTo>
                  <a:lnTo>
                    <a:pt x="54" y="375"/>
                  </a:lnTo>
                  <a:lnTo>
                    <a:pt x="33" y="408"/>
                  </a:lnTo>
                  <a:lnTo>
                    <a:pt x="16" y="401"/>
                  </a:lnTo>
                  <a:lnTo>
                    <a:pt x="0" y="401"/>
                  </a:lnTo>
                  <a:lnTo>
                    <a:pt x="0" y="368"/>
                  </a:lnTo>
                  <a:lnTo>
                    <a:pt x="12" y="297"/>
                  </a:lnTo>
                  <a:lnTo>
                    <a:pt x="21" y="264"/>
                  </a:lnTo>
                  <a:lnTo>
                    <a:pt x="21" y="243"/>
                  </a:lnTo>
                  <a:lnTo>
                    <a:pt x="38" y="236"/>
                  </a:lnTo>
                  <a:lnTo>
                    <a:pt x="49" y="219"/>
                  </a:lnTo>
                  <a:lnTo>
                    <a:pt x="66" y="219"/>
                  </a:lnTo>
                  <a:lnTo>
                    <a:pt x="125" y="148"/>
                  </a:lnTo>
                  <a:lnTo>
                    <a:pt x="104" y="132"/>
                  </a:lnTo>
                  <a:lnTo>
                    <a:pt x="92" y="132"/>
                  </a:lnTo>
                  <a:lnTo>
                    <a:pt x="75" y="127"/>
                  </a:lnTo>
                  <a:lnTo>
                    <a:pt x="92" y="99"/>
                  </a:lnTo>
                  <a:lnTo>
                    <a:pt x="87" y="82"/>
                  </a:lnTo>
                  <a:lnTo>
                    <a:pt x="92" y="61"/>
                  </a:lnTo>
                  <a:lnTo>
                    <a:pt x="92" y="54"/>
                  </a:lnTo>
                  <a:lnTo>
                    <a:pt x="92" y="54"/>
                  </a:lnTo>
                  <a:lnTo>
                    <a:pt x="104" y="37"/>
                  </a:lnTo>
                  <a:lnTo>
                    <a:pt x="108" y="28"/>
                  </a:lnTo>
                  <a:lnTo>
                    <a:pt x="142" y="37"/>
                  </a:lnTo>
                  <a:lnTo>
                    <a:pt x="156" y="28"/>
                  </a:lnTo>
                  <a:lnTo>
                    <a:pt x="163" y="44"/>
                  </a:lnTo>
                  <a:lnTo>
                    <a:pt x="184" y="54"/>
                  </a:lnTo>
                  <a:lnTo>
                    <a:pt x="184" y="44"/>
                  </a:lnTo>
                  <a:lnTo>
                    <a:pt x="201" y="37"/>
                  </a:lnTo>
                  <a:lnTo>
                    <a:pt x="217" y="28"/>
                  </a:lnTo>
                  <a:lnTo>
                    <a:pt x="238" y="21"/>
                  </a:lnTo>
                  <a:lnTo>
                    <a:pt x="255" y="28"/>
                  </a:lnTo>
                  <a:lnTo>
                    <a:pt x="281" y="28"/>
                  </a:lnTo>
                  <a:lnTo>
                    <a:pt x="307" y="0"/>
                  </a:lnTo>
                  <a:lnTo>
                    <a:pt x="323" y="28"/>
                  </a:lnTo>
                  <a:lnTo>
                    <a:pt x="340" y="37"/>
                  </a:lnTo>
                  <a:lnTo>
                    <a:pt x="340" y="61"/>
                  </a:lnTo>
                  <a:lnTo>
                    <a:pt x="345" y="94"/>
                  </a:lnTo>
                  <a:lnTo>
                    <a:pt x="361" y="99"/>
                  </a:lnTo>
                  <a:lnTo>
                    <a:pt x="373" y="127"/>
                  </a:lnTo>
                  <a:lnTo>
                    <a:pt x="378" y="165"/>
                  </a:lnTo>
                  <a:lnTo>
                    <a:pt x="378" y="181"/>
                  </a:lnTo>
                  <a:lnTo>
                    <a:pt x="361" y="203"/>
                  </a:lnTo>
                  <a:lnTo>
                    <a:pt x="373" y="210"/>
                  </a:lnTo>
                  <a:lnTo>
                    <a:pt x="345" y="219"/>
                  </a:lnTo>
                  <a:lnTo>
                    <a:pt x="340" y="243"/>
                  </a:lnTo>
                  <a:lnTo>
                    <a:pt x="323" y="259"/>
                  </a:lnTo>
                  <a:lnTo>
                    <a:pt x="302" y="297"/>
                  </a:lnTo>
                  <a:lnTo>
                    <a:pt x="307" y="314"/>
                  </a:lnTo>
                  <a:lnTo>
                    <a:pt x="302" y="375"/>
                  </a:lnTo>
                  <a:lnTo>
                    <a:pt x="231" y="375"/>
                  </a:lnTo>
                  <a:lnTo>
                    <a:pt x="231" y="375"/>
                  </a:lnTo>
                  <a:lnTo>
                    <a:pt x="231" y="375"/>
                  </a:lnTo>
                  <a:close/>
                </a:path>
              </a:pathLst>
            </a:custGeom>
            <a:solidFill>
              <a:schemeClr val="bg2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35" name="Freeform 580">
              <a:extLst>
                <a:ext uri="{FF2B5EF4-FFF2-40B4-BE49-F238E27FC236}">
                  <a16:creationId xmlns:a16="http://schemas.microsoft.com/office/drawing/2014/main" id="{0AE8E62B-524E-4A70-9F46-24AD4E3A6BD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073373" y="1970495"/>
              <a:ext cx="107586" cy="167153"/>
            </a:xfrm>
            <a:custGeom>
              <a:avLst/>
              <a:gdLst>
                <a:gd name="T0" fmla="*/ 494 w 701"/>
                <a:gd name="T1" fmla="*/ 38 h 1089"/>
                <a:gd name="T2" fmla="*/ 494 w 701"/>
                <a:gd name="T3" fmla="*/ 71 h 1089"/>
                <a:gd name="T4" fmla="*/ 472 w 701"/>
                <a:gd name="T5" fmla="*/ 71 h 1089"/>
                <a:gd name="T6" fmla="*/ 489 w 701"/>
                <a:gd name="T7" fmla="*/ 62 h 1089"/>
                <a:gd name="T8" fmla="*/ 375 w 701"/>
                <a:gd name="T9" fmla="*/ 206 h 1089"/>
                <a:gd name="T10" fmla="*/ 347 w 701"/>
                <a:gd name="T11" fmla="*/ 222 h 1089"/>
                <a:gd name="T12" fmla="*/ 375 w 701"/>
                <a:gd name="T13" fmla="*/ 215 h 1089"/>
                <a:gd name="T14" fmla="*/ 201 w 701"/>
                <a:gd name="T15" fmla="*/ 907 h 1089"/>
                <a:gd name="T16" fmla="*/ 342 w 701"/>
                <a:gd name="T17" fmla="*/ 770 h 1089"/>
                <a:gd name="T18" fmla="*/ 375 w 701"/>
                <a:gd name="T19" fmla="*/ 737 h 1089"/>
                <a:gd name="T20" fmla="*/ 359 w 701"/>
                <a:gd name="T21" fmla="*/ 610 h 1089"/>
                <a:gd name="T22" fmla="*/ 234 w 701"/>
                <a:gd name="T23" fmla="*/ 643 h 1089"/>
                <a:gd name="T24" fmla="*/ 234 w 701"/>
                <a:gd name="T25" fmla="*/ 503 h 1089"/>
                <a:gd name="T26" fmla="*/ 217 w 701"/>
                <a:gd name="T27" fmla="*/ 482 h 1089"/>
                <a:gd name="T28" fmla="*/ 179 w 701"/>
                <a:gd name="T29" fmla="*/ 499 h 1089"/>
                <a:gd name="T30" fmla="*/ 196 w 701"/>
                <a:gd name="T31" fmla="*/ 459 h 1089"/>
                <a:gd name="T32" fmla="*/ 163 w 701"/>
                <a:gd name="T33" fmla="*/ 425 h 1089"/>
                <a:gd name="T34" fmla="*/ 170 w 701"/>
                <a:gd name="T35" fmla="*/ 392 h 1089"/>
                <a:gd name="T36" fmla="*/ 163 w 701"/>
                <a:gd name="T37" fmla="*/ 350 h 1089"/>
                <a:gd name="T38" fmla="*/ 184 w 701"/>
                <a:gd name="T39" fmla="*/ 293 h 1089"/>
                <a:gd name="T40" fmla="*/ 250 w 701"/>
                <a:gd name="T41" fmla="*/ 239 h 1089"/>
                <a:gd name="T42" fmla="*/ 288 w 701"/>
                <a:gd name="T43" fmla="*/ 317 h 1089"/>
                <a:gd name="T44" fmla="*/ 430 w 701"/>
                <a:gd name="T45" fmla="*/ 333 h 1089"/>
                <a:gd name="T46" fmla="*/ 375 w 701"/>
                <a:gd name="T47" fmla="*/ 459 h 1089"/>
                <a:gd name="T48" fmla="*/ 456 w 701"/>
                <a:gd name="T49" fmla="*/ 548 h 1089"/>
                <a:gd name="T50" fmla="*/ 581 w 701"/>
                <a:gd name="T51" fmla="*/ 754 h 1089"/>
                <a:gd name="T52" fmla="*/ 614 w 701"/>
                <a:gd name="T53" fmla="*/ 808 h 1089"/>
                <a:gd name="T54" fmla="*/ 668 w 701"/>
                <a:gd name="T55" fmla="*/ 907 h 1089"/>
                <a:gd name="T56" fmla="*/ 614 w 701"/>
                <a:gd name="T57" fmla="*/ 957 h 1089"/>
                <a:gd name="T58" fmla="*/ 522 w 701"/>
                <a:gd name="T59" fmla="*/ 1018 h 1089"/>
                <a:gd name="T60" fmla="*/ 364 w 701"/>
                <a:gd name="T61" fmla="*/ 1018 h 1089"/>
                <a:gd name="T62" fmla="*/ 212 w 701"/>
                <a:gd name="T63" fmla="*/ 1089 h 1089"/>
                <a:gd name="T64" fmla="*/ 255 w 701"/>
                <a:gd name="T65" fmla="*/ 1018 h 1089"/>
                <a:gd name="T66" fmla="*/ 342 w 701"/>
                <a:gd name="T67" fmla="*/ 957 h 1089"/>
                <a:gd name="T68" fmla="*/ 217 w 701"/>
                <a:gd name="T69" fmla="*/ 936 h 1089"/>
                <a:gd name="T70" fmla="*/ 104 w 701"/>
                <a:gd name="T71" fmla="*/ 317 h 1089"/>
                <a:gd name="T72" fmla="*/ 87 w 701"/>
                <a:gd name="T73" fmla="*/ 277 h 1089"/>
                <a:gd name="T74" fmla="*/ 142 w 701"/>
                <a:gd name="T75" fmla="*/ 277 h 1089"/>
                <a:gd name="T76" fmla="*/ 38 w 701"/>
                <a:gd name="T77" fmla="*/ 338 h 1089"/>
                <a:gd name="T78" fmla="*/ 146 w 701"/>
                <a:gd name="T79" fmla="*/ 388 h 1089"/>
                <a:gd name="T80" fmla="*/ 108 w 701"/>
                <a:gd name="T81" fmla="*/ 338 h 1089"/>
                <a:gd name="T82" fmla="*/ 163 w 701"/>
                <a:gd name="T83" fmla="*/ 392 h 1089"/>
                <a:gd name="T84" fmla="*/ 61 w 701"/>
                <a:gd name="T85" fmla="*/ 392 h 1089"/>
                <a:gd name="T86" fmla="*/ 49 w 701"/>
                <a:gd name="T87" fmla="*/ 409 h 1089"/>
                <a:gd name="T88" fmla="*/ 116 w 701"/>
                <a:gd name="T89" fmla="*/ 404 h 1089"/>
                <a:gd name="T90" fmla="*/ 142 w 701"/>
                <a:gd name="T91" fmla="*/ 421 h 1089"/>
                <a:gd name="T92" fmla="*/ 146 w 701"/>
                <a:gd name="T93" fmla="*/ 466 h 1089"/>
                <a:gd name="T94" fmla="*/ 78 w 701"/>
                <a:gd name="T95" fmla="*/ 459 h 1089"/>
                <a:gd name="T96" fmla="*/ 170 w 701"/>
                <a:gd name="T97" fmla="*/ 492 h 1089"/>
                <a:gd name="T98" fmla="*/ 142 w 701"/>
                <a:gd name="T99" fmla="*/ 503 h 1089"/>
                <a:gd name="T100" fmla="*/ 130 w 701"/>
                <a:gd name="T101" fmla="*/ 548 h 1089"/>
                <a:gd name="T102" fmla="*/ 217 w 701"/>
                <a:gd name="T103" fmla="*/ 536 h 1089"/>
                <a:gd name="T104" fmla="*/ 212 w 701"/>
                <a:gd name="T105" fmla="*/ 560 h 1089"/>
                <a:gd name="T106" fmla="*/ 38 w 701"/>
                <a:gd name="T107" fmla="*/ 631 h 1089"/>
                <a:gd name="T108" fmla="*/ 158 w 701"/>
                <a:gd name="T109" fmla="*/ 647 h 1089"/>
                <a:gd name="T110" fmla="*/ 158 w 701"/>
                <a:gd name="T111" fmla="*/ 697 h 1089"/>
                <a:gd name="T112" fmla="*/ 250 w 701"/>
                <a:gd name="T113" fmla="*/ 770 h 1089"/>
                <a:gd name="T114" fmla="*/ 635 w 701"/>
                <a:gd name="T115" fmla="*/ 957 h 1089"/>
                <a:gd name="T116" fmla="*/ 484 w 701"/>
                <a:gd name="T117" fmla="*/ 1035 h 10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701" h="1089">
                  <a:moveTo>
                    <a:pt x="510" y="17"/>
                  </a:moveTo>
                  <a:lnTo>
                    <a:pt x="505" y="17"/>
                  </a:lnTo>
                  <a:lnTo>
                    <a:pt x="510" y="0"/>
                  </a:lnTo>
                  <a:lnTo>
                    <a:pt x="522" y="0"/>
                  </a:lnTo>
                  <a:lnTo>
                    <a:pt x="510" y="17"/>
                  </a:lnTo>
                  <a:lnTo>
                    <a:pt x="510" y="17"/>
                  </a:lnTo>
                  <a:lnTo>
                    <a:pt x="510" y="17"/>
                  </a:lnTo>
                  <a:close/>
                  <a:moveTo>
                    <a:pt x="494" y="38"/>
                  </a:moveTo>
                  <a:lnTo>
                    <a:pt x="489" y="22"/>
                  </a:lnTo>
                  <a:lnTo>
                    <a:pt x="505" y="5"/>
                  </a:lnTo>
                  <a:lnTo>
                    <a:pt x="505" y="33"/>
                  </a:lnTo>
                  <a:lnTo>
                    <a:pt x="494" y="38"/>
                  </a:lnTo>
                  <a:lnTo>
                    <a:pt x="494" y="38"/>
                  </a:lnTo>
                  <a:lnTo>
                    <a:pt x="494" y="38"/>
                  </a:lnTo>
                  <a:close/>
                  <a:moveTo>
                    <a:pt x="489" y="62"/>
                  </a:moveTo>
                  <a:lnTo>
                    <a:pt x="494" y="71"/>
                  </a:lnTo>
                  <a:lnTo>
                    <a:pt x="489" y="78"/>
                  </a:lnTo>
                  <a:lnTo>
                    <a:pt x="484" y="99"/>
                  </a:lnTo>
                  <a:lnTo>
                    <a:pt x="472" y="99"/>
                  </a:lnTo>
                  <a:lnTo>
                    <a:pt x="489" y="78"/>
                  </a:lnTo>
                  <a:lnTo>
                    <a:pt x="484" y="62"/>
                  </a:lnTo>
                  <a:lnTo>
                    <a:pt x="472" y="62"/>
                  </a:lnTo>
                  <a:lnTo>
                    <a:pt x="484" y="71"/>
                  </a:lnTo>
                  <a:lnTo>
                    <a:pt x="472" y="71"/>
                  </a:lnTo>
                  <a:lnTo>
                    <a:pt x="456" y="55"/>
                  </a:lnTo>
                  <a:lnTo>
                    <a:pt x="484" y="45"/>
                  </a:lnTo>
                  <a:lnTo>
                    <a:pt x="456" y="38"/>
                  </a:lnTo>
                  <a:lnTo>
                    <a:pt x="484" y="22"/>
                  </a:lnTo>
                  <a:lnTo>
                    <a:pt x="484" y="38"/>
                  </a:lnTo>
                  <a:lnTo>
                    <a:pt x="505" y="38"/>
                  </a:lnTo>
                  <a:lnTo>
                    <a:pt x="489" y="62"/>
                  </a:lnTo>
                  <a:lnTo>
                    <a:pt x="489" y="62"/>
                  </a:lnTo>
                  <a:lnTo>
                    <a:pt x="489" y="62"/>
                  </a:lnTo>
                  <a:close/>
                  <a:moveTo>
                    <a:pt x="385" y="173"/>
                  </a:moveTo>
                  <a:lnTo>
                    <a:pt x="385" y="166"/>
                  </a:lnTo>
                  <a:lnTo>
                    <a:pt x="401" y="166"/>
                  </a:lnTo>
                  <a:lnTo>
                    <a:pt x="385" y="173"/>
                  </a:lnTo>
                  <a:lnTo>
                    <a:pt x="385" y="173"/>
                  </a:lnTo>
                  <a:lnTo>
                    <a:pt x="385" y="173"/>
                  </a:lnTo>
                  <a:close/>
                  <a:moveTo>
                    <a:pt x="375" y="206"/>
                  </a:moveTo>
                  <a:lnTo>
                    <a:pt x="342" y="199"/>
                  </a:lnTo>
                  <a:lnTo>
                    <a:pt x="342" y="182"/>
                  </a:lnTo>
                  <a:lnTo>
                    <a:pt x="359" y="182"/>
                  </a:lnTo>
                  <a:lnTo>
                    <a:pt x="380" y="206"/>
                  </a:lnTo>
                  <a:lnTo>
                    <a:pt x="375" y="206"/>
                  </a:lnTo>
                  <a:lnTo>
                    <a:pt x="375" y="206"/>
                  </a:lnTo>
                  <a:lnTo>
                    <a:pt x="375" y="206"/>
                  </a:lnTo>
                  <a:close/>
                  <a:moveTo>
                    <a:pt x="347" y="222"/>
                  </a:moveTo>
                  <a:lnTo>
                    <a:pt x="331" y="206"/>
                  </a:lnTo>
                  <a:lnTo>
                    <a:pt x="347" y="215"/>
                  </a:lnTo>
                  <a:lnTo>
                    <a:pt x="347" y="222"/>
                  </a:lnTo>
                  <a:lnTo>
                    <a:pt x="347" y="222"/>
                  </a:lnTo>
                  <a:lnTo>
                    <a:pt x="347" y="222"/>
                  </a:lnTo>
                  <a:close/>
                  <a:moveTo>
                    <a:pt x="364" y="222"/>
                  </a:moveTo>
                  <a:lnTo>
                    <a:pt x="359" y="215"/>
                  </a:lnTo>
                  <a:lnTo>
                    <a:pt x="375" y="215"/>
                  </a:lnTo>
                  <a:lnTo>
                    <a:pt x="364" y="222"/>
                  </a:lnTo>
                  <a:lnTo>
                    <a:pt x="364" y="222"/>
                  </a:lnTo>
                  <a:lnTo>
                    <a:pt x="364" y="222"/>
                  </a:lnTo>
                  <a:close/>
                  <a:moveTo>
                    <a:pt x="217" y="936"/>
                  </a:moveTo>
                  <a:lnTo>
                    <a:pt x="234" y="924"/>
                  </a:lnTo>
                  <a:lnTo>
                    <a:pt x="201" y="924"/>
                  </a:lnTo>
                  <a:lnTo>
                    <a:pt x="217" y="924"/>
                  </a:lnTo>
                  <a:lnTo>
                    <a:pt x="201" y="907"/>
                  </a:lnTo>
                  <a:lnTo>
                    <a:pt x="276" y="879"/>
                  </a:lnTo>
                  <a:lnTo>
                    <a:pt x="288" y="853"/>
                  </a:lnTo>
                  <a:lnTo>
                    <a:pt x="276" y="813"/>
                  </a:lnTo>
                  <a:lnTo>
                    <a:pt x="255" y="825"/>
                  </a:lnTo>
                  <a:lnTo>
                    <a:pt x="238" y="825"/>
                  </a:lnTo>
                  <a:lnTo>
                    <a:pt x="238" y="825"/>
                  </a:lnTo>
                  <a:lnTo>
                    <a:pt x="276" y="780"/>
                  </a:lnTo>
                  <a:lnTo>
                    <a:pt x="342" y="770"/>
                  </a:lnTo>
                  <a:lnTo>
                    <a:pt x="359" y="780"/>
                  </a:lnTo>
                  <a:lnTo>
                    <a:pt x="347" y="770"/>
                  </a:lnTo>
                  <a:lnTo>
                    <a:pt x="359" y="770"/>
                  </a:lnTo>
                  <a:lnTo>
                    <a:pt x="375" y="775"/>
                  </a:lnTo>
                  <a:lnTo>
                    <a:pt x="380" y="770"/>
                  </a:lnTo>
                  <a:lnTo>
                    <a:pt x="364" y="770"/>
                  </a:lnTo>
                  <a:lnTo>
                    <a:pt x="359" y="754"/>
                  </a:lnTo>
                  <a:lnTo>
                    <a:pt x="375" y="737"/>
                  </a:lnTo>
                  <a:lnTo>
                    <a:pt x="359" y="725"/>
                  </a:lnTo>
                  <a:lnTo>
                    <a:pt x="359" y="714"/>
                  </a:lnTo>
                  <a:lnTo>
                    <a:pt x="364" y="714"/>
                  </a:lnTo>
                  <a:lnTo>
                    <a:pt x="375" y="681"/>
                  </a:lnTo>
                  <a:lnTo>
                    <a:pt x="347" y="697"/>
                  </a:lnTo>
                  <a:lnTo>
                    <a:pt x="321" y="659"/>
                  </a:lnTo>
                  <a:lnTo>
                    <a:pt x="331" y="614"/>
                  </a:lnTo>
                  <a:lnTo>
                    <a:pt x="359" y="610"/>
                  </a:lnTo>
                  <a:lnTo>
                    <a:pt x="326" y="610"/>
                  </a:lnTo>
                  <a:lnTo>
                    <a:pt x="321" y="614"/>
                  </a:lnTo>
                  <a:lnTo>
                    <a:pt x="293" y="631"/>
                  </a:lnTo>
                  <a:lnTo>
                    <a:pt x="267" y="614"/>
                  </a:lnTo>
                  <a:lnTo>
                    <a:pt x="267" y="643"/>
                  </a:lnTo>
                  <a:lnTo>
                    <a:pt x="234" y="614"/>
                  </a:lnTo>
                  <a:lnTo>
                    <a:pt x="222" y="626"/>
                  </a:lnTo>
                  <a:lnTo>
                    <a:pt x="234" y="643"/>
                  </a:lnTo>
                  <a:lnTo>
                    <a:pt x="222" y="643"/>
                  </a:lnTo>
                  <a:lnTo>
                    <a:pt x="212" y="614"/>
                  </a:lnTo>
                  <a:lnTo>
                    <a:pt x="212" y="610"/>
                  </a:lnTo>
                  <a:lnTo>
                    <a:pt x="250" y="553"/>
                  </a:lnTo>
                  <a:lnTo>
                    <a:pt x="222" y="536"/>
                  </a:lnTo>
                  <a:lnTo>
                    <a:pt x="234" y="515"/>
                  </a:lnTo>
                  <a:lnTo>
                    <a:pt x="255" y="515"/>
                  </a:lnTo>
                  <a:lnTo>
                    <a:pt x="234" y="503"/>
                  </a:lnTo>
                  <a:lnTo>
                    <a:pt x="234" y="492"/>
                  </a:lnTo>
                  <a:lnTo>
                    <a:pt x="222" y="520"/>
                  </a:lnTo>
                  <a:lnTo>
                    <a:pt x="212" y="515"/>
                  </a:lnTo>
                  <a:lnTo>
                    <a:pt x="212" y="520"/>
                  </a:lnTo>
                  <a:lnTo>
                    <a:pt x="201" y="520"/>
                  </a:lnTo>
                  <a:lnTo>
                    <a:pt x="201" y="503"/>
                  </a:lnTo>
                  <a:lnTo>
                    <a:pt x="222" y="482"/>
                  </a:lnTo>
                  <a:lnTo>
                    <a:pt x="217" y="482"/>
                  </a:lnTo>
                  <a:lnTo>
                    <a:pt x="196" y="503"/>
                  </a:lnTo>
                  <a:lnTo>
                    <a:pt x="196" y="532"/>
                  </a:lnTo>
                  <a:lnTo>
                    <a:pt x="184" y="548"/>
                  </a:lnTo>
                  <a:lnTo>
                    <a:pt x="184" y="570"/>
                  </a:lnTo>
                  <a:lnTo>
                    <a:pt x="163" y="577"/>
                  </a:lnTo>
                  <a:lnTo>
                    <a:pt x="179" y="532"/>
                  </a:lnTo>
                  <a:lnTo>
                    <a:pt x="170" y="515"/>
                  </a:lnTo>
                  <a:lnTo>
                    <a:pt x="179" y="499"/>
                  </a:lnTo>
                  <a:lnTo>
                    <a:pt x="170" y="503"/>
                  </a:lnTo>
                  <a:lnTo>
                    <a:pt x="184" y="492"/>
                  </a:lnTo>
                  <a:lnTo>
                    <a:pt x="179" y="492"/>
                  </a:lnTo>
                  <a:lnTo>
                    <a:pt x="179" y="475"/>
                  </a:lnTo>
                  <a:lnTo>
                    <a:pt x="217" y="449"/>
                  </a:lnTo>
                  <a:lnTo>
                    <a:pt x="217" y="449"/>
                  </a:lnTo>
                  <a:lnTo>
                    <a:pt x="212" y="459"/>
                  </a:lnTo>
                  <a:lnTo>
                    <a:pt x="196" y="459"/>
                  </a:lnTo>
                  <a:lnTo>
                    <a:pt x="201" y="449"/>
                  </a:lnTo>
                  <a:lnTo>
                    <a:pt x="196" y="442"/>
                  </a:lnTo>
                  <a:lnTo>
                    <a:pt x="212" y="421"/>
                  </a:lnTo>
                  <a:lnTo>
                    <a:pt x="170" y="459"/>
                  </a:lnTo>
                  <a:lnTo>
                    <a:pt x="146" y="442"/>
                  </a:lnTo>
                  <a:lnTo>
                    <a:pt x="184" y="437"/>
                  </a:lnTo>
                  <a:lnTo>
                    <a:pt x="130" y="437"/>
                  </a:lnTo>
                  <a:lnTo>
                    <a:pt x="163" y="425"/>
                  </a:lnTo>
                  <a:lnTo>
                    <a:pt x="163" y="425"/>
                  </a:lnTo>
                  <a:lnTo>
                    <a:pt x="163" y="421"/>
                  </a:lnTo>
                  <a:lnTo>
                    <a:pt x="179" y="421"/>
                  </a:lnTo>
                  <a:lnTo>
                    <a:pt x="158" y="409"/>
                  </a:lnTo>
                  <a:lnTo>
                    <a:pt x="163" y="404"/>
                  </a:lnTo>
                  <a:lnTo>
                    <a:pt x="184" y="404"/>
                  </a:lnTo>
                  <a:lnTo>
                    <a:pt x="163" y="392"/>
                  </a:lnTo>
                  <a:lnTo>
                    <a:pt x="170" y="392"/>
                  </a:lnTo>
                  <a:lnTo>
                    <a:pt x="196" y="392"/>
                  </a:lnTo>
                  <a:lnTo>
                    <a:pt x="179" y="388"/>
                  </a:lnTo>
                  <a:lnTo>
                    <a:pt x="179" y="383"/>
                  </a:lnTo>
                  <a:lnTo>
                    <a:pt x="196" y="383"/>
                  </a:lnTo>
                  <a:lnTo>
                    <a:pt x="179" y="371"/>
                  </a:lnTo>
                  <a:lnTo>
                    <a:pt x="184" y="366"/>
                  </a:lnTo>
                  <a:lnTo>
                    <a:pt x="163" y="366"/>
                  </a:lnTo>
                  <a:lnTo>
                    <a:pt x="163" y="350"/>
                  </a:lnTo>
                  <a:lnTo>
                    <a:pt x="184" y="350"/>
                  </a:lnTo>
                  <a:lnTo>
                    <a:pt x="163" y="338"/>
                  </a:lnTo>
                  <a:lnTo>
                    <a:pt x="163" y="317"/>
                  </a:lnTo>
                  <a:lnTo>
                    <a:pt x="170" y="317"/>
                  </a:lnTo>
                  <a:lnTo>
                    <a:pt x="179" y="326"/>
                  </a:lnTo>
                  <a:lnTo>
                    <a:pt x="179" y="310"/>
                  </a:lnTo>
                  <a:lnTo>
                    <a:pt x="217" y="317"/>
                  </a:lnTo>
                  <a:lnTo>
                    <a:pt x="184" y="293"/>
                  </a:lnTo>
                  <a:lnTo>
                    <a:pt x="201" y="293"/>
                  </a:lnTo>
                  <a:lnTo>
                    <a:pt x="196" y="277"/>
                  </a:lnTo>
                  <a:lnTo>
                    <a:pt x="217" y="277"/>
                  </a:lnTo>
                  <a:lnTo>
                    <a:pt x="212" y="260"/>
                  </a:lnTo>
                  <a:lnTo>
                    <a:pt x="222" y="239"/>
                  </a:lnTo>
                  <a:lnTo>
                    <a:pt x="238" y="244"/>
                  </a:lnTo>
                  <a:lnTo>
                    <a:pt x="238" y="255"/>
                  </a:lnTo>
                  <a:lnTo>
                    <a:pt x="250" y="239"/>
                  </a:lnTo>
                  <a:lnTo>
                    <a:pt x="271" y="244"/>
                  </a:lnTo>
                  <a:lnTo>
                    <a:pt x="359" y="227"/>
                  </a:lnTo>
                  <a:lnTo>
                    <a:pt x="359" y="255"/>
                  </a:lnTo>
                  <a:lnTo>
                    <a:pt x="347" y="272"/>
                  </a:lnTo>
                  <a:lnTo>
                    <a:pt x="293" y="310"/>
                  </a:lnTo>
                  <a:lnTo>
                    <a:pt x="288" y="317"/>
                  </a:lnTo>
                  <a:lnTo>
                    <a:pt x="267" y="310"/>
                  </a:lnTo>
                  <a:lnTo>
                    <a:pt x="288" y="317"/>
                  </a:lnTo>
                  <a:lnTo>
                    <a:pt x="309" y="317"/>
                  </a:lnTo>
                  <a:lnTo>
                    <a:pt x="293" y="333"/>
                  </a:lnTo>
                  <a:lnTo>
                    <a:pt x="271" y="333"/>
                  </a:lnTo>
                  <a:lnTo>
                    <a:pt x="267" y="350"/>
                  </a:lnTo>
                  <a:lnTo>
                    <a:pt x="288" y="338"/>
                  </a:lnTo>
                  <a:lnTo>
                    <a:pt x="276" y="355"/>
                  </a:lnTo>
                  <a:lnTo>
                    <a:pt x="326" y="333"/>
                  </a:lnTo>
                  <a:lnTo>
                    <a:pt x="430" y="333"/>
                  </a:lnTo>
                  <a:lnTo>
                    <a:pt x="439" y="333"/>
                  </a:lnTo>
                  <a:lnTo>
                    <a:pt x="451" y="355"/>
                  </a:lnTo>
                  <a:lnTo>
                    <a:pt x="434" y="371"/>
                  </a:lnTo>
                  <a:lnTo>
                    <a:pt x="418" y="421"/>
                  </a:lnTo>
                  <a:lnTo>
                    <a:pt x="397" y="437"/>
                  </a:lnTo>
                  <a:lnTo>
                    <a:pt x="397" y="449"/>
                  </a:lnTo>
                  <a:lnTo>
                    <a:pt x="342" y="466"/>
                  </a:lnTo>
                  <a:lnTo>
                    <a:pt x="375" y="459"/>
                  </a:lnTo>
                  <a:lnTo>
                    <a:pt x="397" y="482"/>
                  </a:lnTo>
                  <a:lnTo>
                    <a:pt x="331" y="503"/>
                  </a:lnTo>
                  <a:lnTo>
                    <a:pt x="309" y="503"/>
                  </a:lnTo>
                  <a:lnTo>
                    <a:pt x="359" y="515"/>
                  </a:lnTo>
                  <a:lnTo>
                    <a:pt x="385" y="499"/>
                  </a:lnTo>
                  <a:lnTo>
                    <a:pt x="430" y="520"/>
                  </a:lnTo>
                  <a:lnTo>
                    <a:pt x="439" y="548"/>
                  </a:lnTo>
                  <a:lnTo>
                    <a:pt x="456" y="548"/>
                  </a:lnTo>
                  <a:lnTo>
                    <a:pt x="484" y="631"/>
                  </a:lnTo>
                  <a:lnTo>
                    <a:pt x="489" y="643"/>
                  </a:lnTo>
                  <a:lnTo>
                    <a:pt x="538" y="659"/>
                  </a:lnTo>
                  <a:lnTo>
                    <a:pt x="548" y="681"/>
                  </a:lnTo>
                  <a:lnTo>
                    <a:pt x="564" y="697"/>
                  </a:lnTo>
                  <a:lnTo>
                    <a:pt x="560" y="702"/>
                  </a:lnTo>
                  <a:lnTo>
                    <a:pt x="581" y="742"/>
                  </a:lnTo>
                  <a:lnTo>
                    <a:pt x="581" y="754"/>
                  </a:lnTo>
                  <a:lnTo>
                    <a:pt x="560" y="737"/>
                  </a:lnTo>
                  <a:lnTo>
                    <a:pt x="522" y="737"/>
                  </a:lnTo>
                  <a:lnTo>
                    <a:pt x="548" y="737"/>
                  </a:lnTo>
                  <a:lnTo>
                    <a:pt x="593" y="770"/>
                  </a:lnTo>
                  <a:lnTo>
                    <a:pt x="597" y="792"/>
                  </a:lnTo>
                  <a:lnTo>
                    <a:pt x="576" y="813"/>
                  </a:lnTo>
                  <a:lnTo>
                    <a:pt x="597" y="825"/>
                  </a:lnTo>
                  <a:lnTo>
                    <a:pt x="614" y="808"/>
                  </a:lnTo>
                  <a:lnTo>
                    <a:pt x="635" y="808"/>
                  </a:lnTo>
                  <a:lnTo>
                    <a:pt x="668" y="813"/>
                  </a:lnTo>
                  <a:lnTo>
                    <a:pt x="690" y="829"/>
                  </a:lnTo>
                  <a:lnTo>
                    <a:pt x="701" y="853"/>
                  </a:lnTo>
                  <a:lnTo>
                    <a:pt x="685" y="891"/>
                  </a:lnTo>
                  <a:lnTo>
                    <a:pt x="668" y="907"/>
                  </a:lnTo>
                  <a:lnTo>
                    <a:pt x="657" y="903"/>
                  </a:lnTo>
                  <a:lnTo>
                    <a:pt x="668" y="907"/>
                  </a:lnTo>
                  <a:lnTo>
                    <a:pt x="657" y="919"/>
                  </a:lnTo>
                  <a:lnTo>
                    <a:pt x="647" y="919"/>
                  </a:lnTo>
                  <a:lnTo>
                    <a:pt x="619" y="924"/>
                  </a:lnTo>
                  <a:lnTo>
                    <a:pt x="635" y="924"/>
                  </a:lnTo>
                  <a:lnTo>
                    <a:pt x="647" y="940"/>
                  </a:lnTo>
                  <a:lnTo>
                    <a:pt x="597" y="957"/>
                  </a:lnTo>
                  <a:lnTo>
                    <a:pt x="619" y="947"/>
                  </a:lnTo>
                  <a:lnTo>
                    <a:pt x="614" y="957"/>
                  </a:lnTo>
                  <a:lnTo>
                    <a:pt x="635" y="964"/>
                  </a:lnTo>
                  <a:lnTo>
                    <a:pt x="673" y="957"/>
                  </a:lnTo>
                  <a:lnTo>
                    <a:pt x="673" y="981"/>
                  </a:lnTo>
                  <a:lnTo>
                    <a:pt x="647" y="990"/>
                  </a:lnTo>
                  <a:lnTo>
                    <a:pt x="647" y="1002"/>
                  </a:lnTo>
                  <a:lnTo>
                    <a:pt x="593" y="1018"/>
                  </a:lnTo>
                  <a:lnTo>
                    <a:pt x="560" y="1014"/>
                  </a:lnTo>
                  <a:lnTo>
                    <a:pt x="522" y="1018"/>
                  </a:lnTo>
                  <a:lnTo>
                    <a:pt x="510" y="1014"/>
                  </a:lnTo>
                  <a:lnTo>
                    <a:pt x="494" y="1014"/>
                  </a:lnTo>
                  <a:lnTo>
                    <a:pt x="494" y="1018"/>
                  </a:lnTo>
                  <a:lnTo>
                    <a:pt x="430" y="1018"/>
                  </a:lnTo>
                  <a:lnTo>
                    <a:pt x="434" y="1035"/>
                  </a:lnTo>
                  <a:lnTo>
                    <a:pt x="401" y="1030"/>
                  </a:lnTo>
                  <a:lnTo>
                    <a:pt x="401" y="1035"/>
                  </a:lnTo>
                  <a:lnTo>
                    <a:pt x="364" y="1018"/>
                  </a:lnTo>
                  <a:lnTo>
                    <a:pt x="331" y="1035"/>
                  </a:lnTo>
                  <a:lnTo>
                    <a:pt x="309" y="1068"/>
                  </a:lnTo>
                  <a:lnTo>
                    <a:pt x="276" y="1051"/>
                  </a:lnTo>
                  <a:lnTo>
                    <a:pt x="267" y="1056"/>
                  </a:lnTo>
                  <a:lnTo>
                    <a:pt x="238" y="1056"/>
                  </a:lnTo>
                  <a:lnTo>
                    <a:pt x="217" y="1073"/>
                  </a:lnTo>
                  <a:lnTo>
                    <a:pt x="217" y="1084"/>
                  </a:lnTo>
                  <a:lnTo>
                    <a:pt x="212" y="1089"/>
                  </a:lnTo>
                  <a:lnTo>
                    <a:pt x="184" y="1073"/>
                  </a:lnTo>
                  <a:lnTo>
                    <a:pt x="170" y="1084"/>
                  </a:lnTo>
                  <a:lnTo>
                    <a:pt x="170" y="1073"/>
                  </a:lnTo>
                  <a:lnTo>
                    <a:pt x="196" y="1073"/>
                  </a:lnTo>
                  <a:lnTo>
                    <a:pt x="217" y="1051"/>
                  </a:lnTo>
                  <a:lnTo>
                    <a:pt x="217" y="1035"/>
                  </a:lnTo>
                  <a:lnTo>
                    <a:pt x="238" y="1035"/>
                  </a:lnTo>
                  <a:lnTo>
                    <a:pt x="255" y="1018"/>
                  </a:lnTo>
                  <a:lnTo>
                    <a:pt x="255" y="997"/>
                  </a:lnTo>
                  <a:lnTo>
                    <a:pt x="271" y="997"/>
                  </a:lnTo>
                  <a:lnTo>
                    <a:pt x="276" y="990"/>
                  </a:lnTo>
                  <a:lnTo>
                    <a:pt x="276" y="981"/>
                  </a:lnTo>
                  <a:lnTo>
                    <a:pt x="359" y="973"/>
                  </a:lnTo>
                  <a:lnTo>
                    <a:pt x="364" y="957"/>
                  </a:lnTo>
                  <a:lnTo>
                    <a:pt x="401" y="924"/>
                  </a:lnTo>
                  <a:lnTo>
                    <a:pt x="342" y="957"/>
                  </a:lnTo>
                  <a:lnTo>
                    <a:pt x="326" y="957"/>
                  </a:lnTo>
                  <a:lnTo>
                    <a:pt x="305" y="936"/>
                  </a:lnTo>
                  <a:lnTo>
                    <a:pt x="276" y="947"/>
                  </a:lnTo>
                  <a:lnTo>
                    <a:pt x="271" y="940"/>
                  </a:lnTo>
                  <a:lnTo>
                    <a:pt x="288" y="936"/>
                  </a:lnTo>
                  <a:lnTo>
                    <a:pt x="267" y="924"/>
                  </a:lnTo>
                  <a:lnTo>
                    <a:pt x="217" y="936"/>
                  </a:lnTo>
                  <a:lnTo>
                    <a:pt x="217" y="936"/>
                  </a:lnTo>
                  <a:lnTo>
                    <a:pt x="217" y="936"/>
                  </a:lnTo>
                  <a:close/>
                  <a:moveTo>
                    <a:pt x="116" y="310"/>
                  </a:moveTo>
                  <a:lnTo>
                    <a:pt x="104" y="310"/>
                  </a:lnTo>
                  <a:lnTo>
                    <a:pt x="104" y="298"/>
                  </a:lnTo>
                  <a:lnTo>
                    <a:pt x="108" y="293"/>
                  </a:lnTo>
                  <a:lnTo>
                    <a:pt x="104" y="293"/>
                  </a:lnTo>
                  <a:lnTo>
                    <a:pt x="104" y="298"/>
                  </a:lnTo>
                  <a:lnTo>
                    <a:pt x="104" y="317"/>
                  </a:lnTo>
                  <a:lnTo>
                    <a:pt x="87" y="333"/>
                  </a:lnTo>
                  <a:lnTo>
                    <a:pt x="71" y="317"/>
                  </a:lnTo>
                  <a:lnTo>
                    <a:pt x="92" y="310"/>
                  </a:lnTo>
                  <a:lnTo>
                    <a:pt x="71" y="298"/>
                  </a:lnTo>
                  <a:lnTo>
                    <a:pt x="78" y="298"/>
                  </a:lnTo>
                  <a:lnTo>
                    <a:pt x="71" y="281"/>
                  </a:lnTo>
                  <a:lnTo>
                    <a:pt x="78" y="277"/>
                  </a:lnTo>
                  <a:lnTo>
                    <a:pt x="87" y="277"/>
                  </a:lnTo>
                  <a:lnTo>
                    <a:pt x="92" y="293"/>
                  </a:lnTo>
                  <a:lnTo>
                    <a:pt x="92" y="281"/>
                  </a:lnTo>
                  <a:lnTo>
                    <a:pt x="104" y="277"/>
                  </a:lnTo>
                  <a:lnTo>
                    <a:pt x="92" y="272"/>
                  </a:lnTo>
                  <a:lnTo>
                    <a:pt x="130" y="244"/>
                  </a:lnTo>
                  <a:lnTo>
                    <a:pt x="142" y="255"/>
                  </a:lnTo>
                  <a:lnTo>
                    <a:pt x="125" y="277"/>
                  </a:lnTo>
                  <a:lnTo>
                    <a:pt x="142" y="277"/>
                  </a:lnTo>
                  <a:lnTo>
                    <a:pt x="108" y="293"/>
                  </a:lnTo>
                  <a:lnTo>
                    <a:pt x="125" y="293"/>
                  </a:lnTo>
                  <a:lnTo>
                    <a:pt x="125" y="298"/>
                  </a:lnTo>
                  <a:lnTo>
                    <a:pt x="116" y="310"/>
                  </a:lnTo>
                  <a:lnTo>
                    <a:pt x="116" y="310"/>
                  </a:lnTo>
                  <a:lnTo>
                    <a:pt x="116" y="310"/>
                  </a:lnTo>
                  <a:close/>
                  <a:moveTo>
                    <a:pt x="61" y="350"/>
                  </a:moveTo>
                  <a:lnTo>
                    <a:pt x="38" y="338"/>
                  </a:lnTo>
                  <a:lnTo>
                    <a:pt x="71" y="333"/>
                  </a:lnTo>
                  <a:lnTo>
                    <a:pt x="78" y="338"/>
                  </a:lnTo>
                  <a:lnTo>
                    <a:pt x="61" y="350"/>
                  </a:lnTo>
                  <a:lnTo>
                    <a:pt x="61" y="350"/>
                  </a:lnTo>
                  <a:lnTo>
                    <a:pt x="61" y="350"/>
                  </a:lnTo>
                  <a:close/>
                  <a:moveTo>
                    <a:pt x="163" y="392"/>
                  </a:moveTo>
                  <a:lnTo>
                    <a:pt x="146" y="404"/>
                  </a:lnTo>
                  <a:lnTo>
                    <a:pt x="146" y="388"/>
                  </a:lnTo>
                  <a:lnTo>
                    <a:pt x="130" y="388"/>
                  </a:lnTo>
                  <a:lnTo>
                    <a:pt x="116" y="371"/>
                  </a:lnTo>
                  <a:lnTo>
                    <a:pt x="130" y="371"/>
                  </a:lnTo>
                  <a:lnTo>
                    <a:pt x="116" y="366"/>
                  </a:lnTo>
                  <a:lnTo>
                    <a:pt x="108" y="371"/>
                  </a:lnTo>
                  <a:lnTo>
                    <a:pt x="104" y="366"/>
                  </a:lnTo>
                  <a:lnTo>
                    <a:pt x="92" y="355"/>
                  </a:lnTo>
                  <a:lnTo>
                    <a:pt x="108" y="338"/>
                  </a:lnTo>
                  <a:lnTo>
                    <a:pt x="125" y="350"/>
                  </a:lnTo>
                  <a:lnTo>
                    <a:pt x="125" y="338"/>
                  </a:lnTo>
                  <a:lnTo>
                    <a:pt x="130" y="333"/>
                  </a:lnTo>
                  <a:lnTo>
                    <a:pt x="142" y="350"/>
                  </a:lnTo>
                  <a:lnTo>
                    <a:pt x="142" y="371"/>
                  </a:lnTo>
                  <a:lnTo>
                    <a:pt x="179" y="383"/>
                  </a:lnTo>
                  <a:lnTo>
                    <a:pt x="163" y="392"/>
                  </a:lnTo>
                  <a:lnTo>
                    <a:pt x="163" y="392"/>
                  </a:lnTo>
                  <a:lnTo>
                    <a:pt x="163" y="392"/>
                  </a:lnTo>
                  <a:close/>
                  <a:moveTo>
                    <a:pt x="61" y="366"/>
                  </a:moveTo>
                  <a:lnTo>
                    <a:pt x="54" y="355"/>
                  </a:lnTo>
                  <a:lnTo>
                    <a:pt x="61" y="355"/>
                  </a:lnTo>
                  <a:lnTo>
                    <a:pt x="61" y="366"/>
                  </a:lnTo>
                  <a:lnTo>
                    <a:pt x="61" y="366"/>
                  </a:lnTo>
                  <a:lnTo>
                    <a:pt x="61" y="366"/>
                  </a:lnTo>
                  <a:close/>
                  <a:moveTo>
                    <a:pt x="61" y="392"/>
                  </a:moveTo>
                  <a:lnTo>
                    <a:pt x="54" y="392"/>
                  </a:lnTo>
                  <a:lnTo>
                    <a:pt x="54" y="366"/>
                  </a:lnTo>
                  <a:lnTo>
                    <a:pt x="61" y="371"/>
                  </a:lnTo>
                  <a:lnTo>
                    <a:pt x="61" y="371"/>
                  </a:lnTo>
                  <a:lnTo>
                    <a:pt x="61" y="392"/>
                  </a:lnTo>
                  <a:lnTo>
                    <a:pt x="61" y="392"/>
                  </a:lnTo>
                  <a:lnTo>
                    <a:pt x="61" y="392"/>
                  </a:lnTo>
                  <a:close/>
                  <a:moveTo>
                    <a:pt x="49" y="409"/>
                  </a:moveTo>
                  <a:lnTo>
                    <a:pt x="38" y="409"/>
                  </a:lnTo>
                  <a:lnTo>
                    <a:pt x="49" y="392"/>
                  </a:lnTo>
                  <a:lnTo>
                    <a:pt x="54" y="404"/>
                  </a:lnTo>
                  <a:lnTo>
                    <a:pt x="49" y="409"/>
                  </a:lnTo>
                  <a:lnTo>
                    <a:pt x="49" y="409"/>
                  </a:lnTo>
                  <a:lnTo>
                    <a:pt x="49" y="409"/>
                  </a:lnTo>
                  <a:close/>
                  <a:moveTo>
                    <a:pt x="130" y="409"/>
                  </a:moveTo>
                  <a:lnTo>
                    <a:pt x="116" y="404"/>
                  </a:lnTo>
                  <a:lnTo>
                    <a:pt x="130" y="404"/>
                  </a:lnTo>
                  <a:lnTo>
                    <a:pt x="130" y="409"/>
                  </a:lnTo>
                  <a:lnTo>
                    <a:pt x="130" y="409"/>
                  </a:lnTo>
                  <a:lnTo>
                    <a:pt x="130" y="409"/>
                  </a:lnTo>
                  <a:close/>
                  <a:moveTo>
                    <a:pt x="142" y="421"/>
                  </a:moveTo>
                  <a:lnTo>
                    <a:pt x="142" y="409"/>
                  </a:lnTo>
                  <a:lnTo>
                    <a:pt x="142" y="409"/>
                  </a:lnTo>
                  <a:lnTo>
                    <a:pt x="142" y="421"/>
                  </a:lnTo>
                  <a:lnTo>
                    <a:pt x="142" y="421"/>
                  </a:lnTo>
                  <a:lnTo>
                    <a:pt x="142" y="421"/>
                  </a:lnTo>
                  <a:close/>
                  <a:moveTo>
                    <a:pt x="142" y="442"/>
                  </a:moveTo>
                  <a:lnTo>
                    <a:pt x="179" y="466"/>
                  </a:lnTo>
                  <a:lnTo>
                    <a:pt x="163" y="475"/>
                  </a:lnTo>
                  <a:lnTo>
                    <a:pt x="130" y="482"/>
                  </a:lnTo>
                  <a:lnTo>
                    <a:pt x="125" y="475"/>
                  </a:lnTo>
                  <a:lnTo>
                    <a:pt x="146" y="466"/>
                  </a:lnTo>
                  <a:lnTo>
                    <a:pt x="142" y="466"/>
                  </a:lnTo>
                  <a:lnTo>
                    <a:pt x="146" y="459"/>
                  </a:lnTo>
                  <a:lnTo>
                    <a:pt x="125" y="449"/>
                  </a:lnTo>
                  <a:lnTo>
                    <a:pt x="142" y="442"/>
                  </a:lnTo>
                  <a:lnTo>
                    <a:pt x="142" y="442"/>
                  </a:lnTo>
                  <a:lnTo>
                    <a:pt x="142" y="442"/>
                  </a:lnTo>
                  <a:close/>
                  <a:moveTo>
                    <a:pt x="87" y="459"/>
                  </a:moveTo>
                  <a:lnTo>
                    <a:pt x="78" y="459"/>
                  </a:lnTo>
                  <a:lnTo>
                    <a:pt x="104" y="449"/>
                  </a:lnTo>
                  <a:lnTo>
                    <a:pt x="87" y="459"/>
                  </a:lnTo>
                  <a:lnTo>
                    <a:pt x="87" y="459"/>
                  </a:lnTo>
                  <a:lnTo>
                    <a:pt x="87" y="459"/>
                  </a:lnTo>
                  <a:close/>
                  <a:moveTo>
                    <a:pt x="158" y="532"/>
                  </a:moveTo>
                  <a:lnTo>
                    <a:pt x="146" y="520"/>
                  </a:lnTo>
                  <a:lnTo>
                    <a:pt x="146" y="515"/>
                  </a:lnTo>
                  <a:lnTo>
                    <a:pt x="170" y="492"/>
                  </a:lnTo>
                  <a:lnTo>
                    <a:pt x="158" y="532"/>
                  </a:lnTo>
                  <a:lnTo>
                    <a:pt x="158" y="532"/>
                  </a:lnTo>
                  <a:lnTo>
                    <a:pt x="158" y="532"/>
                  </a:lnTo>
                  <a:close/>
                  <a:moveTo>
                    <a:pt x="142" y="503"/>
                  </a:moveTo>
                  <a:lnTo>
                    <a:pt x="130" y="499"/>
                  </a:lnTo>
                  <a:lnTo>
                    <a:pt x="142" y="492"/>
                  </a:lnTo>
                  <a:lnTo>
                    <a:pt x="142" y="503"/>
                  </a:lnTo>
                  <a:lnTo>
                    <a:pt x="142" y="503"/>
                  </a:lnTo>
                  <a:lnTo>
                    <a:pt x="142" y="503"/>
                  </a:lnTo>
                  <a:close/>
                  <a:moveTo>
                    <a:pt x="130" y="548"/>
                  </a:moveTo>
                  <a:lnTo>
                    <a:pt x="130" y="532"/>
                  </a:lnTo>
                  <a:lnTo>
                    <a:pt x="116" y="536"/>
                  </a:lnTo>
                  <a:lnTo>
                    <a:pt x="116" y="520"/>
                  </a:lnTo>
                  <a:lnTo>
                    <a:pt x="142" y="515"/>
                  </a:lnTo>
                  <a:lnTo>
                    <a:pt x="146" y="536"/>
                  </a:lnTo>
                  <a:lnTo>
                    <a:pt x="130" y="548"/>
                  </a:lnTo>
                  <a:lnTo>
                    <a:pt x="130" y="548"/>
                  </a:lnTo>
                  <a:lnTo>
                    <a:pt x="130" y="548"/>
                  </a:lnTo>
                  <a:close/>
                  <a:moveTo>
                    <a:pt x="217" y="536"/>
                  </a:moveTo>
                  <a:lnTo>
                    <a:pt x="212" y="515"/>
                  </a:lnTo>
                  <a:lnTo>
                    <a:pt x="217" y="520"/>
                  </a:lnTo>
                  <a:lnTo>
                    <a:pt x="217" y="536"/>
                  </a:lnTo>
                  <a:lnTo>
                    <a:pt x="217" y="536"/>
                  </a:lnTo>
                  <a:lnTo>
                    <a:pt x="217" y="536"/>
                  </a:lnTo>
                  <a:close/>
                  <a:moveTo>
                    <a:pt x="212" y="560"/>
                  </a:moveTo>
                  <a:lnTo>
                    <a:pt x="196" y="560"/>
                  </a:lnTo>
                  <a:lnTo>
                    <a:pt x="196" y="536"/>
                  </a:lnTo>
                  <a:lnTo>
                    <a:pt x="212" y="536"/>
                  </a:lnTo>
                  <a:lnTo>
                    <a:pt x="217" y="560"/>
                  </a:lnTo>
                  <a:lnTo>
                    <a:pt x="212" y="560"/>
                  </a:lnTo>
                  <a:lnTo>
                    <a:pt x="212" y="560"/>
                  </a:lnTo>
                  <a:lnTo>
                    <a:pt x="212" y="560"/>
                  </a:lnTo>
                  <a:close/>
                  <a:moveTo>
                    <a:pt x="108" y="702"/>
                  </a:moveTo>
                  <a:lnTo>
                    <a:pt x="78" y="664"/>
                  </a:lnTo>
                  <a:lnTo>
                    <a:pt x="61" y="697"/>
                  </a:lnTo>
                  <a:lnTo>
                    <a:pt x="23" y="685"/>
                  </a:lnTo>
                  <a:lnTo>
                    <a:pt x="0" y="664"/>
                  </a:lnTo>
                  <a:lnTo>
                    <a:pt x="33" y="647"/>
                  </a:lnTo>
                  <a:lnTo>
                    <a:pt x="16" y="643"/>
                  </a:lnTo>
                  <a:lnTo>
                    <a:pt x="38" y="631"/>
                  </a:lnTo>
                  <a:lnTo>
                    <a:pt x="61" y="603"/>
                  </a:lnTo>
                  <a:lnTo>
                    <a:pt x="78" y="603"/>
                  </a:lnTo>
                  <a:lnTo>
                    <a:pt x="87" y="593"/>
                  </a:lnTo>
                  <a:lnTo>
                    <a:pt x="116" y="586"/>
                  </a:lnTo>
                  <a:lnTo>
                    <a:pt x="146" y="586"/>
                  </a:lnTo>
                  <a:lnTo>
                    <a:pt x="146" y="603"/>
                  </a:lnTo>
                  <a:lnTo>
                    <a:pt x="170" y="626"/>
                  </a:lnTo>
                  <a:lnTo>
                    <a:pt x="158" y="647"/>
                  </a:lnTo>
                  <a:lnTo>
                    <a:pt x="179" y="643"/>
                  </a:lnTo>
                  <a:lnTo>
                    <a:pt x="196" y="659"/>
                  </a:lnTo>
                  <a:lnTo>
                    <a:pt x="184" y="669"/>
                  </a:lnTo>
                  <a:lnTo>
                    <a:pt x="179" y="659"/>
                  </a:lnTo>
                  <a:lnTo>
                    <a:pt x="170" y="647"/>
                  </a:lnTo>
                  <a:lnTo>
                    <a:pt x="179" y="681"/>
                  </a:lnTo>
                  <a:lnTo>
                    <a:pt x="163" y="681"/>
                  </a:lnTo>
                  <a:lnTo>
                    <a:pt x="158" y="697"/>
                  </a:lnTo>
                  <a:lnTo>
                    <a:pt x="146" y="702"/>
                  </a:lnTo>
                  <a:lnTo>
                    <a:pt x="130" y="697"/>
                  </a:lnTo>
                  <a:lnTo>
                    <a:pt x="108" y="702"/>
                  </a:lnTo>
                  <a:lnTo>
                    <a:pt x="108" y="702"/>
                  </a:lnTo>
                  <a:lnTo>
                    <a:pt x="108" y="702"/>
                  </a:lnTo>
                  <a:close/>
                  <a:moveTo>
                    <a:pt x="267" y="792"/>
                  </a:moveTo>
                  <a:lnTo>
                    <a:pt x="250" y="775"/>
                  </a:lnTo>
                  <a:lnTo>
                    <a:pt x="250" y="770"/>
                  </a:lnTo>
                  <a:lnTo>
                    <a:pt x="271" y="770"/>
                  </a:lnTo>
                  <a:lnTo>
                    <a:pt x="288" y="775"/>
                  </a:lnTo>
                  <a:lnTo>
                    <a:pt x="267" y="792"/>
                  </a:lnTo>
                  <a:lnTo>
                    <a:pt x="267" y="792"/>
                  </a:lnTo>
                  <a:lnTo>
                    <a:pt x="267" y="792"/>
                  </a:lnTo>
                  <a:close/>
                  <a:moveTo>
                    <a:pt x="635" y="964"/>
                  </a:moveTo>
                  <a:lnTo>
                    <a:pt x="631" y="957"/>
                  </a:lnTo>
                  <a:lnTo>
                    <a:pt x="635" y="957"/>
                  </a:lnTo>
                  <a:lnTo>
                    <a:pt x="635" y="964"/>
                  </a:lnTo>
                  <a:lnTo>
                    <a:pt x="635" y="964"/>
                  </a:lnTo>
                  <a:lnTo>
                    <a:pt x="635" y="964"/>
                  </a:lnTo>
                  <a:close/>
                  <a:moveTo>
                    <a:pt x="484" y="1035"/>
                  </a:moveTo>
                  <a:lnTo>
                    <a:pt x="468" y="1030"/>
                  </a:lnTo>
                  <a:lnTo>
                    <a:pt x="484" y="1018"/>
                  </a:lnTo>
                  <a:lnTo>
                    <a:pt x="494" y="1030"/>
                  </a:lnTo>
                  <a:lnTo>
                    <a:pt x="484" y="1035"/>
                  </a:lnTo>
                  <a:lnTo>
                    <a:pt x="484" y="1035"/>
                  </a:lnTo>
                  <a:lnTo>
                    <a:pt x="484" y="1035"/>
                  </a:lnTo>
                  <a:close/>
                </a:path>
              </a:pathLst>
            </a:custGeom>
            <a:solidFill>
              <a:schemeClr val="bg2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36" name="Freeform 581">
              <a:extLst>
                <a:ext uri="{FF2B5EF4-FFF2-40B4-BE49-F238E27FC236}">
                  <a16:creationId xmlns:a16="http://schemas.microsoft.com/office/drawing/2014/main" id="{BDD794D9-E03E-4DF0-B7C8-FFB64DBB626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399660" y="2102805"/>
              <a:ext cx="193532" cy="114659"/>
            </a:xfrm>
            <a:custGeom>
              <a:avLst/>
              <a:gdLst>
                <a:gd name="T0" fmla="*/ 463 w 1261"/>
                <a:gd name="T1" fmla="*/ 669 h 747"/>
                <a:gd name="T2" fmla="*/ 446 w 1261"/>
                <a:gd name="T3" fmla="*/ 641 h 747"/>
                <a:gd name="T4" fmla="*/ 479 w 1261"/>
                <a:gd name="T5" fmla="*/ 598 h 747"/>
                <a:gd name="T6" fmla="*/ 489 w 1261"/>
                <a:gd name="T7" fmla="*/ 546 h 747"/>
                <a:gd name="T8" fmla="*/ 534 w 1261"/>
                <a:gd name="T9" fmla="*/ 558 h 747"/>
                <a:gd name="T10" fmla="*/ 543 w 1261"/>
                <a:gd name="T11" fmla="*/ 546 h 747"/>
                <a:gd name="T12" fmla="*/ 505 w 1261"/>
                <a:gd name="T13" fmla="*/ 485 h 747"/>
                <a:gd name="T14" fmla="*/ 489 w 1261"/>
                <a:gd name="T15" fmla="*/ 419 h 747"/>
                <a:gd name="T16" fmla="*/ 413 w 1261"/>
                <a:gd name="T17" fmla="*/ 390 h 747"/>
                <a:gd name="T18" fmla="*/ 290 w 1261"/>
                <a:gd name="T19" fmla="*/ 397 h 747"/>
                <a:gd name="T20" fmla="*/ 165 w 1261"/>
                <a:gd name="T21" fmla="*/ 419 h 747"/>
                <a:gd name="T22" fmla="*/ 52 w 1261"/>
                <a:gd name="T23" fmla="*/ 419 h 747"/>
                <a:gd name="T24" fmla="*/ 0 w 1261"/>
                <a:gd name="T25" fmla="*/ 381 h 747"/>
                <a:gd name="T26" fmla="*/ 52 w 1261"/>
                <a:gd name="T27" fmla="*/ 324 h 747"/>
                <a:gd name="T28" fmla="*/ 38 w 1261"/>
                <a:gd name="T29" fmla="*/ 267 h 747"/>
                <a:gd name="T30" fmla="*/ 139 w 1261"/>
                <a:gd name="T31" fmla="*/ 173 h 747"/>
                <a:gd name="T32" fmla="*/ 106 w 1261"/>
                <a:gd name="T33" fmla="*/ 85 h 747"/>
                <a:gd name="T34" fmla="*/ 253 w 1261"/>
                <a:gd name="T35" fmla="*/ 45 h 747"/>
                <a:gd name="T36" fmla="*/ 392 w 1261"/>
                <a:gd name="T37" fmla="*/ 85 h 747"/>
                <a:gd name="T38" fmla="*/ 430 w 1261"/>
                <a:gd name="T39" fmla="*/ 74 h 747"/>
                <a:gd name="T40" fmla="*/ 468 w 1261"/>
                <a:gd name="T41" fmla="*/ 78 h 747"/>
                <a:gd name="T42" fmla="*/ 538 w 1261"/>
                <a:gd name="T43" fmla="*/ 95 h 747"/>
                <a:gd name="T44" fmla="*/ 593 w 1261"/>
                <a:gd name="T45" fmla="*/ 74 h 747"/>
                <a:gd name="T46" fmla="*/ 678 w 1261"/>
                <a:gd name="T47" fmla="*/ 29 h 747"/>
                <a:gd name="T48" fmla="*/ 775 w 1261"/>
                <a:gd name="T49" fmla="*/ 0 h 747"/>
                <a:gd name="T50" fmla="*/ 862 w 1261"/>
                <a:gd name="T51" fmla="*/ 57 h 747"/>
                <a:gd name="T52" fmla="*/ 883 w 1261"/>
                <a:gd name="T53" fmla="*/ 119 h 747"/>
                <a:gd name="T54" fmla="*/ 921 w 1261"/>
                <a:gd name="T55" fmla="*/ 135 h 747"/>
                <a:gd name="T56" fmla="*/ 985 w 1261"/>
                <a:gd name="T57" fmla="*/ 189 h 747"/>
                <a:gd name="T58" fmla="*/ 1093 w 1261"/>
                <a:gd name="T59" fmla="*/ 225 h 747"/>
                <a:gd name="T60" fmla="*/ 1179 w 1261"/>
                <a:gd name="T61" fmla="*/ 246 h 747"/>
                <a:gd name="T62" fmla="*/ 1240 w 1261"/>
                <a:gd name="T63" fmla="*/ 267 h 747"/>
                <a:gd name="T64" fmla="*/ 1245 w 1261"/>
                <a:gd name="T65" fmla="*/ 319 h 747"/>
                <a:gd name="T66" fmla="*/ 1254 w 1261"/>
                <a:gd name="T67" fmla="*/ 341 h 747"/>
                <a:gd name="T68" fmla="*/ 1254 w 1261"/>
                <a:gd name="T69" fmla="*/ 390 h 747"/>
                <a:gd name="T70" fmla="*/ 1164 w 1261"/>
                <a:gd name="T71" fmla="*/ 447 h 747"/>
                <a:gd name="T72" fmla="*/ 1060 w 1261"/>
                <a:gd name="T73" fmla="*/ 520 h 747"/>
                <a:gd name="T74" fmla="*/ 900 w 1261"/>
                <a:gd name="T75" fmla="*/ 586 h 747"/>
                <a:gd name="T76" fmla="*/ 879 w 1261"/>
                <a:gd name="T77" fmla="*/ 579 h 747"/>
                <a:gd name="T78" fmla="*/ 867 w 1261"/>
                <a:gd name="T79" fmla="*/ 579 h 747"/>
                <a:gd name="T80" fmla="*/ 829 w 1261"/>
                <a:gd name="T81" fmla="*/ 579 h 747"/>
                <a:gd name="T82" fmla="*/ 824 w 1261"/>
                <a:gd name="T83" fmla="*/ 598 h 747"/>
                <a:gd name="T84" fmla="*/ 857 w 1261"/>
                <a:gd name="T85" fmla="*/ 598 h 747"/>
                <a:gd name="T86" fmla="*/ 862 w 1261"/>
                <a:gd name="T87" fmla="*/ 619 h 747"/>
                <a:gd name="T88" fmla="*/ 900 w 1261"/>
                <a:gd name="T89" fmla="*/ 652 h 747"/>
                <a:gd name="T90" fmla="*/ 895 w 1261"/>
                <a:gd name="T91" fmla="*/ 598 h 747"/>
                <a:gd name="T92" fmla="*/ 968 w 1261"/>
                <a:gd name="T93" fmla="*/ 659 h 747"/>
                <a:gd name="T94" fmla="*/ 1001 w 1261"/>
                <a:gd name="T95" fmla="*/ 685 h 747"/>
                <a:gd name="T96" fmla="*/ 900 w 1261"/>
                <a:gd name="T97" fmla="*/ 697 h 747"/>
                <a:gd name="T98" fmla="*/ 808 w 1261"/>
                <a:gd name="T99" fmla="*/ 742 h 747"/>
                <a:gd name="T100" fmla="*/ 808 w 1261"/>
                <a:gd name="T101" fmla="*/ 697 h 747"/>
                <a:gd name="T102" fmla="*/ 732 w 1261"/>
                <a:gd name="T103" fmla="*/ 659 h 747"/>
                <a:gd name="T104" fmla="*/ 808 w 1261"/>
                <a:gd name="T105" fmla="*/ 598 h 747"/>
                <a:gd name="T106" fmla="*/ 732 w 1261"/>
                <a:gd name="T107" fmla="*/ 586 h 747"/>
                <a:gd name="T108" fmla="*/ 652 w 1261"/>
                <a:gd name="T109" fmla="*/ 546 h 747"/>
                <a:gd name="T110" fmla="*/ 694 w 1261"/>
                <a:gd name="T111" fmla="*/ 541 h 747"/>
                <a:gd name="T112" fmla="*/ 685 w 1261"/>
                <a:gd name="T113" fmla="*/ 501 h 747"/>
                <a:gd name="T114" fmla="*/ 685 w 1261"/>
                <a:gd name="T115" fmla="*/ 541 h 747"/>
                <a:gd name="T116" fmla="*/ 609 w 1261"/>
                <a:gd name="T117" fmla="*/ 546 h 747"/>
                <a:gd name="T118" fmla="*/ 534 w 1261"/>
                <a:gd name="T119" fmla="*/ 636 h 747"/>
                <a:gd name="T120" fmla="*/ 534 w 1261"/>
                <a:gd name="T121" fmla="*/ 669 h 747"/>
                <a:gd name="T122" fmla="*/ 699 w 1261"/>
                <a:gd name="T123" fmla="*/ 586 h 747"/>
                <a:gd name="T124" fmla="*/ 699 w 1261"/>
                <a:gd name="T125" fmla="*/ 586 h 7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261" h="747">
                  <a:moveTo>
                    <a:pt x="534" y="669"/>
                  </a:moveTo>
                  <a:lnTo>
                    <a:pt x="522" y="659"/>
                  </a:lnTo>
                  <a:lnTo>
                    <a:pt x="505" y="652"/>
                  </a:lnTo>
                  <a:lnTo>
                    <a:pt x="463" y="669"/>
                  </a:lnTo>
                  <a:lnTo>
                    <a:pt x="437" y="659"/>
                  </a:lnTo>
                  <a:lnTo>
                    <a:pt x="425" y="652"/>
                  </a:lnTo>
                  <a:lnTo>
                    <a:pt x="430" y="641"/>
                  </a:lnTo>
                  <a:lnTo>
                    <a:pt x="446" y="641"/>
                  </a:lnTo>
                  <a:lnTo>
                    <a:pt x="446" y="631"/>
                  </a:lnTo>
                  <a:lnTo>
                    <a:pt x="463" y="615"/>
                  </a:lnTo>
                  <a:lnTo>
                    <a:pt x="463" y="603"/>
                  </a:lnTo>
                  <a:lnTo>
                    <a:pt x="479" y="598"/>
                  </a:lnTo>
                  <a:lnTo>
                    <a:pt x="484" y="579"/>
                  </a:lnTo>
                  <a:lnTo>
                    <a:pt x="479" y="574"/>
                  </a:lnTo>
                  <a:lnTo>
                    <a:pt x="484" y="558"/>
                  </a:lnTo>
                  <a:lnTo>
                    <a:pt x="489" y="546"/>
                  </a:lnTo>
                  <a:lnTo>
                    <a:pt x="501" y="563"/>
                  </a:lnTo>
                  <a:lnTo>
                    <a:pt x="517" y="558"/>
                  </a:lnTo>
                  <a:lnTo>
                    <a:pt x="522" y="563"/>
                  </a:lnTo>
                  <a:lnTo>
                    <a:pt x="534" y="558"/>
                  </a:lnTo>
                  <a:lnTo>
                    <a:pt x="543" y="563"/>
                  </a:lnTo>
                  <a:lnTo>
                    <a:pt x="560" y="563"/>
                  </a:lnTo>
                  <a:lnTo>
                    <a:pt x="543" y="546"/>
                  </a:lnTo>
                  <a:lnTo>
                    <a:pt x="543" y="546"/>
                  </a:lnTo>
                  <a:lnTo>
                    <a:pt x="543" y="525"/>
                  </a:lnTo>
                  <a:lnTo>
                    <a:pt x="522" y="520"/>
                  </a:lnTo>
                  <a:lnTo>
                    <a:pt x="522" y="475"/>
                  </a:lnTo>
                  <a:lnTo>
                    <a:pt x="505" y="485"/>
                  </a:lnTo>
                  <a:lnTo>
                    <a:pt x="489" y="468"/>
                  </a:lnTo>
                  <a:lnTo>
                    <a:pt x="489" y="463"/>
                  </a:lnTo>
                  <a:lnTo>
                    <a:pt x="501" y="435"/>
                  </a:lnTo>
                  <a:lnTo>
                    <a:pt x="489" y="419"/>
                  </a:lnTo>
                  <a:lnTo>
                    <a:pt x="484" y="419"/>
                  </a:lnTo>
                  <a:lnTo>
                    <a:pt x="468" y="407"/>
                  </a:lnTo>
                  <a:lnTo>
                    <a:pt x="413" y="397"/>
                  </a:lnTo>
                  <a:lnTo>
                    <a:pt x="413" y="390"/>
                  </a:lnTo>
                  <a:lnTo>
                    <a:pt x="392" y="374"/>
                  </a:lnTo>
                  <a:lnTo>
                    <a:pt x="323" y="381"/>
                  </a:lnTo>
                  <a:lnTo>
                    <a:pt x="316" y="390"/>
                  </a:lnTo>
                  <a:lnTo>
                    <a:pt x="290" y="397"/>
                  </a:lnTo>
                  <a:lnTo>
                    <a:pt x="286" y="419"/>
                  </a:lnTo>
                  <a:lnTo>
                    <a:pt x="219" y="419"/>
                  </a:lnTo>
                  <a:lnTo>
                    <a:pt x="198" y="447"/>
                  </a:lnTo>
                  <a:lnTo>
                    <a:pt x="165" y="419"/>
                  </a:lnTo>
                  <a:lnTo>
                    <a:pt x="144" y="419"/>
                  </a:lnTo>
                  <a:lnTo>
                    <a:pt x="90" y="419"/>
                  </a:lnTo>
                  <a:lnTo>
                    <a:pt x="75" y="407"/>
                  </a:lnTo>
                  <a:lnTo>
                    <a:pt x="52" y="419"/>
                  </a:lnTo>
                  <a:lnTo>
                    <a:pt x="47" y="407"/>
                  </a:lnTo>
                  <a:lnTo>
                    <a:pt x="38" y="407"/>
                  </a:lnTo>
                  <a:lnTo>
                    <a:pt x="5" y="381"/>
                  </a:lnTo>
                  <a:lnTo>
                    <a:pt x="0" y="381"/>
                  </a:lnTo>
                  <a:lnTo>
                    <a:pt x="0" y="362"/>
                  </a:lnTo>
                  <a:lnTo>
                    <a:pt x="14" y="352"/>
                  </a:lnTo>
                  <a:lnTo>
                    <a:pt x="31" y="319"/>
                  </a:lnTo>
                  <a:lnTo>
                    <a:pt x="52" y="324"/>
                  </a:lnTo>
                  <a:lnTo>
                    <a:pt x="52" y="319"/>
                  </a:lnTo>
                  <a:lnTo>
                    <a:pt x="38" y="308"/>
                  </a:lnTo>
                  <a:lnTo>
                    <a:pt x="47" y="296"/>
                  </a:lnTo>
                  <a:lnTo>
                    <a:pt x="38" y="267"/>
                  </a:lnTo>
                  <a:lnTo>
                    <a:pt x="85" y="225"/>
                  </a:lnTo>
                  <a:lnTo>
                    <a:pt x="113" y="189"/>
                  </a:lnTo>
                  <a:lnTo>
                    <a:pt x="127" y="189"/>
                  </a:lnTo>
                  <a:lnTo>
                    <a:pt x="139" y="173"/>
                  </a:lnTo>
                  <a:lnTo>
                    <a:pt x="127" y="152"/>
                  </a:lnTo>
                  <a:lnTo>
                    <a:pt x="139" y="152"/>
                  </a:lnTo>
                  <a:lnTo>
                    <a:pt x="113" y="111"/>
                  </a:lnTo>
                  <a:lnTo>
                    <a:pt x="106" y="85"/>
                  </a:lnTo>
                  <a:lnTo>
                    <a:pt x="106" y="74"/>
                  </a:lnTo>
                  <a:lnTo>
                    <a:pt x="139" y="78"/>
                  </a:lnTo>
                  <a:lnTo>
                    <a:pt x="160" y="45"/>
                  </a:lnTo>
                  <a:lnTo>
                    <a:pt x="253" y="45"/>
                  </a:lnTo>
                  <a:lnTo>
                    <a:pt x="354" y="62"/>
                  </a:lnTo>
                  <a:lnTo>
                    <a:pt x="361" y="78"/>
                  </a:lnTo>
                  <a:lnTo>
                    <a:pt x="392" y="78"/>
                  </a:lnTo>
                  <a:lnTo>
                    <a:pt x="392" y="85"/>
                  </a:lnTo>
                  <a:lnTo>
                    <a:pt x="392" y="85"/>
                  </a:lnTo>
                  <a:lnTo>
                    <a:pt x="399" y="74"/>
                  </a:lnTo>
                  <a:lnTo>
                    <a:pt x="413" y="78"/>
                  </a:lnTo>
                  <a:lnTo>
                    <a:pt x="430" y="74"/>
                  </a:lnTo>
                  <a:lnTo>
                    <a:pt x="430" y="78"/>
                  </a:lnTo>
                  <a:lnTo>
                    <a:pt x="451" y="78"/>
                  </a:lnTo>
                  <a:lnTo>
                    <a:pt x="463" y="95"/>
                  </a:lnTo>
                  <a:lnTo>
                    <a:pt x="468" y="78"/>
                  </a:lnTo>
                  <a:lnTo>
                    <a:pt x="489" y="74"/>
                  </a:lnTo>
                  <a:lnTo>
                    <a:pt x="505" y="95"/>
                  </a:lnTo>
                  <a:lnTo>
                    <a:pt x="534" y="85"/>
                  </a:lnTo>
                  <a:lnTo>
                    <a:pt x="538" y="95"/>
                  </a:lnTo>
                  <a:lnTo>
                    <a:pt x="560" y="85"/>
                  </a:lnTo>
                  <a:lnTo>
                    <a:pt x="593" y="111"/>
                  </a:lnTo>
                  <a:lnTo>
                    <a:pt x="597" y="102"/>
                  </a:lnTo>
                  <a:lnTo>
                    <a:pt x="593" y="74"/>
                  </a:lnTo>
                  <a:lnTo>
                    <a:pt x="597" y="57"/>
                  </a:lnTo>
                  <a:lnTo>
                    <a:pt x="614" y="41"/>
                  </a:lnTo>
                  <a:lnTo>
                    <a:pt x="614" y="29"/>
                  </a:lnTo>
                  <a:lnTo>
                    <a:pt x="678" y="29"/>
                  </a:lnTo>
                  <a:lnTo>
                    <a:pt x="706" y="29"/>
                  </a:lnTo>
                  <a:lnTo>
                    <a:pt x="716" y="8"/>
                  </a:lnTo>
                  <a:lnTo>
                    <a:pt x="753" y="17"/>
                  </a:lnTo>
                  <a:lnTo>
                    <a:pt x="775" y="0"/>
                  </a:lnTo>
                  <a:lnTo>
                    <a:pt x="824" y="0"/>
                  </a:lnTo>
                  <a:lnTo>
                    <a:pt x="841" y="24"/>
                  </a:lnTo>
                  <a:lnTo>
                    <a:pt x="841" y="41"/>
                  </a:lnTo>
                  <a:lnTo>
                    <a:pt x="862" y="57"/>
                  </a:lnTo>
                  <a:lnTo>
                    <a:pt x="862" y="62"/>
                  </a:lnTo>
                  <a:lnTo>
                    <a:pt x="841" y="74"/>
                  </a:lnTo>
                  <a:lnTo>
                    <a:pt x="862" y="111"/>
                  </a:lnTo>
                  <a:lnTo>
                    <a:pt x="883" y="119"/>
                  </a:lnTo>
                  <a:lnTo>
                    <a:pt x="909" y="111"/>
                  </a:lnTo>
                  <a:lnTo>
                    <a:pt x="916" y="128"/>
                  </a:lnTo>
                  <a:lnTo>
                    <a:pt x="933" y="128"/>
                  </a:lnTo>
                  <a:lnTo>
                    <a:pt x="921" y="135"/>
                  </a:lnTo>
                  <a:lnTo>
                    <a:pt x="938" y="168"/>
                  </a:lnTo>
                  <a:lnTo>
                    <a:pt x="933" y="168"/>
                  </a:lnTo>
                  <a:lnTo>
                    <a:pt x="947" y="189"/>
                  </a:lnTo>
                  <a:lnTo>
                    <a:pt x="985" y="189"/>
                  </a:lnTo>
                  <a:lnTo>
                    <a:pt x="992" y="197"/>
                  </a:lnTo>
                  <a:lnTo>
                    <a:pt x="1018" y="206"/>
                  </a:lnTo>
                  <a:lnTo>
                    <a:pt x="1077" y="189"/>
                  </a:lnTo>
                  <a:lnTo>
                    <a:pt x="1093" y="225"/>
                  </a:lnTo>
                  <a:lnTo>
                    <a:pt x="1115" y="241"/>
                  </a:lnTo>
                  <a:lnTo>
                    <a:pt x="1127" y="225"/>
                  </a:lnTo>
                  <a:lnTo>
                    <a:pt x="1131" y="225"/>
                  </a:lnTo>
                  <a:lnTo>
                    <a:pt x="1179" y="246"/>
                  </a:lnTo>
                  <a:lnTo>
                    <a:pt x="1190" y="241"/>
                  </a:lnTo>
                  <a:lnTo>
                    <a:pt x="1202" y="251"/>
                  </a:lnTo>
                  <a:lnTo>
                    <a:pt x="1223" y="251"/>
                  </a:lnTo>
                  <a:lnTo>
                    <a:pt x="1240" y="267"/>
                  </a:lnTo>
                  <a:lnTo>
                    <a:pt x="1261" y="267"/>
                  </a:lnTo>
                  <a:lnTo>
                    <a:pt x="1254" y="279"/>
                  </a:lnTo>
                  <a:lnTo>
                    <a:pt x="1261" y="303"/>
                  </a:lnTo>
                  <a:lnTo>
                    <a:pt x="1245" y="319"/>
                  </a:lnTo>
                  <a:lnTo>
                    <a:pt x="1233" y="324"/>
                  </a:lnTo>
                  <a:lnTo>
                    <a:pt x="1240" y="336"/>
                  </a:lnTo>
                  <a:lnTo>
                    <a:pt x="1254" y="336"/>
                  </a:lnTo>
                  <a:lnTo>
                    <a:pt x="1254" y="341"/>
                  </a:lnTo>
                  <a:lnTo>
                    <a:pt x="1240" y="341"/>
                  </a:lnTo>
                  <a:lnTo>
                    <a:pt x="1233" y="357"/>
                  </a:lnTo>
                  <a:lnTo>
                    <a:pt x="1240" y="362"/>
                  </a:lnTo>
                  <a:lnTo>
                    <a:pt x="1254" y="390"/>
                  </a:lnTo>
                  <a:lnTo>
                    <a:pt x="1240" y="414"/>
                  </a:lnTo>
                  <a:lnTo>
                    <a:pt x="1240" y="430"/>
                  </a:lnTo>
                  <a:lnTo>
                    <a:pt x="1169" y="430"/>
                  </a:lnTo>
                  <a:lnTo>
                    <a:pt x="1164" y="447"/>
                  </a:lnTo>
                  <a:lnTo>
                    <a:pt x="1131" y="452"/>
                  </a:lnTo>
                  <a:lnTo>
                    <a:pt x="1131" y="501"/>
                  </a:lnTo>
                  <a:lnTo>
                    <a:pt x="1077" y="501"/>
                  </a:lnTo>
                  <a:lnTo>
                    <a:pt x="1060" y="520"/>
                  </a:lnTo>
                  <a:lnTo>
                    <a:pt x="1056" y="520"/>
                  </a:lnTo>
                  <a:lnTo>
                    <a:pt x="985" y="541"/>
                  </a:lnTo>
                  <a:lnTo>
                    <a:pt x="964" y="541"/>
                  </a:lnTo>
                  <a:lnTo>
                    <a:pt x="900" y="586"/>
                  </a:lnTo>
                  <a:lnTo>
                    <a:pt x="921" y="574"/>
                  </a:lnTo>
                  <a:lnTo>
                    <a:pt x="916" y="558"/>
                  </a:lnTo>
                  <a:lnTo>
                    <a:pt x="909" y="574"/>
                  </a:lnTo>
                  <a:lnTo>
                    <a:pt x="879" y="579"/>
                  </a:lnTo>
                  <a:lnTo>
                    <a:pt x="867" y="598"/>
                  </a:lnTo>
                  <a:lnTo>
                    <a:pt x="862" y="598"/>
                  </a:lnTo>
                  <a:lnTo>
                    <a:pt x="867" y="586"/>
                  </a:lnTo>
                  <a:lnTo>
                    <a:pt x="867" y="579"/>
                  </a:lnTo>
                  <a:lnTo>
                    <a:pt x="857" y="579"/>
                  </a:lnTo>
                  <a:lnTo>
                    <a:pt x="845" y="574"/>
                  </a:lnTo>
                  <a:lnTo>
                    <a:pt x="841" y="586"/>
                  </a:lnTo>
                  <a:lnTo>
                    <a:pt x="829" y="579"/>
                  </a:lnTo>
                  <a:lnTo>
                    <a:pt x="808" y="579"/>
                  </a:lnTo>
                  <a:lnTo>
                    <a:pt x="812" y="586"/>
                  </a:lnTo>
                  <a:lnTo>
                    <a:pt x="824" y="579"/>
                  </a:lnTo>
                  <a:lnTo>
                    <a:pt x="824" y="598"/>
                  </a:lnTo>
                  <a:lnTo>
                    <a:pt x="829" y="586"/>
                  </a:lnTo>
                  <a:lnTo>
                    <a:pt x="841" y="603"/>
                  </a:lnTo>
                  <a:lnTo>
                    <a:pt x="845" y="598"/>
                  </a:lnTo>
                  <a:lnTo>
                    <a:pt x="857" y="598"/>
                  </a:lnTo>
                  <a:lnTo>
                    <a:pt x="862" y="603"/>
                  </a:lnTo>
                  <a:lnTo>
                    <a:pt x="857" y="615"/>
                  </a:lnTo>
                  <a:lnTo>
                    <a:pt x="879" y="603"/>
                  </a:lnTo>
                  <a:lnTo>
                    <a:pt x="862" y="619"/>
                  </a:lnTo>
                  <a:lnTo>
                    <a:pt x="879" y="619"/>
                  </a:lnTo>
                  <a:lnTo>
                    <a:pt x="900" y="631"/>
                  </a:lnTo>
                  <a:lnTo>
                    <a:pt x="909" y="641"/>
                  </a:lnTo>
                  <a:lnTo>
                    <a:pt x="900" y="652"/>
                  </a:lnTo>
                  <a:lnTo>
                    <a:pt x="909" y="659"/>
                  </a:lnTo>
                  <a:lnTo>
                    <a:pt x="921" y="659"/>
                  </a:lnTo>
                  <a:lnTo>
                    <a:pt x="879" y="586"/>
                  </a:lnTo>
                  <a:lnTo>
                    <a:pt x="895" y="598"/>
                  </a:lnTo>
                  <a:lnTo>
                    <a:pt x="909" y="631"/>
                  </a:lnTo>
                  <a:lnTo>
                    <a:pt x="938" y="659"/>
                  </a:lnTo>
                  <a:lnTo>
                    <a:pt x="964" y="652"/>
                  </a:lnTo>
                  <a:lnTo>
                    <a:pt x="968" y="659"/>
                  </a:lnTo>
                  <a:lnTo>
                    <a:pt x="985" y="641"/>
                  </a:lnTo>
                  <a:lnTo>
                    <a:pt x="1018" y="652"/>
                  </a:lnTo>
                  <a:lnTo>
                    <a:pt x="1001" y="659"/>
                  </a:lnTo>
                  <a:lnTo>
                    <a:pt x="1001" y="685"/>
                  </a:lnTo>
                  <a:lnTo>
                    <a:pt x="964" y="693"/>
                  </a:lnTo>
                  <a:lnTo>
                    <a:pt x="938" y="676"/>
                  </a:lnTo>
                  <a:lnTo>
                    <a:pt x="909" y="709"/>
                  </a:lnTo>
                  <a:lnTo>
                    <a:pt x="900" y="697"/>
                  </a:lnTo>
                  <a:lnTo>
                    <a:pt x="867" y="709"/>
                  </a:lnTo>
                  <a:lnTo>
                    <a:pt x="857" y="730"/>
                  </a:lnTo>
                  <a:lnTo>
                    <a:pt x="829" y="747"/>
                  </a:lnTo>
                  <a:lnTo>
                    <a:pt x="808" y="742"/>
                  </a:lnTo>
                  <a:lnTo>
                    <a:pt x="786" y="726"/>
                  </a:lnTo>
                  <a:lnTo>
                    <a:pt x="803" y="726"/>
                  </a:lnTo>
                  <a:lnTo>
                    <a:pt x="803" y="709"/>
                  </a:lnTo>
                  <a:lnTo>
                    <a:pt x="808" y="697"/>
                  </a:lnTo>
                  <a:lnTo>
                    <a:pt x="803" y="676"/>
                  </a:lnTo>
                  <a:lnTo>
                    <a:pt x="775" y="676"/>
                  </a:lnTo>
                  <a:lnTo>
                    <a:pt x="753" y="659"/>
                  </a:lnTo>
                  <a:lnTo>
                    <a:pt x="732" y="659"/>
                  </a:lnTo>
                  <a:lnTo>
                    <a:pt x="720" y="652"/>
                  </a:lnTo>
                  <a:lnTo>
                    <a:pt x="753" y="631"/>
                  </a:lnTo>
                  <a:lnTo>
                    <a:pt x="812" y="603"/>
                  </a:lnTo>
                  <a:lnTo>
                    <a:pt x="808" y="598"/>
                  </a:lnTo>
                  <a:lnTo>
                    <a:pt x="808" y="586"/>
                  </a:lnTo>
                  <a:lnTo>
                    <a:pt x="791" y="598"/>
                  </a:lnTo>
                  <a:lnTo>
                    <a:pt x="775" y="579"/>
                  </a:lnTo>
                  <a:lnTo>
                    <a:pt x="732" y="586"/>
                  </a:lnTo>
                  <a:lnTo>
                    <a:pt x="678" y="574"/>
                  </a:lnTo>
                  <a:lnTo>
                    <a:pt x="694" y="563"/>
                  </a:lnTo>
                  <a:lnTo>
                    <a:pt x="668" y="558"/>
                  </a:lnTo>
                  <a:lnTo>
                    <a:pt x="652" y="546"/>
                  </a:lnTo>
                  <a:lnTo>
                    <a:pt x="716" y="558"/>
                  </a:lnTo>
                  <a:lnTo>
                    <a:pt x="737" y="541"/>
                  </a:lnTo>
                  <a:lnTo>
                    <a:pt x="716" y="546"/>
                  </a:lnTo>
                  <a:lnTo>
                    <a:pt x="694" y="541"/>
                  </a:lnTo>
                  <a:lnTo>
                    <a:pt x="685" y="530"/>
                  </a:lnTo>
                  <a:lnTo>
                    <a:pt x="694" y="508"/>
                  </a:lnTo>
                  <a:lnTo>
                    <a:pt x="678" y="485"/>
                  </a:lnTo>
                  <a:lnTo>
                    <a:pt x="685" y="501"/>
                  </a:lnTo>
                  <a:lnTo>
                    <a:pt x="685" y="508"/>
                  </a:lnTo>
                  <a:lnTo>
                    <a:pt x="694" y="520"/>
                  </a:lnTo>
                  <a:lnTo>
                    <a:pt x="685" y="525"/>
                  </a:lnTo>
                  <a:lnTo>
                    <a:pt x="685" y="541"/>
                  </a:lnTo>
                  <a:lnTo>
                    <a:pt x="652" y="541"/>
                  </a:lnTo>
                  <a:lnTo>
                    <a:pt x="661" y="525"/>
                  </a:lnTo>
                  <a:lnTo>
                    <a:pt x="652" y="541"/>
                  </a:lnTo>
                  <a:lnTo>
                    <a:pt x="609" y="546"/>
                  </a:lnTo>
                  <a:lnTo>
                    <a:pt x="609" y="563"/>
                  </a:lnTo>
                  <a:lnTo>
                    <a:pt x="571" y="615"/>
                  </a:lnTo>
                  <a:lnTo>
                    <a:pt x="543" y="615"/>
                  </a:lnTo>
                  <a:lnTo>
                    <a:pt x="534" y="636"/>
                  </a:lnTo>
                  <a:lnTo>
                    <a:pt x="522" y="615"/>
                  </a:lnTo>
                  <a:lnTo>
                    <a:pt x="522" y="636"/>
                  </a:lnTo>
                  <a:lnTo>
                    <a:pt x="538" y="652"/>
                  </a:lnTo>
                  <a:lnTo>
                    <a:pt x="534" y="669"/>
                  </a:lnTo>
                  <a:lnTo>
                    <a:pt x="534" y="669"/>
                  </a:lnTo>
                  <a:lnTo>
                    <a:pt x="534" y="669"/>
                  </a:lnTo>
                  <a:lnTo>
                    <a:pt x="534" y="669"/>
                  </a:lnTo>
                  <a:close/>
                  <a:moveTo>
                    <a:pt x="699" y="586"/>
                  </a:moveTo>
                  <a:lnTo>
                    <a:pt x="661" y="574"/>
                  </a:lnTo>
                  <a:lnTo>
                    <a:pt x="652" y="563"/>
                  </a:lnTo>
                  <a:lnTo>
                    <a:pt x="661" y="574"/>
                  </a:lnTo>
                  <a:lnTo>
                    <a:pt x="699" y="586"/>
                  </a:lnTo>
                  <a:lnTo>
                    <a:pt x="699" y="586"/>
                  </a:lnTo>
                  <a:lnTo>
                    <a:pt x="699" y="586"/>
                  </a:lnTo>
                  <a:close/>
                </a:path>
              </a:pathLst>
            </a:custGeom>
            <a:solidFill>
              <a:schemeClr val="bg2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37" name="Freeform 582">
              <a:extLst>
                <a:ext uri="{FF2B5EF4-FFF2-40B4-BE49-F238E27FC236}">
                  <a16:creationId xmlns:a16="http://schemas.microsoft.com/office/drawing/2014/main" id="{47A76051-6ECF-4CEC-8B5C-F31C070F42D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234590" y="1777709"/>
              <a:ext cx="3862043" cy="753339"/>
            </a:xfrm>
            <a:custGeom>
              <a:avLst/>
              <a:gdLst>
                <a:gd name="T0" fmla="*/ 3387 w 25164"/>
                <a:gd name="T1" fmla="*/ 1889 h 4908"/>
                <a:gd name="T2" fmla="*/ 3186 w 25164"/>
                <a:gd name="T3" fmla="*/ 1606 h 4908"/>
                <a:gd name="T4" fmla="*/ 2948 w 25164"/>
                <a:gd name="T5" fmla="*/ 1462 h 4908"/>
                <a:gd name="T6" fmla="*/ 2615 w 25164"/>
                <a:gd name="T7" fmla="*/ 1351 h 4908"/>
                <a:gd name="T8" fmla="*/ 2154 w 25164"/>
                <a:gd name="T9" fmla="*/ 1263 h 4908"/>
                <a:gd name="T10" fmla="*/ 1939 w 25164"/>
                <a:gd name="T11" fmla="*/ 1301 h 4908"/>
                <a:gd name="T12" fmla="*/ 1734 w 25164"/>
                <a:gd name="T13" fmla="*/ 1445 h 4908"/>
                <a:gd name="T14" fmla="*/ 1427 w 25164"/>
                <a:gd name="T15" fmla="*/ 1755 h 4908"/>
                <a:gd name="T16" fmla="*/ 1103 w 25164"/>
                <a:gd name="T17" fmla="*/ 1866 h 4908"/>
                <a:gd name="T18" fmla="*/ 1420 w 25164"/>
                <a:gd name="T19" fmla="*/ 1462 h 4908"/>
                <a:gd name="T20" fmla="*/ 978 w 25164"/>
                <a:gd name="T21" fmla="*/ 1289 h 4908"/>
                <a:gd name="T22" fmla="*/ 935 w 25164"/>
                <a:gd name="T23" fmla="*/ 1145 h 4908"/>
                <a:gd name="T24" fmla="*/ 1117 w 25164"/>
                <a:gd name="T25" fmla="*/ 848 h 4908"/>
                <a:gd name="T26" fmla="*/ 1205 w 25164"/>
                <a:gd name="T27" fmla="*/ 670 h 4908"/>
                <a:gd name="T28" fmla="*/ 1103 w 25164"/>
                <a:gd name="T29" fmla="*/ 243 h 4908"/>
                <a:gd name="T30" fmla="*/ 1696 w 25164"/>
                <a:gd name="T31" fmla="*/ 26 h 4908"/>
                <a:gd name="T32" fmla="*/ 520 w 25164"/>
                <a:gd name="T33" fmla="*/ 980 h 4908"/>
                <a:gd name="T34" fmla="*/ 2183 w 25164"/>
                <a:gd name="T35" fmla="*/ 1263 h 4908"/>
                <a:gd name="T36" fmla="*/ 2268 w 25164"/>
                <a:gd name="T37" fmla="*/ 1296 h 4908"/>
                <a:gd name="T38" fmla="*/ 2154 w 25164"/>
                <a:gd name="T39" fmla="*/ 1346 h 4908"/>
                <a:gd name="T40" fmla="*/ 1868 w 25164"/>
                <a:gd name="T41" fmla="*/ 1533 h 4908"/>
                <a:gd name="T42" fmla="*/ 3061 w 25164"/>
                <a:gd name="T43" fmla="*/ 1589 h 4908"/>
                <a:gd name="T44" fmla="*/ 2993 w 25164"/>
                <a:gd name="T45" fmla="*/ 1556 h 4908"/>
                <a:gd name="T46" fmla="*/ 1724 w 25164"/>
                <a:gd name="T47" fmla="*/ 1651 h 4908"/>
                <a:gd name="T48" fmla="*/ 3085 w 25164"/>
                <a:gd name="T49" fmla="*/ 1622 h 4908"/>
                <a:gd name="T50" fmla="*/ 3182 w 25164"/>
                <a:gd name="T51" fmla="*/ 1677 h 4908"/>
                <a:gd name="T52" fmla="*/ 3241 w 25164"/>
                <a:gd name="T53" fmla="*/ 1684 h 4908"/>
                <a:gd name="T54" fmla="*/ 3262 w 25164"/>
                <a:gd name="T55" fmla="*/ 1722 h 4908"/>
                <a:gd name="T56" fmla="*/ 3203 w 25164"/>
                <a:gd name="T57" fmla="*/ 1804 h 4908"/>
                <a:gd name="T58" fmla="*/ 3342 w 25164"/>
                <a:gd name="T59" fmla="*/ 1833 h 4908"/>
                <a:gd name="T60" fmla="*/ 3203 w 25164"/>
                <a:gd name="T61" fmla="*/ 1811 h 4908"/>
                <a:gd name="T62" fmla="*/ 1301 w 25164"/>
                <a:gd name="T63" fmla="*/ 1828 h 4908"/>
                <a:gd name="T64" fmla="*/ 3246 w 25164"/>
                <a:gd name="T65" fmla="*/ 1861 h 4908"/>
                <a:gd name="T66" fmla="*/ 3349 w 25164"/>
                <a:gd name="T67" fmla="*/ 1866 h 4908"/>
                <a:gd name="T68" fmla="*/ 957 w 25164"/>
                <a:gd name="T69" fmla="*/ 1960 h 4908"/>
                <a:gd name="T70" fmla="*/ 789 w 25164"/>
                <a:gd name="T71" fmla="*/ 2017 h 4908"/>
                <a:gd name="T72" fmla="*/ 324 w 25164"/>
                <a:gd name="T73" fmla="*/ 2149 h 4908"/>
                <a:gd name="T74" fmla="*/ 201 w 25164"/>
                <a:gd name="T75" fmla="*/ 2161 h 4908"/>
                <a:gd name="T76" fmla="*/ 75 w 25164"/>
                <a:gd name="T77" fmla="*/ 2199 h 4908"/>
                <a:gd name="T78" fmla="*/ 5882 w 25164"/>
                <a:gd name="T79" fmla="*/ 2404 h 4908"/>
                <a:gd name="T80" fmla="*/ 7004 w 25164"/>
                <a:gd name="T81" fmla="*/ 2974 h 4908"/>
                <a:gd name="T82" fmla="*/ 7743 w 25164"/>
                <a:gd name="T83" fmla="*/ 2863 h 4908"/>
                <a:gd name="T84" fmla="*/ 7561 w 25164"/>
                <a:gd name="T85" fmla="*/ 3118 h 4908"/>
                <a:gd name="T86" fmla="*/ 7231 w 25164"/>
                <a:gd name="T87" fmla="*/ 3413 h 4908"/>
                <a:gd name="T88" fmla="*/ 7150 w 25164"/>
                <a:gd name="T89" fmla="*/ 3373 h 4908"/>
                <a:gd name="T90" fmla="*/ 7200 w 25164"/>
                <a:gd name="T91" fmla="*/ 3562 h 4908"/>
                <a:gd name="T92" fmla="*/ 7086 w 25164"/>
                <a:gd name="T93" fmla="*/ 3727 h 4908"/>
                <a:gd name="T94" fmla="*/ 6890 w 25164"/>
                <a:gd name="T95" fmla="*/ 4155 h 4908"/>
                <a:gd name="T96" fmla="*/ 6638 w 25164"/>
                <a:gd name="T97" fmla="*/ 4065 h 4908"/>
                <a:gd name="T98" fmla="*/ 6281 w 25164"/>
                <a:gd name="T99" fmla="*/ 4077 h 4908"/>
                <a:gd name="T100" fmla="*/ 5908 w 25164"/>
                <a:gd name="T101" fmla="*/ 4077 h 4908"/>
                <a:gd name="T102" fmla="*/ 5530 w 25164"/>
                <a:gd name="T103" fmla="*/ 4204 h 4908"/>
                <a:gd name="T104" fmla="*/ 4013 w 25164"/>
                <a:gd name="T105" fmla="*/ 3496 h 4908"/>
                <a:gd name="T106" fmla="*/ 3841 w 25164"/>
                <a:gd name="T107" fmla="*/ 2940 h 4908"/>
                <a:gd name="T108" fmla="*/ 3947 w 25164"/>
                <a:gd name="T109" fmla="*/ 2581 h 4908"/>
                <a:gd name="T110" fmla="*/ 3938 w 25164"/>
                <a:gd name="T111" fmla="*/ 2492 h 4908"/>
                <a:gd name="T112" fmla="*/ 7738 w 25164"/>
                <a:gd name="T113" fmla="*/ 2870 h 4908"/>
                <a:gd name="T114" fmla="*/ 7344 w 25164"/>
                <a:gd name="T115" fmla="*/ 3196 h 4908"/>
                <a:gd name="T116" fmla="*/ 4245 w 25164"/>
                <a:gd name="T117" fmla="*/ 3784 h 4908"/>
                <a:gd name="T118" fmla="*/ 5903 w 25164"/>
                <a:gd name="T119" fmla="*/ 4117 h 4908"/>
                <a:gd name="T120" fmla="*/ 1356 w 25164"/>
                <a:gd name="T121" fmla="*/ 4653 h 4908"/>
                <a:gd name="T122" fmla="*/ 1549 w 25164"/>
                <a:gd name="T123" fmla="*/ 4764 h 49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5164" h="4908">
                  <a:moveTo>
                    <a:pt x="2662" y="222"/>
                  </a:moveTo>
                  <a:lnTo>
                    <a:pt x="2662" y="1313"/>
                  </a:lnTo>
                  <a:lnTo>
                    <a:pt x="2700" y="1318"/>
                  </a:lnTo>
                  <a:lnTo>
                    <a:pt x="2700" y="1313"/>
                  </a:lnTo>
                  <a:lnTo>
                    <a:pt x="2733" y="1329"/>
                  </a:lnTo>
                  <a:lnTo>
                    <a:pt x="2754" y="1313"/>
                  </a:lnTo>
                  <a:lnTo>
                    <a:pt x="2804" y="1301"/>
                  </a:lnTo>
                  <a:lnTo>
                    <a:pt x="2792" y="1334"/>
                  </a:lnTo>
                  <a:lnTo>
                    <a:pt x="2825" y="1351"/>
                  </a:lnTo>
                  <a:lnTo>
                    <a:pt x="2830" y="1367"/>
                  </a:lnTo>
                  <a:lnTo>
                    <a:pt x="2901" y="1424"/>
                  </a:lnTo>
                  <a:lnTo>
                    <a:pt x="2910" y="1462"/>
                  </a:lnTo>
                  <a:lnTo>
                    <a:pt x="2955" y="1429"/>
                  </a:lnTo>
                  <a:lnTo>
                    <a:pt x="2972" y="1429"/>
                  </a:lnTo>
                  <a:lnTo>
                    <a:pt x="2976" y="1424"/>
                  </a:lnTo>
                  <a:lnTo>
                    <a:pt x="2976" y="1400"/>
                  </a:lnTo>
                  <a:lnTo>
                    <a:pt x="2993" y="1400"/>
                  </a:lnTo>
                  <a:lnTo>
                    <a:pt x="2986" y="1389"/>
                  </a:lnTo>
                  <a:lnTo>
                    <a:pt x="3047" y="1367"/>
                  </a:lnTo>
                  <a:lnTo>
                    <a:pt x="3085" y="1389"/>
                  </a:lnTo>
                  <a:lnTo>
                    <a:pt x="3078" y="1407"/>
                  </a:lnTo>
                  <a:lnTo>
                    <a:pt x="3085" y="1424"/>
                  </a:lnTo>
                  <a:lnTo>
                    <a:pt x="3127" y="1441"/>
                  </a:lnTo>
                  <a:lnTo>
                    <a:pt x="3137" y="1474"/>
                  </a:lnTo>
                  <a:lnTo>
                    <a:pt x="3165" y="1478"/>
                  </a:lnTo>
                  <a:lnTo>
                    <a:pt x="3191" y="1511"/>
                  </a:lnTo>
                  <a:lnTo>
                    <a:pt x="3203" y="1528"/>
                  </a:lnTo>
                  <a:lnTo>
                    <a:pt x="3279" y="1639"/>
                  </a:lnTo>
                  <a:lnTo>
                    <a:pt x="3274" y="1651"/>
                  </a:lnTo>
                  <a:lnTo>
                    <a:pt x="3295" y="1660"/>
                  </a:lnTo>
                  <a:lnTo>
                    <a:pt x="3288" y="1677"/>
                  </a:lnTo>
                  <a:lnTo>
                    <a:pt x="3300" y="1684"/>
                  </a:lnTo>
                  <a:lnTo>
                    <a:pt x="3312" y="1700"/>
                  </a:lnTo>
                  <a:lnTo>
                    <a:pt x="3326" y="1700"/>
                  </a:lnTo>
                  <a:lnTo>
                    <a:pt x="3380" y="1722"/>
                  </a:lnTo>
                  <a:lnTo>
                    <a:pt x="3409" y="1750"/>
                  </a:lnTo>
                  <a:lnTo>
                    <a:pt x="3425" y="1750"/>
                  </a:lnTo>
                  <a:lnTo>
                    <a:pt x="3434" y="1771"/>
                  </a:lnTo>
                  <a:lnTo>
                    <a:pt x="3425" y="1788"/>
                  </a:lnTo>
                  <a:lnTo>
                    <a:pt x="3434" y="1833"/>
                  </a:lnTo>
                  <a:lnTo>
                    <a:pt x="3409" y="1873"/>
                  </a:lnTo>
                  <a:lnTo>
                    <a:pt x="3387" y="1889"/>
                  </a:lnTo>
                  <a:lnTo>
                    <a:pt x="3380" y="1866"/>
                  </a:lnTo>
                  <a:lnTo>
                    <a:pt x="3380" y="1882"/>
                  </a:lnTo>
                  <a:lnTo>
                    <a:pt x="3371" y="1889"/>
                  </a:lnTo>
                  <a:lnTo>
                    <a:pt x="3364" y="1866"/>
                  </a:lnTo>
                  <a:lnTo>
                    <a:pt x="3387" y="1849"/>
                  </a:lnTo>
                  <a:lnTo>
                    <a:pt x="3401" y="1833"/>
                  </a:lnTo>
                  <a:lnTo>
                    <a:pt x="3387" y="1849"/>
                  </a:lnTo>
                  <a:lnTo>
                    <a:pt x="3364" y="1849"/>
                  </a:lnTo>
                  <a:lnTo>
                    <a:pt x="3371" y="1833"/>
                  </a:lnTo>
                  <a:lnTo>
                    <a:pt x="3397" y="1833"/>
                  </a:lnTo>
                  <a:lnTo>
                    <a:pt x="3371" y="1833"/>
                  </a:lnTo>
                  <a:lnTo>
                    <a:pt x="3371" y="1795"/>
                  </a:lnTo>
                  <a:lnTo>
                    <a:pt x="3354" y="1771"/>
                  </a:lnTo>
                  <a:lnTo>
                    <a:pt x="3364" y="1755"/>
                  </a:lnTo>
                  <a:lnTo>
                    <a:pt x="3300" y="1778"/>
                  </a:lnTo>
                  <a:lnTo>
                    <a:pt x="3312" y="1778"/>
                  </a:lnTo>
                  <a:lnTo>
                    <a:pt x="3295" y="1811"/>
                  </a:lnTo>
                  <a:lnTo>
                    <a:pt x="3288" y="1804"/>
                  </a:lnTo>
                  <a:lnTo>
                    <a:pt x="3279" y="1788"/>
                  </a:lnTo>
                  <a:lnTo>
                    <a:pt x="3295" y="1762"/>
                  </a:lnTo>
                  <a:lnTo>
                    <a:pt x="3295" y="1750"/>
                  </a:lnTo>
                  <a:lnTo>
                    <a:pt x="3312" y="1738"/>
                  </a:lnTo>
                  <a:lnTo>
                    <a:pt x="3274" y="1705"/>
                  </a:lnTo>
                  <a:lnTo>
                    <a:pt x="3274" y="1700"/>
                  </a:lnTo>
                  <a:lnTo>
                    <a:pt x="3257" y="1700"/>
                  </a:lnTo>
                  <a:lnTo>
                    <a:pt x="3274" y="1677"/>
                  </a:lnTo>
                  <a:lnTo>
                    <a:pt x="3257" y="1684"/>
                  </a:lnTo>
                  <a:lnTo>
                    <a:pt x="3241" y="1677"/>
                  </a:lnTo>
                  <a:lnTo>
                    <a:pt x="3236" y="1667"/>
                  </a:lnTo>
                  <a:lnTo>
                    <a:pt x="3241" y="1660"/>
                  </a:lnTo>
                  <a:lnTo>
                    <a:pt x="3241" y="1651"/>
                  </a:lnTo>
                  <a:lnTo>
                    <a:pt x="3236" y="1660"/>
                  </a:lnTo>
                  <a:lnTo>
                    <a:pt x="3220" y="1651"/>
                  </a:lnTo>
                  <a:lnTo>
                    <a:pt x="3208" y="1644"/>
                  </a:lnTo>
                  <a:lnTo>
                    <a:pt x="3203" y="1651"/>
                  </a:lnTo>
                  <a:lnTo>
                    <a:pt x="3186" y="1644"/>
                  </a:lnTo>
                  <a:lnTo>
                    <a:pt x="3191" y="1627"/>
                  </a:lnTo>
                  <a:lnTo>
                    <a:pt x="3220" y="1622"/>
                  </a:lnTo>
                  <a:lnTo>
                    <a:pt x="3191" y="1627"/>
                  </a:lnTo>
                  <a:lnTo>
                    <a:pt x="3186" y="1611"/>
                  </a:lnTo>
                  <a:lnTo>
                    <a:pt x="3203" y="1594"/>
                  </a:lnTo>
                  <a:lnTo>
                    <a:pt x="3186" y="1606"/>
                  </a:lnTo>
                  <a:lnTo>
                    <a:pt x="3182" y="1589"/>
                  </a:lnTo>
                  <a:lnTo>
                    <a:pt x="3224" y="1606"/>
                  </a:lnTo>
                  <a:lnTo>
                    <a:pt x="3186" y="1585"/>
                  </a:lnTo>
                  <a:lnTo>
                    <a:pt x="3186" y="1568"/>
                  </a:lnTo>
                  <a:lnTo>
                    <a:pt x="3220" y="1573"/>
                  </a:lnTo>
                  <a:lnTo>
                    <a:pt x="3186" y="1568"/>
                  </a:lnTo>
                  <a:lnTo>
                    <a:pt x="3182" y="1585"/>
                  </a:lnTo>
                  <a:lnTo>
                    <a:pt x="3170" y="1556"/>
                  </a:lnTo>
                  <a:lnTo>
                    <a:pt x="3182" y="1540"/>
                  </a:lnTo>
                  <a:lnTo>
                    <a:pt x="3165" y="1556"/>
                  </a:lnTo>
                  <a:lnTo>
                    <a:pt x="3149" y="1552"/>
                  </a:lnTo>
                  <a:lnTo>
                    <a:pt x="3153" y="1516"/>
                  </a:lnTo>
                  <a:lnTo>
                    <a:pt x="3170" y="1500"/>
                  </a:lnTo>
                  <a:lnTo>
                    <a:pt x="3153" y="1500"/>
                  </a:lnTo>
                  <a:lnTo>
                    <a:pt x="3137" y="1533"/>
                  </a:lnTo>
                  <a:lnTo>
                    <a:pt x="3099" y="1516"/>
                  </a:lnTo>
                  <a:lnTo>
                    <a:pt x="3085" y="1483"/>
                  </a:lnTo>
                  <a:lnTo>
                    <a:pt x="3085" y="1474"/>
                  </a:lnTo>
                  <a:lnTo>
                    <a:pt x="3078" y="1478"/>
                  </a:lnTo>
                  <a:lnTo>
                    <a:pt x="3073" y="1474"/>
                  </a:lnTo>
                  <a:lnTo>
                    <a:pt x="3057" y="1424"/>
                  </a:lnTo>
                  <a:lnTo>
                    <a:pt x="3061" y="1400"/>
                  </a:lnTo>
                  <a:lnTo>
                    <a:pt x="3057" y="1424"/>
                  </a:lnTo>
                  <a:lnTo>
                    <a:pt x="3061" y="1445"/>
                  </a:lnTo>
                  <a:lnTo>
                    <a:pt x="3047" y="1429"/>
                  </a:lnTo>
                  <a:lnTo>
                    <a:pt x="3073" y="1483"/>
                  </a:lnTo>
                  <a:lnTo>
                    <a:pt x="3078" y="1516"/>
                  </a:lnTo>
                  <a:lnTo>
                    <a:pt x="3078" y="1533"/>
                  </a:lnTo>
                  <a:lnTo>
                    <a:pt x="3061" y="1533"/>
                  </a:lnTo>
                  <a:lnTo>
                    <a:pt x="3047" y="1511"/>
                  </a:lnTo>
                  <a:lnTo>
                    <a:pt x="3019" y="1516"/>
                  </a:lnTo>
                  <a:lnTo>
                    <a:pt x="3023" y="1500"/>
                  </a:lnTo>
                  <a:lnTo>
                    <a:pt x="3009" y="1474"/>
                  </a:lnTo>
                  <a:lnTo>
                    <a:pt x="3031" y="1462"/>
                  </a:lnTo>
                  <a:lnTo>
                    <a:pt x="3009" y="1462"/>
                  </a:lnTo>
                  <a:lnTo>
                    <a:pt x="3002" y="1445"/>
                  </a:lnTo>
                  <a:lnTo>
                    <a:pt x="3009" y="1474"/>
                  </a:lnTo>
                  <a:lnTo>
                    <a:pt x="2993" y="1478"/>
                  </a:lnTo>
                  <a:lnTo>
                    <a:pt x="2972" y="1457"/>
                  </a:lnTo>
                  <a:lnTo>
                    <a:pt x="2964" y="1462"/>
                  </a:lnTo>
                  <a:lnTo>
                    <a:pt x="2938" y="1445"/>
                  </a:lnTo>
                  <a:lnTo>
                    <a:pt x="2948" y="1462"/>
                  </a:lnTo>
                  <a:lnTo>
                    <a:pt x="2934" y="1474"/>
                  </a:lnTo>
                  <a:lnTo>
                    <a:pt x="2948" y="1462"/>
                  </a:lnTo>
                  <a:lnTo>
                    <a:pt x="2972" y="1474"/>
                  </a:lnTo>
                  <a:lnTo>
                    <a:pt x="2976" y="1474"/>
                  </a:lnTo>
                  <a:lnTo>
                    <a:pt x="2972" y="1474"/>
                  </a:lnTo>
                  <a:lnTo>
                    <a:pt x="2993" y="1483"/>
                  </a:lnTo>
                  <a:lnTo>
                    <a:pt x="2976" y="1495"/>
                  </a:lnTo>
                  <a:lnTo>
                    <a:pt x="2993" y="1483"/>
                  </a:lnTo>
                  <a:lnTo>
                    <a:pt x="3009" y="1516"/>
                  </a:lnTo>
                  <a:lnTo>
                    <a:pt x="2993" y="1528"/>
                  </a:lnTo>
                  <a:lnTo>
                    <a:pt x="2976" y="1511"/>
                  </a:lnTo>
                  <a:lnTo>
                    <a:pt x="2976" y="1516"/>
                  </a:lnTo>
                  <a:lnTo>
                    <a:pt x="2986" y="1528"/>
                  </a:lnTo>
                  <a:lnTo>
                    <a:pt x="2972" y="1516"/>
                  </a:lnTo>
                  <a:lnTo>
                    <a:pt x="2976" y="1528"/>
                  </a:lnTo>
                  <a:lnTo>
                    <a:pt x="2972" y="1533"/>
                  </a:lnTo>
                  <a:lnTo>
                    <a:pt x="2955" y="1516"/>
                  </a:lnTo>
                  <a:lnTo>
                    <a:pt x="2901" y="1495"/>
                  </a:lnTo>
                  <a:lnTo>
                    <a:pt x="2910" y="1483"/>
                  </a:lnTo>
                  <a:lnTo>
                    <a:pt x="2896" y="1483"/>
                  </a:lnTo>
                  <a:lnTo>
                    <a:pt x="2863" y="1445"/>
                  </a:lnTo>
                  <a:lnTo>
                    <a:pt x="2830" y="1441"/>
                  </a:lnTo>
                  <a:lnTo>
                    <a:pt x="2842" y="1429"/>
                  </a:lnTo>
                  <a:lnTo>
                    <a:pt x="2830" y="1441"/>
                  </a:lnTo>
                  <a:lnTo>
                    <a:pt x="2754" y="1400"/>
                  </a:lnTo>
                  <a:lnTo>
                    <a:pt x="2771" y="1384"/>
                  </a:lnTo>
                  <a:lnTo>
                    <a:pt x="2759" y="1355"/>
                  </a:lnTo>
                  <a:lnTo>
                    <a:pt x="2771" y="1346"/>
                  </a:lnTo>
                  <a:lnTo>
                    <a:pt x="2775" y="1355"/>
                  </a:lnTo>
                  <a:lnTo>
                    <a:pt x="2787" y="1389"/>
                  </a:lnTo>
                  <a:lnTo>
                    <a:pt x="2787" y="1384"/>
                  </a:lnTo>
                  <a:lnTo>
                    <a:pt x="2787" y="1367"/>
                  </a:lnTo>
                  <a:lnTo>
                    <a:pt x="2809" y="1367"/>
                  </a:lnTo>
                  <a:lnTo>
                    <a:pt x="2771" y="1346"/>
                  </a:lnTo>
                  <a:lnTo>
                    <a:pt x="2738" y="1367"/>
                  </a:lnTo>
                  <a:lnTo>
                    <a:pt x="2707" y="1372"/>
                  </a:lnTo>
                  <a:lnTo>
                    <a:pt x="2641" y="1355"/>
                  </a:lnTo>
                  <a:lnTo>
                    <a:pt x="2646" y="1346"/>
                  </a:lnTo>
                  <a:lnTo>
                    <a:pt x="2641" y="1329"/>
                  </a:lnTo>
                  <a:lnTo>
                    <a:pt x="2631" y="1334"/>
                  </a:lnTo>
                  <a:lnTo>
                    <a:pt x="2641" y="1346"/>
                  </a:lnTo>
                  <a:lnTo>
                    <a:pt x="2615" y="1351"/>
                  </a:lnTo>
                  <a:lnTo>
                    <a:pt x="2544" y="1334"/>
                  </a:lnTo>
                  <a:lnTo>
                    <a:pt x="2464" y="1346"/>
                  </a:lnTo>
                  <a:lnTo>
                    <a:pt x="2435" y="1329"/>
                  </a:lnTo>
                  <a:lnTo>
                    <a:pt x="2414" y="1329"/>
                  </a:lnTo>
                  <a:lnTo>
                    <a:pt x="2381" y="1313"/>
                  </a:lnTo>
                  <a:lnTo>
                    <a:pt x="2398" y="1280"/>
                  </a:lnTo>
                  <a:lnTo>
                    <a:pt x="2409" y="1263"/>
                  </a:lnTo>
                  <a:lnTo>
                    <a:pt x="2360" y="1301"/>
                  </a:lnTo>
                  <a:lnTo>
                    <a:pt x="2322" y="1289"/>
                  </a:lnTo>
                  <a:lnTo>
                    <a:pt x="2338" y="1273"/>
                  </a:lnTo>
                  <a:lnTo>
                    <a:pt x="2291" y="1273"/>
                  </a:lnTo>
                  <a:lnTo>
                    <a:pt x="2317" y="1263"/>
                  </a:lnTo>
                  <a:lnTo>
                    <a:pt x="2305" y="1256"/>
                  </a:lnTo>
                  <a:lnTo>
                    <a:pt x="2268" y="1273"/>
                  </a:lnTo>
                  <a:lnTo>
                    <a:pt x="2263" y="1263"/>
                  </a:lnTo>
                  <a:lnTo>
                    <a:pt x="2305" y="1256"/>
                  </a:lnTo>
                  <a:lnTo>
                    <a:pt x="2301" y="1244"/>
                  </a:lnTo>
                  <a:lnTo>
                    <a:pt x="2275" y="1256"/>
                  </a:lnTo>
                  <a:lnTo>
                    <a:pt x="2263" y="1240"/>
                  </a:lnTo>
                  <a:lnTo>
                    <a:pt x="2268" y="1223"/>
                  </a:lnTo>
                  <a:lnTo>
                    <a:pt x="2301" y="1223"/>
                  </a:lnTo>
                  <a:lnTo>
                    <a:pt x="2291" y="1223"/>
                  </a:lnTo>
                  <a:lnTo>
                    <a:pt x="2268" y="1223"/>
                  </a:lnTo>
                  <a:lnTo>
                    <a:pt x="2246" y="1240"/>
                  </a:lnTo>
                  <a:lnTo>
                    <a:pt x="2237" y="1235"/>
                  </a:lnTo>
                  <a:lnTo>
                    <a:pt x="2216" y="1244"/>
                  </a:lnTo>
                  <a:lnTo>
                    <a:pt x="2209" y="1244"/>
                  </a:lnTo>
                  <a:lnTo>
                    <a:pt x="2209" y="1218"/>
                  </a:lnTo>
                  <a:lnTo>
                    <a:pt x="2199" y="1244"/>
                  </a:lnTo>
                  <a:lnTo>
                    <a:pt x="2183" y="1256"/>
                  </a:lnTo>
                  <a:lnTo>
                    <a:pt x="2166" y="1240"/>
                  </a:lnTo>
                  <a:lnTo>
                    <a:pt x="2192" y="1207"/>
                  </a:lnTo>
                  <a:lnTo>
                    <a:pt x="2166" y="1235"/>
                  </a:lnTo>
                  <a:lnTo>
                    <a:pt x="2161" y="1223"/>
                  </a:lnTo>
                  <a:lnTo>
                    <a:pt x="2145" y="1235"/>
                  </a:lnTo>
                  <a:lnTo>
                    <a:pt x="2140" y="1240"/>
                  </a:lnTo>
                  <a:lnTo>
                    <a:pt x="2161" y="1235"/>
                  </a:lnTo>
                  <a:lnTo>
                    <a:pt x="2145" y="1256"/>
                  </a:lnTo>
                  <a:lnTo>
                    <a:pt x="2123" y="1256"/>
                  </a:lnTo>
                  <a:lnTo>
                    <a:pt x="2140" y="1256"/>
                  </a:lnTo>
                  <a:lnTo>
                    <a:pt x="2123" y="1273"/>
                  </a:lnTo>
                  <a:lnTo>
                    <a:pt x="2154" y="1263"/>
                  </a:lnTo>
                  <a:lnTo>
                    <a:pt x="2161" y="1280"/>
                  </a:lnTo>
                  <a:lnTo>
                    <a:pt x="2123" y="1296"/>
                  </a:lnTo>
                  <a:lnTo>
                    <a:pt x="2140" y="1289"/>
                  </a:lnTo>
                  <a:lnTo>
                    <a:pt x="2154" y="1296"/>
                  </a:lnTo>
                  <a:lnTo>
                    <a:pt x="2166" y="1280"/>
                  </a:lnTo>
                  <a:lnTo>
                    <a:pt x="2178" y="1296"/>
                  </a:lnTo>
                  <a:lnTo>
                    <a:pt x="2145" y="1329"/>
                  </a:lnTo>
                  <a:lnTo>
                    <a:pt x="2166" y="1318"/>
                  </a:lnTo>
                  <a:lnTo>
                    <a:pt x="2154" y="1334"/>
                  </a:lnTo>
                  <a:lnTo>
                    <a:pt x="2154" y="1329"/>
                  </a:lnTo>
                  <a:lnTo>
                    <a:pt x="2145" y="1351"/>
                  </a:lnTo>
                  <a:lnTo>
                    <a:pt x="2102" y="1351"/>
                  </a:lnTo>
                  <a:lnTo>
                    <a:pt x="2102" y="1334"/>
                  </a:lnTo>
                  <a:lnTo>
                    <a:pt x="2086" y="1355"/>
                  </a:lnTo>
                  <a:lnTo>
                    <a:pt x="2086" y="1346"/>
                  </a:lnTo>
                  <a:lnTo>
                    <a:pt x="2074" y="1334"/>
                  </a:lnTo>
                  <a:lnTo>
                    <a:pt x="2057" y="1367"/>
                  </a:lnTo>
                  <a:lnTo>
                    <a:pt x="2069" y="1372"/>
                  </a:lnTo>
                  <a:lnTo>
                    <a:pt x="2053" y="1351"/>
                  </a:lnTo>
                  <a:lnTo>
                    <a:pt x="2053" y="1384"/>
                  </a:lnTo>
                  <a:lnTo>
                    <a:pt x="2031" y="1367"/>
                  </a:lnTo>
                  <a:lnTo>
                    <a:pt x="2036" y="1372"/>
                  </a:lnTo>
                  <a:lnTo>
                    <a:pt x="2031" y="1384"/>
                  </a:lnTo>
                  <a:lnTo>
                    <a:pt x="2003" y="1400"/>
                  </a:lnTo>
                  <a:lnTo>
                    <a:pt x="2015" y="1372"/>
                  </a:lnTo>
                  <a:lnTo>
                    <a:pt x="1998" y="1400"/>
                  </a:lnTo>
                  <a:lnTo>
                    <a:pt x="1994" y="1389"/>
                  </a:lnTo>
                  <a:lnTo>
                    <a:pt x="1994" y="1400"/>
                  </a:lnTo>
                  <a:lnTo>
                    <a:pt x="1994" y="1407"/>
                  </a:lnTo>
                  <a:lnTo>
                    <a:pt x="1965" y="1424"/>
                  </a:lnTo>
                  <a:lnTo>
                    <a:pt x="1951" y="1424"/>
                  </a:lnTo>
                  <a:lnTo>
                    <a:pt x="1951" y="1429"/>
                  </a:lnTo>
                  <a:lnTo>
                    <a:pt x="1927" y="1424"/>
                  </a:lnTo>
                  <a:lnTo>
                    <a:pt x="1913" y="1441"/>
                  </a:lnTo>
                  <a:lnTo>
                    <a:pt x="1890" y="1424"/>
                  </a:lnTo>
                  <a:lnTo>
                    <a:pt x="1897" y="1407"/>
                  </a:lnTo>
                  <a:lnTo>
                    <a:pt x="1927" y="1400"/>
                  </a:lnTo>
                  <a:lnTo>
                    <a:pt x="1961" y="1367"/>
                  </a:lnTo>
                  <a:lnTo>
                    <a:pt x="1927" y="1384"/>
                  </a:lnTo>
                  <a:lnTo>
                    <a:pt x="1897" y="1372"/>
                  </a:lnTo>
                  <a:lnTo>
                    <a:pt x="1913" y="1346"/>
                  </a:lnTo>
                  <a:lnTo>
                    <a:pt x="1939" y="1301"/>
                  </a:lnTo>
                  <a:lnTo>
                    <a:pt x="1944" y="1289"/>
                  </a:lnTo>
                  <a:lnTo>
                    <a:pt x="1939" y="1263"/>
                  </a:lnTo>
                  <a:lnTo>
                    <a:pt x="2003" y="1235"/>
                  </a:lnTo>
                  <a:lnTo>
                    <a:pt x="2015" y="1240"/>
                  </a:lnTo>
                  <a:lnTo>
                    <a:pt x="2048" y="1240"/>
                  </a:lnTo>
                  <a:lnTo>
                    <a:pt x="2102" y="1256"/>
                  </a:lnTo>
                  <a:lnTo>
                    <a:pt x="2090" y="1240"/>
                  </a:lnTo>
                  <a:lnTo>
                    <a:pt x="2057" y="1240"/>
                  </a:lnTo>
                  <a:lnTo>
                    <a:pt x="2031" y="1218"/>
                  </a:lnTo>
                  <a:lnTo>
                    <a:pt x="2053" y="1190"/>
                  </a:lnTo>
                  <a:lnTo>
                    <a:pt x="2086" y="1185"/>
                  </a:lnTo>
                  <a:lnTo>
                    <a:pt x="2074" y="1178"/>
                  </a:lnTo>
                  <a:lnTo>
                    <a:pt x="2053" y="1185"/>
                  </a:lnTo>
                  <a:lnTo>
                    <a:pt x="2031" y="1207"/>
                  </a:lnTo>
                  <a:lnTo>
                    <a:pt x="1994" y="1207"/>
                  </a:lnTo>
                  <a:lnTo>
                    <a:pt x="1961" y="1218"/>
                  </a:lnTo>
                  <a:lnTo>
                    <a:pt x="1951" y="1235"/>
                  </a:lnTo>
                  <a:lnTo>
                    <a:pt x="1923" y="1240"/>
                  </a:lnTo>
                  <a:lnTo>
                    <a:pt x="1906" y="1256"/>
                  </a:lnTo>
                  <a:lnTo>
                    <a:pt x="1913" y="1263"/>
                  </a:lnTo>
                  <a:lnTo>
                    <a:pt x="1897" y="1263"/>
                  </a:lnTo>
                  <a:lnTo>
                    <a:pt x="1875" y="1289"/>
                  </a:lnTo>
                  <a:lnTo>
                    <a:pt x="1859" y="1313"/>
                  </a:lnTo>
                  <a:lnTo>
                    <a:pt x="1842" y="1318"/>
                  </a:lnTo>
                  <a:lnTo>
                    <a:pt x="1814" y="1313"/>
                  </a:lnTo>
                  <a:lnTo>
                    <a:pt x="1831" y="1313"/>
                  </a:lnTo>
                  <a:lnTo>
                    <a:pt x="1852" y="1334"/>
                  </a:lnTo>
                  <a:lnTo>
                    <a:pt x="1842" y="1351"/>
                  </a:lnTo>
                  <a:lnTo>
                    <a:pt x="1805" y="1367"/>
                  </a:lnTo>
                  <a:lnTo>
                    <a:pt x="1821" y="1367"/>
                  </a:lnTo>
                  <a:lnTo>
                    <a:pt x="1821" y="1372"/>
                  </a:lnTo>
                  <a:lnTo>
                    <a:pt x="1800" y="1384"/>
                  </a:lnTo>
                  <a:lnTo>
                    <a:pt x="1788" y="1384"/>
                  </a:lnTo>
                  <a:lnTo>
                    <a:pt x="1800" y="1372"/>
                  </a:lnTo>
                  <a:lnTo>
                    <a:pt x="1788" y="1367"/>
                  </a:lnTo>
                  <a:lnTo>
                    <a:pt x="1783" y="1389"/>
                  </a:lnTo>
                  <a:lnTo>
                    <a:pt x="1767" y="1400"/>
                  </a:lnTo>
                  <a:lnTo>
                    <a:pt x="1767" y="1407"/>
                  </a:lnTo>
                  <a:lnTo>
                    <a:pt x="1746" y="1412"/>
                  </a:lnTo>
                  <a:lnTo>
                    <a:pt x="1750" y="1412"/>
                  </a:lnTo>
                  <a:lnTo>
                    <a:pt x="1734" y="1441"/>
                  </a:lnTo>
                  <a:lnTo>
                    <a:pt x="1734" y="1445"/>
                  </a:lnTo>
                  <a:lnTo>
                    <a:pt x="1776" y="1445"/>
                  </a:lnTo>
                  <a:lnTo>
                    <a:pt x="1805" y="1474"/>
                  </a:lnTo>
                  <a:lnTo>
                    <a:pt x="1783" y="1495"/>
                  </a:lnTo>
                  <a:lnTo>
                    <a:pt x="1746" y="1511"/>
                  </a:lnTo>
                  <a:lnTo>
                    <a:pt x="1750" y="1516"/>
                  </a:lnTo>
                  <a:lnTo>
                    <a:pt x="1729" y="1528"/>
                  </a:lnTo>
                  <a:lnTo>
                    <a:pt x="1746" y="1528"/>
                  </a:lnTo>
                  <a:lnTo>
                    <a:pt x="1734" y="1540"/>
                  </a:lnTo>
                  <a:lnTo>
                    <a:pt x="1724" y="1540"/>
                  </a:lnTo>
                  <a:lnTo>
                    <a:pt x="1712" y="1556"/>
                  </a:lnTo>
                  <a:lnTo>
                    <a:pt x="1679" y="1556"/>
                  </a:lnTo>
                  <a:lnTo>
                    <a:pt x="1675" y="1568"/>
                  </a:lnTo>
                  <a:lnTo>
                    <a:pt x="1658" y="1585"/>
                  </a:lnTo>
                  <a:lnTo>
                    <a:pt x="1637" y="1585"/>
                  </a:lnTo>
                  <a:lnTo>
                    <a:pt x="1625" y="1606"/>
                  </a:lnTo>
                  <a:lnTo>
                    <a:pt x="1604" y="1606"/>
                  </a:lnTo>
                  <a:lnTo>
                    <a:pt x="1604" y="1611"/>
                  </a:lnTo>
                  <a:lnTo>
                    <a:pt x="1599" y="1611"/>
                  </a:lnTo>
                  <a:lnTo>
                    <a:pt x="1571" y="1627"/>
                  </a:lnTo>
                  <a:lnTo>
                    <a:pt x="1587" y="1627"/>
                  </a:lnTo>
                  <a:lnTo>
                    <a:pt x="1587" y="1644"/>
                  </a:lnTo>
                  <a:lnTo>
                    <a:pt x="1571" y="1660"/>
                  </a:lnTo>
                  <a:lnTo>
                    <a:pt x="1545" y="1660"/>
                  </a:lnTo>
                  <a:lnTo>
                    <a:pt x="1528" y="1684"/>
                  </a:lnTo>
                  <a:lnTo>
                    <a:pt x="1512" y="1677"/>
                  </a:lnTo>
                  <a:lnTo>
                    <a:pt x="1495" y="1693"/>
                  </a:lnTo>
                  <a:lnTo>
                    <a:pt x="1502" y="1700"/>
                  </a:lnTo>
                  <a:lnTo>
                    <a:pt x="1490" y="1693"/>
                  </a:lnTo>
                  <a:lnTo>
                    <a:pt x="1457" y="1705"/>
                  </a:lnTo>
                  <a:lnTo>
                    <a:pt x="1481" y="1705"/>
                  </a:lnTo>
                  <a:lnTo>
                    <a:pt x="1481" y="1717"/>
                  </a:lnTo>
                  <a:lnTo>
                    <a:pt x="1457" y="1705"/>
                  </a:lnTo>
                  <a:lnTo>
                    <a:pt x="1443" y="1717"/>
                  </a:lnTo>
                  <a:lnTo>
                    <a:pt x="1427" y="1738"/>
                  </a:lnTo>
                  <a:lnTo>
                    <a:pt x="1436" y="1738"/>
                  </a:lnTo>
                  <a:lnTo>
                    <a:pt x="1443" y="1733"/>
                  </a:lnTo>
                  <a:lnTo>
                    <a:pt x="1457" y="1733"/>
                  </a:lnTo>
                  <a:lnTo>
                    <a:pt x="1448" y="1750"/>
                  </a:lnTo>
                  <a:lnTo>
                    <a:pt x="1464" y="1738"/>
                  </a:lnTo>
                  <a:lnTo>
                    <a:pt x="1443" y="1750"/>
                  </a:lnTo>
                  <a:lnTo>
                    <a:pt x="1436" y="1762"/>
                  </a:lnTo>
                  <a:lnTo>
                    <a:pt x="1427" y="1755"/>
                  </a:lnTo>
                  <a:lnTo>
                    <a:pt x="1436" y="1750"/>
                  </a:lnTo>
                  <a:lnTo>
                    <a:pt x="1427" y="1750"/>
                  </a:lnTo>
                  <a:lnTo>
                    <a:pt x="1427" y="1771"/>
                  </a:lnTo>
                  <a:lnTo>
                    <a:pt x="1410" y="1762"/>
                  </a:lnTo>
                  <a:lnTo>
                    <a:pt x="1405" y="1771"/>
                  </a:lnTo>
                  <a:lnTo>
                    <a:pt x="1372" y="1778"/>
                  </a:lnTo>
                  <a:lnTo>
                    <a:pt x="1351" y="1804"/>
                  </a:lnTo>
                  <a:lnTo>
                    <a:pt x="1356" y="1778"/>
                  </a:lnTo>
                  <a:lnTo>
                    <a:pt x="1339" y="1778"/>
                  </a:lnTo>
                  <a:lnTo>
                    <a:pt x="1318" y="1795"/>
                  </a:lnTo>
                  <a:lnTo>
                    <a:pt x="1301" y="1804"/>
                  </a:lnTo>
                  <a:lnTo>
                    <a:pt x="1297" y="1816"/>
                  </a:lnTo>
                  <a:lnTo>
                    <a:pt x="1285" y="1811"/>
                  </a:lnTo>
                  <a:lnTo>
                    <a:pt x="1280" y="1811"/>
                  </a:lnTo>
                  <a:lnTo>
                    <a:pt x="1280" y="1816"/>
                  </a:lnTo>
                  <a:lnTo>
                    <a:pt x="1264" y="1811"/>
                  </a:lnTo>
                  <a:lnTo>
                    <a:pt x="1242" y="1828"/>
                  </a:lnTo>
                  <a:lnTo>
                    <a:pt x="1226" y="1828"/>
                  </a:lnTo>
                  <a:lnTo>
                    <a:pt x="1226" y="1816"/>
                  </a:lnTo>
                  <a:lnTo>
                    <a:pt x="1231" y="1804"/>
                  </a:lnTo>
                  <a:lnTo>
                    <a:pt x="1247" y="1811"/>
                  </a:lnTo>
                  <a:lnTo>
                    <a:pt x="1221" y="1804"/>
                  </a:lnTo>
                  <a:lnTo>
                    <a:pt x="1205" y="1833"/>
                  </a:lnTo>
                  <a:lnTo>
                    <a:pt x="1188" y="1844"/>
                  </a:lnTo>
                  <a:lnTo>
                    <a:pt x="1193" y="1849"/>
                  </a:lnTo>
                  <a:lnTo>
                    <a:pt x="1179" y="1861"/>
                  </a:lnTo>
                  <a:lnTo>
                    <a:pt x="1179" y="1849"/>
                  </a:lnTo>
                  <a:lnTo>
                    <a:pt x="1172" y="1849"/>
                  </a:lnTo>
                  <a:lnTo>
                    <a:pt x="1172" y="1861"/>
                  </a:lnTo>
                  <a:lnTo>
                    <a:pt x="1155" y="1861"/>
                  </a:lnTo>
                  <a:lnTo>
                    <a:pt x="1150" y="1833"/>
                  </a:lnTo>
                  <a:lnTo>
                    <a:pt x="1141" y="1844"/>
                  </a:lnTo>
                  <a:lnTo>
                    <a:pt x="1150" y="1849"/>
                  </a:lnTo>
                  <a:lnTo>
                    <a:pt x="1150" y="1866"/>
                  </a:lnTo>
                  <a:lnTo>
                    <a:pt x="1141" y="1866"/>
                  </a:lnTo>
                  <a:lnTo>
                    <a:pt x="1124" y="1873"/>
                  </a:lnTo>
                  <a:lnTo>
                    <a:pt x="1103" y="1849"/>
                  </a:lnTo>
                  <a:lnTo>
                    <a:pt x="1103" y="1861"/>
                  </a:lnTo>
                  <a:lnTo>
                    <a:pt x="1117" y="1866"/>
                  </a:lnTo>
                  <a:lnTo>
                    <a:pt x="1096" y="1882"/>
                  </a:lnTo>
                  <a:lnTo>
                    <a:pt x="1096" y="1873"/>
                  </a:lnTo>
                  <a:lnTo>
                    <a:pt x="1103" y="1866"/>
                  </a:lnTo>
                  <a:lnTo>
                    <a:pt x="1096" y="1849"/>
                  </a:lnTo>
                  <a:lnTo>
                    <a:pt x="1117" y="1849"/>
                  </a:lnTo>
                  <a:lnTo>
                    <a:pt x="1124" y="1833"/>
                  </a:lnTo>
                  <a:lnTo>
                    <a:pt x="1150" y="1828"/>
                  </a:lnTo>
                  <a:lnTo>
                    <a:pt x="1155" y="1828"/>
                  </a:lnTo>
                  <a:lnTo>
                    <a:pt x="1150" y="1816"/>
                  </a:lnTo>
                  <a:lnTo>
                    <a:pt x="1172" y="1795"/>
                  </a:lnTo>
                  <a:lnTo>
                    <a:pt x="1205" y="1771"/>
                  </a:lnTo>
                  <a:lnTo>
                    <a:pt x="1259" y="1771"/>
                  </a:lnTo>
                  <a:lnTo>
                    <a:pt x="1280" y="1795"/>
                  </a:lnTo>
                  <a:lnTo>
                    <a:pt x="1275" y="1778"/>
                  </a:lnTo>
                  <a:lnTo>
                    <a:pt x="1313" y="1788"/>
                  </a:lnTo>
                  <a:lnTo>
                    <a:pt x="1313" y="1778"/>
                  </a:lnTo>
                  <a:lnTo>
                    <a:pt x="1285" y="1762"/>
                  </a:lnTo>
                  <a:lnTo>
                    <a:pt x="1301" y="1733"/>
                  </a:lnTo>
                  <a:lnTo>
                    <a:pt x="1394" y="1684"/>
                  </a:lnTo>
                  <a:lnTo>
                    <a:pt x="1427" y="1684"/>
                  </a:lnTo>
                  <a:lnTo>
                    <a:pt x="1427" y="1651"/>
                  </a:lnTo>
                  <a:lnTo>
                    <a:pt x="1474" y="1611"/>
                  </a:lnTo>
                  <a:lnTo>
                    <a:pt x="1490" y="1606"/>
                  </a:lnTo>
                  <a:lnTo>
                    <a:pt x="1495" y="1611"/>
                  </a:lnTo>
                  <a:lnTo>
                    <a:pt x="1512" y="1611"/>
                  </a:lnTo>
                  <a:lnTo>
                    <a:pt x="1512" y="1606"/>
                  </a:lnTo>
                  <a:lnTo>
                    <a:pt x="1502" y="1611"/>
                  </a:lnTo>
                  <a:lnTo>
                    <a:pt x="1490" y="1594"/>
                  </a:lnTo>
                  <a:lnTo>
                    <a:pt x="1495" y="1552"/>
                  </a:lnTo>
                  <a:lnTo>
                    <a:pt x="1512" y="1533"/>
                  </a:lnTo>
                  <a:lnTo>
                    <a:pt x="1528" y="1540"/>
                  </a:lnTo>
                  <a:lnTo>
                    <a:pt x="1502" y="1533"/>
                  </a:lnTo>
                  <a:lnTo>
                    <a:pt x="1502" y="1516"/>
                  </a:lnTo>
                  <a:lnTo>
                    <a:pt x="1533" y="1478"/>
                  </a:lnTo>
                  <a:lnTo>
                    <a:pt x="1557" y="1441"/>
                  </a:lnTo>
                  <a:lnTo>
                    <a:pt x="1533" y="1462"/>
                  </a:lnTo>
                  <a:lnTo>
                    <a:pt x="1457" y="1495"/>
                  </a:lnTo>
                  <a:lnTo>
                    <a:pt x="1427" y="1474"/>
                  </a:lnTo>
                  <a:lnTo>
                    <a:pt x="1436" y="1457"/>
                  </a:lnTo>
                  <a:lnTo>
                    <a:pt x="1457" y="1457"/>
                  </a:lnTo>
                  <a:lnTo>
                    <a:pt x="1474" y="1462"/>
                  </a:lnTo>
                  <a:lnTo>
                    <a:pt x="1436" y="1429"/>
                  </a:lnTo>
                  <a:lnTo>
                    <a:pt x="1436" y="1445"/>
                  </a:lnTo>
                  <a:lnTo>
                    <a:pt x="1427" y="1462"/>
                  </a:lnTo>
                  <a:lnTo>
                    <a:pt x="1420" y="1462"/>
                  </a:lnTo>
                  <a:lnTo>
                    <a:pt x="1420" y="1457"/>
                  </a:lnTo>
                  <a:lnTo>
                    <a:pt x="1410" y="1457"/>
                  </a:lnTo>
                  <a:lnTo>
                    <a:pt x="1420" y="1478"/>
                  </a:lnTo>
                  <a:lnTo>
                    <a:pt x="1410" y="1478"/>
                  </a:lnTo>
                  <a:lnTo>
                    <a:pt x="1410" y="1474"/>
                  </a:lnTo>
                  <a:lnTo>
                    <a:pt x="1405" y="1478"/>
                  </a:lnTo>
                  <a:lnTo>
                    <a:pt x="1420" y="1500"/>
                  </a:lnTo>
                  <a:lnTo>
                    <a:pt x="1405" y="1516"/>
                  </a:lnTo>
                  <a:lnTo>
                    <a:pt x="1394" y="1511"/>
                  </a:lnTo>
                  <a:lnTo>
                    <a:pt x="1356" y="1457"/>
                  </a:lnTo>
                  <a:lnTo>
                    <a:pt x="1335" y="1478"/>
                  </a:lnTo>
                  <a:lnTo>
                    <a:pt x="1313" y="1457"/>
                  </a:lnTo>
                  <a:lnTo>
                    <a:pt x="1301" y="1445"/>
                  </a:lnTo>
                  <a:lnTo>
                    <a:pt x="1221" y="1495"/>
                  </a:lnTo>
                  <a:lnTo>
                    <a:pt x="1179" y="1483"/>
                  </a:lnTo>
                  <a:lnTo>
                    <a:pt x="1193" y="1483"/>
                  </a:lnTo>
                  <a:lnTo>
                    <a:pt x="1209" y="1478"/>
                  </a:lnTo>
                  <a:lnTo>
                    <a:pt x="1205" y="1462"/>
                  </a:lnTo>
                  <a:lnTo>
                    <a:pt x="1205" y="1445"/>
                  </a:lnTo>
                  <a:lnTo>
                    <a:pt x="1221" y="1441"/>
                  </a:lnTo>
                  <a:lnTo>
                    <a:pt x="1193" y="1445"/>
                  </a:lnTo>
                  <a:lnTo>
                    <a:pt x="1188" y="1441"/>
                  </a:lnTo>
                  <a:lnTo>
                    <a:pt x="1193" y="1412"/>
                  </a:lnTo>
                  <a:lnTo>
                    <a:pt x="1209" y="1400"/>
                  </a:lnTo>
                  <a:lnTo>
                    <a:pt x="1172" y="1334"/>
                  </a:lnTo>
                  <a:lnTo>
                    <a:pt x="1179" y="1318"/>
                  </a:lnTo>
                  <a:lnTo>
                    <a:pt x="1167" y="1329"/>
                  </a:lnTo>
                  <a:lnTo>
                    <a:pt x="1167" y="1313"/>
                  </a:lnTo>
                  <a:lnTo>
                    <a:pt x="1172" y="1280"/>
                  </a:lnTo>
                  <a:lnTo>
                    <a:pt x="1193" y="1273"/>
                  </a:lnTo>
                  <a:lnTo>
                    <a:pt x="1172" y="1280"/>
                  </a:lnTo>
                  <a:lnTo>
                    <a:pt x="1150" y="1313"/>
                  </a:lnTo>
                  <a:lnTo>
                    <a:pt x="1155" y="1329"/>
                  </a:lnTo>
                  <a:lnTo>
                    <a:pt x="1155" y="1346"/>
                  </a:lnTo>
                  <a:lnTo>
                    <a:pt x="1096" y="1367"/>
                  </a:lnTo>
                  <a:lnTo>
                    <a:pt x="1042" y="1367"/>
                  </a:lnTo>
                  <a:lnTo>
                    <a:pt x="1032" y="1351"/>
                  </a:lnTo>
                  <a:lnTo>
                    <a:pt x="1042" y="1346"/>
                  </a:lnTo>
                  <a:lnTo>
                    <a:pt x="1016" y="1334"/>
                  </a:lnTo>
                  <a:lnTo>
                    <a:pt x="1004" y="1313"/>
                  </a:lnTo>
                  <a:lnTo>
                    <a:pt x="973" y="1296"/>
                  </a:lnTo>
                  <a:lnTo>
                    <a:pt x="978" y="1289"/>
                  </a:lnTo>
                  <a:lnTo>
                    <a:pt x="952" y="1289"/>
                  </a:lnTo>
                  <a:lnTo>
                    <a:pt x="1004" y="1244"/>
                  </a:lnTo>
                  <a:lnTo>
                    <a:pt x="1004" y="1256"/>
                  </a:lnTo>
                  <a:lnTo>
                    <a:pt x="1032" y="1263"/>
                  </a:lnTo>
                  <a:lnTo>
                    <a:pt x="1032" y="1273"/>
                  </a:lnTo>
                  <a:lnTo>
                    <a:pt x="1016" y="1289"/>
                  </a:lnTo>
                  <a:lnTo>
                    <a:pt x="1049" y="1263"/>
                  </a:lnTo>
                  <a:lnTo>
                    <a:pt x="1065" y="1263"/>
                  </a:lnTo>
                  <a:lnTo>
                    <a:pt x="1065" y="1280"/>
                  </a:lnTo>
                  <a:lnTo>
                    <a:pt x="1070" y="1280"/>
                  </a:lnTo>
                  <a:lnTo>
                    <a:pt x="1086" y="1263"/>
                  </a:lnTo>
                  <a:lnTo>
                    <a:pt x="1058" y="1256"/>
                  </a:lnTo>
                  <a:lnTo>
                    <a:pt x="1079" y="1244"/>
                  </a:lnTo>
                  <a:lnTo>
                    <a:pt x="1065" y="1240"/>
                  </a:lnTo>
                  <a:lnTo>
                    <a:pt x="1049" y="1256"/>
                  </a:lnTo>
                  <a:lnTo>
                    <a:pt x="973" y="1244"/>
                  </a:lnTo>
                  <a:lnTo>
                    <a:pt x="961" y="1240"/>
                  </a:lnTo>
                  <a:lnTo>
                    <a:pt x="994" y="1223"/>
                  </a:lnTo>
                  <a:lnTo>
                    <a:pt x="973" y="1223"/>
                  </a:lnTo>
                  <a:lnTo>
                    <a:pt x="973" y="1207"/>
                  </a:lnTo>
                  <a:lnTo>
                    <a:pt x="961" y="1218"/>
                  </a:lnTo>
                  <a:lnTo>
                    <a:pt x="957" y="1218"/>
                  </a:lnTo>
                  <a:lnTo>
                    <a:pt x="973" y="1190"/>
                  </a:lnTo>
                  <a:lnTo>
                    <a:pt x="990" y="1185"/>
                  </a:lnTo>
                  <a:lnTo>
                    <a:pt x="1004" y="1169"/>
                  </a:lnTo>
                  <a:lnTo>
                    <a:pt x="957" y="1202"/>
                  </a:lnTo>
                  <a:lnTo>
                    <a:pt x="952" y="1218"/>
                  </a:lnTo>
                  <a:lnTo>
                    <a:pt x="957" y="1218"/>
                  </a:lnTo>
                  <a:lnTo>
                    <a:pt x="952" y="1235"/>
                  </a:lnTo>
                  <a:lnTo>
                    <a:pt x="935" y="1223"/>
                  </a:lnTo>
                  <a:lnTo>
                    <a:pt x="935" y="1207"/>
                  </a:lnTo>
                  <a:lnTo>
                    <a:pt x="919" y="1202"/>
                  </a:lnTo>
                  <a:lnTo>
                    <a:pt x="919" y="1190"/>
                  </a:lnTo>
                  <a:lnTo>
                    <a:pt x="924" y="1185"/>
                  </a:lnTo>
                  <a:lnTo>
                    <a:pt x="924" y="1178"/>
                  </a:lnTo>
                  <a:lnTo>
                    <a:pt x="902" y="1185"/>
                  </a:lnTo>
                  <a:lnTo>
                    <a:pt x="898" y="1169"/>
                  </a:lnTo>
                  <a:lnTo>
                    <a:pt x="898" y="1162"/>
                  </a:lnTo>
                  <a:lnTo>
                    <a:pt x="902" y="1169"/>
                  </a:lnTo>
                  <a:lnTo>
                    <a:pt x="924" y="1162"/>
                  </a:lnTo>
                  <a:lnTo>
                    <a:pt x="902" y="1145"/>
                  </a:lnTo>
                  <a:lnTo>
                    <a:pt x="935" y="1145"/>
                  </a:lnTo>
                  <a:lnTo>
                    <a:pt x="924" y="1129"/>
                  </a:lnTo>
                  <a:lnTo>
                    <a:pt x="935" y="1112"/>
                  </a:lnTo>
                  <a:lnTo>
                    <a:pt x="961" y="1074"/>
                  </a:lnTo>
                  <a:lnTo>
                    <a:pt x="978" y="1067"/>
                  </a:lnTo>
                  <a:lnTo>
                    <a:pt x="1004" y="1079"/>
                  </a:lnTo>
                  <a:lnTo>
                    <a:pt x="990" y="1067"/>
                  </a:lnTo>
                  <a:lnTo>
                    <a:pt x="1016" y="1041"/>
                  </a:lnTo>
                  <a:lnTo>
                    <a:pt x="994" y="1051"/>
                  </a:lnTo>
                  <a:lnTo>
                    <a:pt x="990" y="1034"/>
                  </a:lnTo>
                  <a:lnTo>
                    <a:pt x="1004" y="1013"/>
                  </a:lnTo>
                  <a:lnTo>
                    <a:pt x="1027" y="1013"/>
                  </a:lnTo>
                  <a:lnTo>
                    <a:pt x="1011" y="1001"/>
                  </a:lnTo>
                  <a:lnTo>
                    <a:pt x="1016" y="985"/>
                  </a:lnTo>
                  <a:lnTo>
                    <a:pt x="1049" y="985"/>
                  </a:lnTo>
                  <a:lnTo>
                    <a:pt x="1096" y="1013"/>
                  </a:lnTo>
                  <a:lnTo>
                    <a:pt x="1112" y="1013"/>
                  </a:lnTo>
                  <a:lnTo>
                    <a:pt x="1150" y="985"/>
                  </a:lnTo>
                  <a:lnTo>
                    <a:pt x="1167" y="959"/>
                  </a:lnTo>
                  <a:lnTo>
                    <a:pt x="1188" y="959"/>
                  </a:lnTo>
                  <a:lnTo>
                    <a:pt x="1179" y="963"/>
                  </a:lnTo>
                  <a:lnTo>
                    <a:pt x="1247" y="959"/>
                  </a:lnTo>
                  <a:lnTo>
                    <a:pt x="1275" y="930"/>
                  </a:lnTo>
                  <a:lnTo>
                    <a:pt x="1275" y="914"/>
                  </a:lnTo>
                  <a:lnTo>
                    <a:pt x="1264" y="874"/>
                  </a:lnTo>
                  <a:lnTo>
                    <a:pt x="1247" y="852"/>
                  </a:lnTo>
                  <a:lnTo>
                    <a:pt x="1226" y="852"/>
                  </a:lnTo>
                  <a:lnTo>
                    <a:pt x="1231" y="836"/>
                  </a:lnTo>
                  <a:lnTo>
                    <a:pt x="1259" y="848"/>
                  </a:lnTo>
                  <a:lnTo>
                    <a:pt x="1275" y="831"/>
                  </a:lnTo>
                  <a:lnTo>
                    <a:pt x="1275" y="819"/>
                  </a:lnTo>
                  <a:lnTo>
                    <a:pt x="1247" y="796"/>
                  </a:lnTo>
                  <a:lnTo>
                    <a:pt x="1259" y="791"/>
                  </a:lnTo>
                  <a:lnTo>
                    <a:pt x="1247" y="791"/>
                  </a:lnTo>
                  <a:lnTo>
                    <a:pt x="1226" y="815"/>
                  </a:lnTo>
                  <a:lnTo>
                    <a:pt x="1179" y="819"/>
                  </a:lnTo>
                  <a:lnTo>
                    <a:pt x="1150" y="848"/>
                  </a:lnTo>
                  <a:lnTo>
                    <a:pt x="1150" y="852"/>
                  </a:lnTo>
                  <a:lnTo>
                    <a:pt x="1134" y="857"/>
                  </a:lnTo>
                  <a:lnTo>
                    <a:pt x="1124" y="848"/>
                  </a:lnTo>
                  <a:lnTo>
                    <a:pt x="1112" y="819"/>
                  </a:lnTo>
                  <a:lnTo>
                    <a:pt x="1096" y="836"/>
                  </a:lnTo>
                  <a:lnTo>
                    <a:pt x="1117" y="848"/>
                  </a:lnTo>
                  <a:lnTo>
                    <a:pt x="1112" y="852"/>
                  </a:lnTo>
                  <a:lnTo>
                    <a:pt x="1086" y="836"/>
                  </a:lnTo>
                  <a:lnTo>
                    <a:pt x="1065" y="831"/>
                  </a:lnTo>
                  <a:lnTo>
                    <a:pt x="990" y="836"/>
                  </a:lnTo>
                  <a:lnTo>
                    <a:pt x="990" y="848"/>
                  </a:lnTo>
                  <a:lnTo>
                    <a:pt x="994" y="848"/>
                  </a:lnTo>
                  <a:lnTo>
                    <a:pt x="978" y="852"/>
                  </a:lnTo>
                  <a:lnTo>
                    <a:pt x="902" y="836"/>
                  </a:lnTo>
                  <a:lnTo>
                    <a:pt x="881" y="819"/>
                  </a:lnTo>
                  <a:lnTo>
                    <a:pt x="869" y="815"/>
                  </a:lnTo>
                  <a:lnTo>
                    <a:pt x="881" y="796"/>
                  </a:lnTo>
                  <a:lnTo>
                    <a:pt x="843" y="763"/>
                  </a:lnTo>
                  <a:lnTo>
                    <a:pt x="848" y="746"/>
                  </a:lnTo>
                  <a:lnTo>
                    <a:pt x="843" y="763"/>
                  </a:lnTo>
                  <a:lnTo>
                    <a:pt x="864" y="774"/>
                  </a:lnTo>
                  <a:lnTo>
                    <a:pt x="881" y="746"/>
                  </a:lnTo>
                  <a:lnTo>
                    <a:pt x="902" y="758"/>
                  </a:lnTo>
                  <a:lnTo>
                    <a:pt x="810" y="737"/>
                  </a:lnTo>
                  <a:lnTo>
                    <a:pt x="756" y="708"/>
                  </a:lnTo>
                  <a:lnTo>
                    <a:pt x="777" y="692"/>
                  </a:lnTo>
                  <a:lnTo>
                    <a:pt x="763" y="708"/>
                  </a:lnTo>
                  <a:lnTo>
                    <a:pt x="801" y="704"/>
                  </a:lnTo>
                  <a:lnTo>
                    <a:pt x="801" y="692"/>
                  </a:lnTo>
                  <a:lnTo>
                    <a:pt x="801" y="687"/>
                  </a:lnTo>
                  <a:lnTo>
                    <a:pt x="831" y="680"/>
                  </a:lnTo>
                  <a:lnTo>
                    <a:pt x="848" y="680"/>
                  </a:lnTo>
                  <a:lnTo>
                    <a:pt x="843" y="670"/>
                  </a:lnTo>
                  <a:lnTo>
                    <a:pt x="886" y="647"/>
                  </a:lnTo>
                  <a:lnTo>
                    <a:pt x="924" y="654"/>
                  </a:lnTo>
                  <a:lnTo>
                    <a:pt x="940" y="647"/>
                  </a:lnTo>
                  <a:lnTo>
                    <a:pt x="919" y="635"/>
                  </a:lnTo>
                  <a:lnTo>
                    <a:pt x="935" y="626"/>
                  </a:lnTo>
                  <a:lnTo>
                    <a:pt x="1027" y="597"/>
                  </a:lnTo>
                  <a:lnTo>
                    <a:pt x="1070" y="597"/>
                  </a:lnTo>
                  <a:lnTo>
                    <a:pt x="1058" y="597"/>
                  </a:lnTo>
                  <a:lnTo>
                    <a:pt x="1065" y="609"/>
                  </a:lnTo>
                  <a:lnTo>
                    <a:pt x="1058" y="626"/>
                  </a:lnTo>
                  <a:lnTo>
                    <a:pt x="1058" y="630"/>
                  </a:lnTo>
                  <a:lnTo>
                    <a:pt x="1032" y="647"/>
                  </a:lnTo>
                  <a:lnTo>
                    <a:pt x="1070" y="663"/>
                  </a:lnTo>
                  <a:lnTo>
                    <a:pt x="1188" y="663"/>
                  </a:lnTo>
                  <a:lnTo>
                    <a:pt x="1205" y="670"/>
                  </a:lnTo>
                  <a:lnTo>
                    <a:pt x="1226" y="635"/>
                  </a:lnTo>
                  <a:lnTo>
                    <a:pt x="1259" y="635"/>
                  </a:lnTo>
                  <a:lnTo>
                    <a:pt x="1247" y="654"/>
                  </a:lnTo>
                  <a:lnTo>
                    <a:pt x="1259" y="635"/>
                  </a:lnTo>
                  <a:lnTo>
                    <a:pt x="1247" y="626"/>
                  </a:lnTo>
                  <a:lnTo>
                    <a:pt x="1226" y="614"/>
                  </a:lnTo>
                  <a:lnTo>
                    <a:pt x="1193" y="626"/>
                  </a:lnTo>
                  <a:lnTo>
                    <a:pt x="1193" y="630"/>
                  </a:lnTo>
                  <a:lnTo>
                    <a:pt x="1193" y="597"/>
                  </a:lnTo>
                  <a:lnTo>
                    <a:pt x="1172" y="581"/>
                  </a:lnTo>
                  <a:lnTo>
                    <a:pt x="1155" y="576"/>
                  </a:lnTo>
                  <a:lnTo>
                    <a:pt x="1141" y="559"/>
                  </a:lnTo>
                  <a:lnTo>
                    <a:pt x="1167" y="552"/>
                  </a:lnTo>
                  <a:lnTo>
                    <a:pt x="1179" y="569"/>
                  </a:lnTo>
                  <a:lnTo>
                    <a:pt x="1188" y="593"/>
                  </a:lnTo>
                  <a:lnTo>
                    <a:pt x="1221" y="614"/>
                  </a:lnTo>
                  <a:lnTo>
                    <a:pt x="1247" y="597"/>
                  </a:lnTo>
                  <a:lnTo>
                    <a:pt x="1275" y="626"/>
                  </a:lnTo>
                  <a:lnTo>
                    <a:pt x="1313" y="626"/>
                  </a:lnTo>
                  <a:lnTo>
                    <a:pt x="1313" y="593"/>
                  </a:lnTo>
                  <a:lnTo>
                    <a:pt x="1285" y="597"/>
                  </a:lnTo>
                  <a:lnTo>
                    <a:pt x="1247" y="593"/>
                  </a:lnTo>
                  <a:lnTo>
                    <a:pt x="1242" y="597"/>
                  </a:lnTo>
                  <a:lnTo>
                    <a:pt x="1226" y="597"/>
                  </a:lnTo>
                  <a:lnTo>
                    <a:pt x="1193" y="581"/>
                  </a:lnTo>
                  <a:lnTo>
                    <a:pt x="1209" y="552"/>
                  </a:lnTo>
                  <a:lnTo>
                    <a:pt x="1226" y="552"/>
                  </a:lnTo>
                  <a:lnTo>
                    <a:pt x="1193" y="543"/>
                  </a:lnTo>
                  <a:lnTo>
                    <a:pt x="1155" y="543"/>
                  </a:lnTo>
                  <a:lnTo>
                    <a:pt x="1167" y="526"/>
                  </a:lnTo>
                  <a:lnTo>
                    <a:pt x="1150" y="543"/>
                  </a:lnTo>
                  <a:lnTo>
                    <a:pt x="1065" y="536"/>
                  </a:lnTo>
                  <a:lnTo>
                    <a:pt x="1065" y="503"/>
                  </a:lnTo>
                  <a:lnTo>
                    <a:pt x="1042" y="470"/>
                  </a:lnTo>
                  <a:lnTo>
                    <a:pt x="952" y="415"/>
                  </a:lnTo>
                  <a:lnTo>
                    <a:pt x="848" y="375"/>
                  </a:lnTo>
                  <a:lnTo>
                    <a:pt x="886" y="370"/>
                  </a:lnTo>
                  <a:lnTo>
                    <a:pt x="898" y="354"/>
                  </a:lnTo>
                  <a:lnTo>
                    <a:pt x="898" y="314"/>
                  </a:lnTo>
                  <a:lnTo>
                    <a:pt x="1027" y="304"/>
                  </a:lnTo>
                  <a:lnTo>
                    <a:pt x="1070" y="281"/>
                  </a:lnTo>
                  <a:lnTo>
                    <a:pt x="1103" y="243"/>
                  </a:lnTo>
                  <a:lnTo>
                    <a:pt x="1103" y="259"/>
                  </a:lnTo>
                  <a:lnTo>
                    <a:pt x="1112" y="248"/>
                  </a:lnTo>
                  <a:lnTo>
                    <a:pt x="1124" y="210"/>
                  </a:lnTo>
                  <a:lnTo>
                    <a:pt x="1117" y="205"/>
                  </a:lnTo>
                  <a:lnTo>
                    <a:pt x="1193" y="132"/>
                  </a:lnTo>
                  <a:lnTo>
                    <a:pt x="1205" y="137"/>
                  </a:lnTo>
                  <a:lnTo>
                    <a:pt x="1179" y="153"/>
                  </a:lnTo>
                  <a:lnTo>
                    <a:pt x="1247" y="137"/>
                  </a:lnTo>
                  <a:lnTo>
                    <a:pt x="1335" y="94"/>
                  </a:lnTo>
                  <a:lnTo>
                    <a:pt x="1335" y="111"/>
                  </a:lnTo>
                  <a:lnTo>
                    <a:pt x="1318" y="111"/>
                  </a:lnTo>
                  <a:lnTo>
                    <a:pt x="1330" y="111"/>
                  </a:lnTo>
                  <a:lnTo>
                    <a:pt x="1339" y="137"/>
                  </a:lnTo>
                  <a:lnTo>
                    <a:pt x="1335" y="127"/>
                  </a:lnTo>
                  <a:lnTo>
                    <a:pt x="1339" y="111"/>
                  </a:lnTo>
                  <a:lnTo>
                    <a:pt x="1382" y="99"/>
                  </a:lnTo>
                  <a:lnTo>
                    <a:pt x="1351" y="111"/>
                  </a:lnTo>
                  <a:lnTo>
                    <a:pt x="1335" y="94"/>
                  </a:lnTo>
                  <a:lnTo>
                    <a:pt x="1318" y="94"/>
                  </a:lnTo>
                  <a:lnTo>
                    <a:pt x="1389" y="61"/>
                  </a:lnTo>
                  <a:lnTo>
                    <a:pt x="1372" y="61"/>
                  </a:lnTo>
                  <a:lnTo>
                    <a:pt x="1389" y="61"/>
                  </a:lnTo>
                  <a:lnTo>
                    <a:pt x="1368" y="70"/>
                  </a:lnTo>
                  <a:lnTo>
                    <a:pt x="1382" y="78"/>
                  </a:lnTo>
                  <a:lnTo>
                    <a:pt x="1405" y="70"/>
                  </a:lnTo>
                  <a:lnTo>
                    <a:pt x="1481" y="61"/>
                  </a:lnTo>
                  <a:lnTo>
                    <a:pt x="1566" y="0"/>
                  </a:lnTo>
                  <a:lnTo>
                    <a:pt x="1583" y="4"/>
                  </a:lnTo>
                  <a:lnTo>
                    <a:pt x="1637" y="21"/>
                  </a:lnTo>
                  <a:lnTo>
                    <a:pt x="1642" y="26"/>
                  </a:lnTo>
                  <a:lnTo>
                    <a:pt x="1625" y="42"/>
                  </a:lnTo>
                  <a:lnTo>
                    <a:pt x="1599" y="54"/>
                  </a:lnTo>
                  <a:lnTo>
                    <a:pt x="1611" y="54"/>
                  </a:lnTo>
                  <a:lnTo>
                    <a:pt x="1611" y="78"/>
                  </a:lnTo>
                  <a:lnTo>
                    <a:pt x="1637" y="61"/>
                  </a:lnTo>
                  <a:lnTo>
                    <a:pt x="1653" y="42"/>
                  </a:lnTo>
                  <a:lnTo>
                    <a:pt x="1670" y="42"/>
                  </a:lnTo>
                  <a:lnTo>
                    <a:pt x="1658" y="26"/>
                  </a:lnTo>
                  <a:lnTo>
                    <a:pt x="1675" y="21"/>
                  </a:lnTo>
                  <a:lnTo>
                    <a:pt x="1675" y="37"/>
                  </a:lnTo>
                  <a:lnTo>
                    <a:pt x="1679" y="26"/>
                  </a:lnTo>
                  <a:lnTo>
                    <a:pt x="1696" y="26"/>
                  </a:lnTo>
                  <a:lnTo>
                    <a:pt x="1712" y="42"/>
                  </a:lnTo>
                  <a:lnTo>
                    <a:pt x="1708" y="54"/>
                  </a:lnTo>
                  <a:lnTo>
                    <a:pt x="1708" y="61"/>
                  </a:lnTo>
                  <a:lnTo>
                    <a:pt x="1734" y="70"/>
                  </a:lnTo>
                  <a:lnTo>
                    <a:pt x="1762" y="54"/>
                  </a:lnTo>
                  <a:lnTo>
                    <a:pt x="1805" y="54"/>
                  </a:lnTo>
                  <a:lnTo>
                    <a:pt x="1875" y="61"/>
                  </a:lnTo>
                  <a:lnTo>
                    <a:pt x="1859" y="82"/>
                  </a:lnTo>
                  <a:lnTo>
                    <a:pt x="1885" y="99"/>
                  </a:lnTo>
                  <a:lnTo>
                    <a:pt x="1842" y="99"/>
                  </a:lnTo>
                  <a:lnTo>
                    <a:pt x="1913" y="99"/>
                  </a:lnTo>
                  <a:lnTo>
                    <a:pt x="1890" y="115"/>
                  </a:lnTo>
                  <a:lnTo>
                    <a:pt x="1944" y="127"/>
                  </a:lnTo>
                  <a:lnTo>
                    <a:pt x="1951" y="115"/>
                  </a:lnTo>
                  <a:lnTo>
                    <a:pt x="1977" y="111"/>
                  </a:lnTo>
                  <a:lnTo>
                    <a:pt x="2003" y="111"/>
                  </a:lnTo>
                  <a:lnTo>
                    <a:pt x="2003" y="115"/>
                  </a:lnTo>
                  <a:lnTo>
                    <a:pt x="2036" y="111"/>
                  </a:lnTo>
                  <a:lnTo>
                    <a:pt x="2090" y="111"/>
                  </a:lnTo>
                  <a:lnTo>
                    <a:pt x="2140" y="132"/>
                  </a:lnTo>
                  <a:lnTo>
                    <a:pt x="2161" y="127"/>
                  </a:lnTo>
                  <a:lnTo>
                    <a:pt x="2192" y="148"/>
                  </a:lnTo>
                  <a:lnTo>
                    <a:pt x="2322" y="153"/>
                  </a:lnTo>
                  <a:lnTo>
                    <a:pt x="2381" y="181"/>
                  </a:lnTo>
                  <a:lnTo>
                    <a:pt x="2501" y="153"/>
                  </a:lnTo>
                  <a:lnTo>
                    <a:pt x="2544" y="170"/>
                  </a:lnTo>
                  <a:lnTo>
                    <a:pt x="2641" y="222"/>
                  </a:lnTo>
                  <a:lnTo>
                    <a:pt x="2662" y="222"/>
                  </a:lnTo>
                  <a:lnTo>
                    <a:pt x="2662" y="222"/>
                  </a:lnTo>
                  <a:lnTo>
                    <a:pt x="2662" y="222"/>
                  </a:lnTo>
                  <a:close/>
                  <a:moveTo>
                    <a:pt x="709" y="996"/>
                  </a:moveTo>
                  <a:lnTo>
                    <a:pt x="680" y="996"/>
                  </a:lnTo>
                  <a:lnTo>
                    <a:pt x="654" y="1018"/>
                  </a:lnTo>
                  <a:lnTo>
                    <a:pt x="649" y="1018"/>
                  </a:lnTo>
                  <a:lnTo>
                    <a:pt x="638" y="1001"/>
                  </a:lnTo>
                  <a:lnTo>
                    <a:pt x="612" y="996"/>
                  </a:lnTo>
                  <a:lnTo>
                    <a:pt x="612" y="980"/>
                  </a:lnTo>
                  <a:lnTo>
                    <a:pt x="595" y="968"/>
                  </a:lnTo>
                  <a:lnTo>
                    <a:pt x="557" y="963"/>
                  </a:lnTo>
                  <a:lnTo>
                    <a:pt x="612" y="985"/>
                  </a:lnTo>
                  <a:lnTo>
                    <a:pt x="562" y="963"/>
                  </a:lnTo>
                  <a:lnTo>
                    <a:pt x="520" y="980"/>
                  </a:lnTo>
                  <a:lnTo>
                    <a:pt x="503" y="968"/>
                  </a:lnTo>
                  <a:lnTo>
                    <a:pt x="503" y="959"/>
                  </a:lnTo>
                  <a:lnTo>
                    <a:pt x="508" y="923"/>
                  </a:lnTo>
                  <a:lnTo>
                    <a:pt x="524" y="947"/>
                  </a:lnTo>
                  <a:lnTo>
                    <a:pt x="562" y="947"/>
                  </a:lnTo>
                  <a:lnTo>
                    <a:pt x="612" y="930"/>
                  </a:lnTo>
                  <a:lnTo>
                    <a:pt x="664" y="968"/>
                  </a:lnTo>
                  <a:lnTo>
                    <a:pt x="718" y="980"/>
                  </a:lnTo>
                  <a:lnTo>
                    <a:pt x="709" y="996"/>
                  </a:lnTo>
                  <a:lnTo>
                    <a:pt x="709" y="996"/>
                  </a:lnTo>
                  <a:lnTo>
                    <a:pt x="709" y="996"/>
                  </a:lnTo>
                  <a:close/>
                  <a:moveTo>
                    <a:pt x="1167" y="947"/>
                  </a:moveTo>
                  <a:lnTo>
                    <a:pt x="1141" y="947"/>
                  </a:lnTo>
                  <a:lnTo>
                    <a:pt x="1150" y="940"/>
                  </a:lnTo>
                  <a:lnTo>
                    <a:pt x="1167" y="947"/>
                  </a:lnTo>
                  <a:lnTo>
                    <a:pt x="1167" y="947"/>
                  </a:lnTo>
                  <a:lnTo>
                    <a:pt x="1167" y="947"/>
                  </a:lnTo>
                  <a:close/>
                  <a:moveTo>
                    <a:pt x="2166" y="1244"/>
                  </a:moveTo>
                  <a:lnTo>
                    <a:pt x="2178" y="1256"/>
                  </a:lnTo>
                  <a:lnTo>
                    <a:pt x="2161" y="1256"/>
                  </a:lnTo>
                  <a:lnTo>
                    <a:pt x="2166" y="1244"/>
                  </a:lnTo>
                  <a:lnTo>
                    <a:pt x="2166" y="1244"/>
                  </a:lnTo>
                  <a:lnTo>
                    <a:pt x="2166" y="1244"/>
                  </a:lnTo>
                  <a:close/>
                  <a:moveTo>
                    <a:pt x="2263" y="1244"/>
                  </a:moveTo>
                  <a:lnTo>
                    <a:pt x="2263" y="1256"/>
                  </a:lnTo>
                  <a:lnTo>
                    <a:pt x="2253" y="1256"/>
                  </a:lnTo>
                  <a:lnTo>
                    <a:pt x="2263" y="1244"/>
                  </a:lnTo>
                  <a:lnTo>
                    <a:pt x="2263" y="1244"/>
                  </a:lnTo>
                  <a:lnTo>
                    <a:pt x="2263" y="1244"/>
                  </a:lnTo>
                  <a:close/>
                  <a:moveTo>
                    <a:pt x="978" y="1244"/>
                  </a:moveTo>
                  <a:lnTo>
                    <a:pt x="990" y="1256"/>
                  </a:lnTo>
                  <a:lnTo>
                    <a:pt x="978" y="1256"/>
                  </a:lnTo>
                  <a:lnTo>
                    <a:pt x="978" y="1244"/>
                  </a:lnTo>
                  <a:lnTo>
                    <a:pt x="978" y="1244"/>
                  </a:lnTo>
                  <a:lnTo>
                    <a:pt x="978" y="1244"/>
                  </a:lnTo>
                  <a:close/>
                  <a:moveTo>
                    <a:pt x="2161" y="1263"/>
                  </a:moveTo>
                  <a:lnTo>
                    <a:pt x="2161" y="1273"/>
                  </a:lnTo>
                  <a:lnTo>
                    <a:pt x="2154" y="1263"/>
                  </a:lnTo>
                  <a:lnTo>
                    <a:pt x="2161" y="1263"/>
                  </a:lnTo>
                  <a:lnTo>
                    <a:pt x="2161" y="1263"/>
                  </a:lnTo>
                  <a:lnTo>
                    <a:pt x="2161" y="1263"/>
                  </a:lnTo>
                  <a:close/>
                  <a:moveTo>
                    <a:pt x="2183" y="1263"/>
                  </a:moveTo>
                  <a:lnTo>
                    <a:pt x="2183" y="1273"/>
                  </a:lnTo>
                  <a:lnTo>
                    <a:pt x="2178" y="1273"/>
                  </a:lnTo>
                  <a:lnTo>
                    <a:pt x="2166" y="1263"/>
                  </a:lnTo>
                  <a:lnTo>
                    <a:pt x="2183" y="1263"/>
                  </a:lnTo>
                  <a:lnTo>
                    <a:pt x="2183" y="1263"/>
                  </a:lnTo>
                  <a:lnTo>
                    <a:pt x="2183" y="1263"/>
                  </a:lnTo>
                  <a:close/>
                  <a:moveTo>
                    <a:pt x="2216" y="1273"/>
                  </a:moveTo>
                  <a:lnTo>
                    <a:pt x="2220" y="1273"/>
                  </a:lnTo>
                  <a:lnTo>
                    <a:pt x="2209" y="1280"/>
                  </a:lnTo>
                  <a:lnTo>
                    <a:pt x="2216" y="1273"/>
                  </a:lnTo>
                  <a:lnTo>
                    <a:pt x="2216" y="1273"/>
                  </a:lnTo>
                  <a:lnTo>
                    <a:pt x="2216" y="1273"/>
                  </a:lnTo>
                  <a:close/>
                  <a:moveTo>
                    <a:pt x="470" y="1313"/>
                  </a:moveTo>
                  <a:lnTo>
                    <a:pt x="449" y="1313"/>
                  </a:lnTo>
                  <a:lnTo>
                    <a:pt x="416" y="1289"/>
                  </a:lnTo>
                  <a:lnTo>
                    <a:pt x="423" y="1280"/>
                  </a:lnTo>
                  <a:lnTo>
                    <a:pt x="432" y="1296"/>
                  </a:lnTo>
                  <a:lnTo>
                    <a:pt x="470" y="1313"/>
                  </a:lnTo>
                  <a:lnTo>
                    <a:pt x="470" y="1313"/>
                  </a:lnTo>
                  <a:lnTo>
                    <a:pt x="470" y="1313"/>
                  </a:lnTo>
                  <a:close/>
                  <a:moveTo>
                    <a:pt x="1897" y="1296"/>
                  </a:moveTo>
                  <a:lnTo>
                    <a:pt x="1890" y="1301"/>
                  </a:lnTo>
                  <a:lnTo>
                    <a:pt x="1897" y="1289"/>
                  </a:lnTo>
                  <a:lnTo>
                    <a:pt x="1897" y="1296"/>
                  </a:lnTo>
                  <a:lnTo>
                    <a:pt x="1897" y="1296"/>
                  </a:lnTo>
                  <a:lnTo>
                    <a:pt x="1897" y="1296"/>
                  </a:lnTo>
                  <a:close/>
                  <a:moveTo>
                    <a:pt x="2199" y="1296"/>
                  </a:moveTo>
                  <a:lnTo>
                    <a:pt x="2192" y="1301"/>
                  </a:lnTo>
                  <a:lnTo>
                    <a:pt x="2199" y="1301"/>
                  </a:lnTo>
                  <a:lnTo>
                    <a:pt x="2192" y="1329"/>
                  </a:lnTo>
                  <a:lnTo>
                    <a:pt x="2178" y="1318"/>
                  </a:lnTo>
                  <a:lnTo>
                    <a:pt x="2192" y="1296"/>
                  </a:lnTo>
                  <a:lnTo>
                    <a:pt x="2192" y="1289"/>
                  </a:lnTo>
                  <a:lnTo>
                    <a:pt x="2199" y="1296"/>
                  </a:lnTo>
                  <a:lnTo>
                    <a:pt x="2199" y="1296"/>
                  </a:lnTo>
                  <a:lnTo>
                    <a:pt x="2199" y="1296"/>
                  </a:lnTo>
                  <a:close/>
                  <a:moveTo>
                    <a:pt x="2305" y="1301"/>
                  </a:moveTo>
                  <a:lnTo>
                    <a:pt x="2268" y="1318"/>
                  </a:lnTo>
                  <a:lnTo>
                    <a:pt x="2268" y="1313"/>
                  </a:lnTo>
                  <a:lnTo>
                    <a:pt x="2275" y="1301"/>
                  </a:lnTo>
                  <a:lnTo>
                    <a:pt x="2263" y="1301"/>
                  </a:lnTo>
                  <a:lnTo>
                    <a:pt x="2268" y="1296"/>
                  </a:lnTo>
                  <a:lnTo>
                    <a:pt x="2305" y="1301"/>
                  </a:lnTo>
                  <a:lnTo>
                    <a:pt x="2305" y="1301"/>
                  </a:lnTo>
                  <a:lnTo>
                    <a:pt x="2305" y="1301"/>
                  </a:lnTo>
                  <a:close/>
                  <a:moveTo>
                    <a:pt x="902" y="1301"/>
                  </a:moveTo>
                  <a:lnTo>
                    <a:pt x="902" y="1313"/>
                  </a:lnTo>
                  <a:lnTo>
                    <a:pt x="935" y="1313"/>
                  </a:lnTo>
                  <a:lnTo>
                    <a:pt x="935" y="1334"/>
                  </a:lnTo>
                  <a:lnTo>
                    <a:pt x="940" y="1351"/>
                  </a:lnTo>
                  <a:lnTo>
                    <a:pt x="898" y="1355"/>
                  </a:lnTo>
                  <a:lnTo>
                    <a:pt x="902" y="1367"/>
                  </a:lnTo>
                  <a:lnTo>
                    <a:pt x="898" y="1372"/>
                  </a:lnTo>
                  <a:lnTo>
                    <a:pt x="831" y="1346"/>
                  </a:lnTo>
                  <a:lnTo>
                    <a:pt x="810" y="1329"/>
                  </a:lnTo>
                  <a:lnTo>
                    <a:pt x="848" y="1318"/>
                  </a:lnTo>
                  <a:lnTo>
                    <a:pt x="869" y="1301"/>
                  </a:lnTo>
                  <a:lnTo>
                    <a:pt x="902" y="1301"/>
                  </a:lnTo>
                  <a:lnTo>
                    <a:pt x="902" y="1301"/>
                  </a:lnTo>
                  <a:lnTo>
                    <a:pt x="902" y="1301"/>
                  </a:lnTo>
                  <a:close/>
                  <a:moveTo>
                    <a:pt x="2376" y="1301"/>
                  </a:moveTo>
                  <a:lnTo>
                    <a:pt x="2376" y="1313"/>
                  </a:lnTo>
                  <a:lnTo>
                    <a:pt x="2360" y="1313"/>
                  </a:lnTo>
                  <a:lnTo>
                    <a:pt x="2376" y="1301"/>
                  </a:lnTo>
                  <a:lnTo>
                    <a:pt x="2376" y="1301"/>
                  </a:lnTo>
                  <a:lnTo>
                    <a:pt x="2376" y="1301"/>
                  </a:lnTo>
                  <a:close/>
                  <a:moveTo>
                    <a:pt x="2178" y="1301"/>
                  </a:moveTo>
                  <a:lnTo>
                    <a:pt x="2166" y="1313"/>
                  </a:lnTo>
                  <a:lnTo>
                    <a:pt x="2161" y="1313"/>
                  </a:lnTo>
                  <a:lnTo>
                    <a:pt x="2178" y="1301"/>
                  </a:lnTo>
                  <a:lnTo>
                    <a:pt x="2178" y="1301"/>
                  </a:lnTo>
                  <a:lnTo>
                    <a:pt x="2178" y="1301"/>
                  </a:lnTo>
                  <a:close/>
                  <a:moveTo>
                    <a:pt x="2246" y="1313"/>
                  </a:moveTo>
                  <a:lnTo>
                    <a:pt x="2209" y="1355"/>
                  </a:lnTo>
                  <a:lnTo>
                    <a:pt x="2178" y="1367"/>
                  </a:lnTo>
                  <a:lnTo>
                    <a:pt x="2183" y="1351"/>
                  </a:lnTo>
                  <a:lnTo>
                    <a:pt x="2216" y="1334"/>
                  </a:lnTo>
                  <a:lnTo>
                    <a:pt x="2230" y="1301"/>
                  </a:lnTo>
                  <a:lnTo>
                    <a:pt x="2246" y="1313"/>
                  </a:lnTo>
                  <a:lnTo>
                    <a:pt x="2246" y="1313"/>
                  </a:lnTo>
                  <a:lnTo>
                    <a:pt x="2246" y="1313"/>
                  </a:lnTo>
                  <a:close/>
                  <a:moveTo>
                    <a:pt x="2166" y="1329"/>
                  </a:moveTo>
                  <a:lnTo>
                    <a:pt x="2161" y="1346"/>
                  </a:lnTo>
                  <a:lnTo>
                    <a:pt x="2154" y="1346"/>
                  </a:lnTo>
                  <a:lnTo>
                    <a:pt x="2166" y="1329"/>
                  </a:lnTo>
                  <a:lnTo>
                    <a:pt x="2166" y="1329"/>
                  </a:lnTo>
                  <a:lnTo>
                    <a:pt x="2166" y="1329"/>
                  </a:lnTo>
                  <a:close/>
                  <a:moveTo>
                    <a:pt x="2183" y="1334"/>
                  </a:moveTo>
                  <a:lnTo>
                    <a:pt x="2161" y="1346"/>
                  </a:lnTo>
                  <a:lnTo>
                    <a:pt x="2178" y="1329"/>
                  </a:lnTo>
                  <a:lnTo>
                    <a:pt x="2183" y="1334"/>
                  </a:lnTo>
                  <a:lnTo>
                    <a:pt x="2183" y="1334"/>
                  </a:lnTo>
                  <a:lnTo>
                    <a:pt x="2183" y="1334"/>
                  </a:lnTo>
                  <a:close/>
                  <a:moveTo>
                    <a:pt x="1788" y="1407"/>
                  </a:moveTo>
                  <a:lnTo>
                    <a:pt x="1800" y="1412"/>
                  </a:lnTo>
                  <a:lnTo>
                    <a:pt x="1783" y="1412"/>
                  </a:lnTo>
                  <a:lnTo>
                    <a:pt x="1788" y="1407"/>
                  </a:lnTo>
                  <a:lnTo>
                    <a:pt x="1788" y="1407"/>
                  </a:lnTo>
                  <a:lnTo>
                    <a:pt x="1788" y="1407"/>
                  </a:lnTo>
                  <a:close/>
                  <a:moveTo>
                    <a:pt x="1247" y="1483"/>
                  </a:moveTo>
                  <a:lnTo>
                    <a:pt x="1280" y="1474"/>
                  </a:lnTo>
                  <a:lnTo>
                    <a:pt x="1264" y="1495"/>
                  </a:lnTo>
                  <a:lnTo>
                    <a:pt x="1259" y="1500"/>
                  </a:lnTo>
                  <a:lnTo>
                    <a:pt x="1247" y="1483"/>
                  </a:lnTo>
                  <a:lnTo>
                    <a:pt x="1247" y="1483"/>
                  </a:lnTo>
                  <a:lnTo>
                    <a:pt x="1247" y="1483"/>
                  </a:lnTo>
                  <a:close/>
                  <a:moveTo>
                    <a:pt x="1868" y="1495"/>
                  </a:moveTo>
                  <a:lnTo>
                    <a:pt x="1859" y="1511"/>
                  </a:lnTo>
                  <a:lnTo>
                    <a:pt x="1842" y="1500"/>
                  </a:lnTo>
                  <a:lnTo>
                    <a:pt x="1868" y="1495"/>
                  </a:lnTo>
                  <a:lnTo>
                    <a:pt x="1868" y="1495"/>
                  </a:lnTo>
                  <a:lnTo>
                    <a:pt x="1868" y="1495"/>
                  </a:lnTo>
                  <a:close/>
                  <a:moveTo>
                    <a:pt x="1842" y="1552"/>
                  </a:moveTo>
                  <a:lnTo>
                    <a:pt x="1831" y="1556"/>
                  </a:lnTo>
                  <a:lnTo>
                    <a:pt x="1805" y="1540"/>
                  </a:lnTo>
                  <a:lnTo>
                    <a:pt x="1831" y="1540"/>
                  </a:lnTo>
                  <a:lnTo>
                    <a:pt x="1814" y="1533"/>
                  </a:lnTo>
                  <a:lnTo>
                    <a:pt x="1838" y="1528"/>
                  </a:lnTo>
                  <a:lnTo>
                    <a:pt x="1838" y="1516"/>
                  </a:lnTo>
                  <a:lnTo>
                    <a:pt x="1842" y="1511"/>
                  </a:lnTo>
                  <a:lnTo>
                    <a:pt x="1859" y="1516"/>
                  </a:lnTo>
                  <a:lnTo>
                    <a:pt x="1868" y="1511"/>
                  </a:lnTo>
                  <a:lnTo>
                    <a:pt x="1890" y="1528"/>
                  </a:lnTo>
                  <a:lnTo>
                    <a:pt x="1885" y="1540"/>
                  </a:lnTo>
                  <a:lnTo>
                    <a:pt x="1875" y="1528"/>
                  </a:lnTo>
                  <a:lnTo>
                    <a:pt x="1868" y="1533"/>
                  </a:lnTo>
                  <a:lnTo>
                    <a:pt x="1875" y="1540"/>
                  </a:lnTo>
                  <a:lnTo>
                    <a:pt x="1852" y="1540"/>
                  </a:lnTo>
                  <a:lnTo>
                    <a:pt x="1842" y="1552"/>
                  </a:lnTo>
                  <a:lnTo>
                    <a:pt x="1842" y="1552"/>
                  </a:lnTo>
                  <a:lnTo>
                    <a:pt x="1842" y="1552"/>
                  </a:lnTo>
                  <a:close/>
                  <a:moveTo>
                    <a:pt x="3116" y="1606"/>
                  </a:moveTo>
                  <a:lnTo>
                    <a:pt x="3085" y="1516"/>
                  </a:lnTo>
                  <a:lnTo>
                    <a:pt x="3111" y="1540"/>
                  </a:lnTo>
                  <a:lnTo>
                    <a:pt x="3137" y="1540"/>
                  </a:lnTo>
                  <a:lnTo>
                    <a:pt x="3165" y="1589"/>
                  </a:lnTo>
                  <a:lnTo>
                    <a:pt x="3132" y="1552"/>
                  </a:lnTo>
                  <a:lnTo>
                    <a:pt x="3132" y="1573"/>
                  </a:lnTo>
                  <a:lnTo>
                    <a:pt x="3165" y="1611"/>
                  </a:lnTo>
                  <a:lnTo>
                    <a:pt x="3149" y="1611"/>
                  </a:lnTo>
                  <a:lnTo>
                    <a:pt x="3165" y="1622"/>
                  </a:lnTo>
                  <a:lnTo>
                    <a:pt x="3153" y="1627"/>
                  </a:lnTo>
                  <a:lnTo>
                    <a:pt x="3137" y="1622"/>
                  </a:lnTo>
                  <a:lnTo>
                    <a:pt x="3149" y="1639"/>
                  </a:lnTo>
                  <a:lnTo>
                    <a:pt x="3116" y="1660"/>
                  </a:lnTo>
                  <a:lnTo>
                    <a:pt x="3111" y="1639"/>
                  </a:lnTo>
                  <a:lnTo>
                    <a:pt x="3116" y="1622"/>
                  </a:lnTo>
                  <a:lnTo>
                    <a:pt x="3132" y="1627"/>
                  </a:lnTo>
                  <a:lnTo>
                    <a:pt x="3116" y="1611"/>
                  </a:lnTo>
                  <a:lnTo>
                    <a:pt x="3132" y="1606"/>
                  </a:lnTo>
                  <a:lnTo>
                    <a:pt x="3116" y="1606"/>
                  </a:lnTo>
                  <a:lnTo>
                    <a:pt x="3116" y="1606"/>
                  </a:lnTo>
                  <a:lnTo>
                    <a:pt x="3116" y="1606"/>
                  </a:lnTo>
                  <a:close/>
                  <a:moveTo>
                    <a:pt x="3040" y="1516"/>
                  </a:moveTo>
                  <a:lnTo>
                    <a:pt x="3047" y="1516"/>
                  </a:lnTo>
                  <a:lnTo>
                    <a:pt x="3031" y="1516"/>
                  </a:lnTo>
                  <a:lnTo>
                    <a:pt x="3040" y="1516"/>
                  </a:lnTo>
                  <a:lnTo>
                    <a:pt x="3040" y="1516"/>
                  </a:lnTo>
                  <a:lnTo>
                    <a:pt x="3040" y="1516"/>
                  </a:lnTo>
                  <a:close/>
                  <a:moveTo>
                    <a:pt x="3116" y="1516"/>
                  </a:moveTo>
                  <a:lnTo>
                    <a:pt x="3132" y="1533"/>
                  </a:lnTo>
                  <a:lnTo>
                    <a:pt x="3111" y="1528"/>
                  </a:lnTo>
                  <a:lnTo>
                    <a:pt x="3116" y="1516"/>
                  </a:lnTo>
                  <a:lnTo>
                    <a:pt x="3116" y="1516"/>
                  </a:lnTo>
                  <a:lnTo>
                    <a:pt x="3116" y="1516"/>
                  </a:lnTo>
                  <a:close/>
                  <a:moveTo>
                    <a:pt x="3078" y="1585"/>
                  </a:moveTo>
                  <a:lnTo>
                    <a:pt x="3023" y="1556"/>
                  </a:lnTo>
                  <a:lnTo>
                    <a:pt x="3061" y="1589"/>
                  </a:lnTo>
                  <a:lnTo>
                    <a:pt x="3085" y="1585"/>
                  </a:lnTo>
                  <a:lnTo>
                    <a:pt x="3094" y="1594"/>
                  </a:lnTo>
                  <a:lnTo>
                    <a:pt x="3094" y="1611"/>
                  </a:lnTo>
                  <a:lnTo>
                    <a:pt x="3078" y="1611"/>
                  </a:lnTo>
                  <a:lnTo>
                    <a:pt x="3023" y="1585"/>
                  </a:lnTo>
                  <a:lnTo>
                    <a:pt x="3047" y="1594"/>
                  </a:lnTo>
                  <a:lnTo>
                    <a:pt x="3047" y="1611"/>
                  </a:lnTo>
                  <a:lnTo>
                    <a:pt x="3031" y="1622"/>
                  </a:lnTo>
                  <a:lnTo>
                    <a:pt x="3023" y="1622"/>
                  </a:lnTo>
                  <a:lnTo>
                    <a:pt x="3019" y="1606"/>
                  </a:lnTo>
                  <a:lnTo>
                    <a:pt x="3031" y="1611"/>
                  </a:lnTo>
                  <a:lnTo>
                    <a:pt x="3009" y="1594"/>
                  </a:lnTo>
                  <a:lnTo>
                    <a:pt x="3019" y="1594"/>
                  </a:lnTo>
                  <a:lnTo>
                    <a:pt x="2986" y="1573"/>
                  </a:lnTo>
                  <a:lnTo>
                    <a:pt x="2993" y="1556"/>
                  </a:lnTo>
                  <a:lnTo>
                    <a:pt x="3009" y="1573"/>
                  </a:lnTo>
                  <a:lnTo>
                    <a:pt x="2986" y="1540"/>
                  </a:lnTo>
                  <a:lnTo>
                    <a:pt x="2986" y="1533"/>
                  </a:lnTo>
                  <a:lnTo>
                    <a:pt x="3002" y="1552"/>
                  </a:lnTo>
                  <a:lnTo>
                    <a:pt x="3002" y="1533"/>
                  </a:lnTo>
                  <a:lnTo>
                    <a:pt x="3031" y="1528"/>
                  </a:lnTo>
                  <a:lnTo>
                    <a:pt x="3047" y="1540"/>
                  </a:lnTo>
                  <a:lnTo>
                    <a:pt x="3040" y="1552"/>
                  </a:lnTo>
                  <a:lnTo>
                    <a:pt x="3031" y="1552"/>
                  </a:lnTo>
                  <a:lnTo>
                    <a:pt x="3031" y="1556"/>
                  </a:lnTo>
                  <a:lnTo>
                    <a:pt x="3040" y="1556"/>
                  </a:lnTo>
                  <a:lnTo>
                    <a:pt x="3057" y="1540"/>
                  </a:lnTo>
                  <a:lnTo>
                    <a:pt x="3085" y="1556"/>
                  </a:lnTo>
                  <a:lnTo>
                    <a:pt x="3085" y="1573"/>
                  </a:lnTo>
                  <a:lnTo>
                    <a:pt x="3073" y="1568"/>
                  </a:lnTo>
                  <a:lnTo>
                    <a:pt x="3085" y="1573"/>
                  </a:lnTo>
                  <a:lnTo>
                    <a:pt x="3078" y="1585"/>
                  </a:lnTo>
                  <a:lnTo>
                    <a:pt x="3078" y="1585"/>
                  </a:lnTo>
                  <a:lnTo>
                    <a:pt x="3078" y="1585"/>
                  </a:lnTo>
                  <a:close/>
                  <a:moveTo>
                    <a:pt x="1805" y="1540"/>
                  </a:moveTo>
                  <a:lnTo>
                    <a:pt x="1831" y="1556"/>
                  </a:lnTo>
                  <a:lnTo>
                    <a:pt x="1788" y="1552"/>
                  </a:lnTo>
                  <a:lnTo>
                    <a:pt x="1805" y="1540"/>
                  </a:lnTo>
                  <a:lnTo>
                    <a:pt x="1805" y="1540"/>
                  </a:lnTo>
                  <a:lnTo>
                    <a:pt x="1805" y="1540"/>
                  </a:lnTo>
                  <a:close/>
                  <a:moveTo>
                    <a:pt x="2976" y="1552"/>
                  </a:moveTo>
                  <a:lnTo>
                    <a:pt x="2993" y="1556"/>
                  </a:lnTo>
                  <a:lnTo>
                    <a:pt x="2986" y="1573"/>
                  </a:lnTo>
                  <a:lnTo>
                    <a:pt x="2976" y="1556"/>
                  </a:lnTo>
                  <a:lnTo>
                    <a:pt x="2976" y="1552"/>
                  </a:lnTo>
                  <a:lnTo>
                    <a:pt x="2976" y="1552"/>
                  </a:lnTo>
                  <a:lnTo>
                    <a:pt x="2976" y="1552"/>
                  </a:lnTo>
                  <a:close/>
                  <a:moveTo>
                    <a:pt x="1783" y="1594"/>
                  </a:moveTo>
                  <a:lnTo>
                    <a:pt x="1762" y="1589"/>
                  </a:lnTo>
                  <a:lnTo>
                    <a:pt x="1762" y="1573"/>
                  </a:lnTo>
                  <a:lnTo>
                    <a:pt x="1767" y="1568"/>
                  </a:lnTo>
                  <a:lnTo>
                    <a:pt x="1783" y="1573"/>
                  </a:lnTo>
                  <a:lnTo>
                    <a:pt x="1788" y="1594"/>
                  </a:lnTo>
                  <a:lnTo>
                    <a:pt x="1800" y="1589"/>
                  </a:lnTo>
                  <a:lnTo>
                    <a:pt x="1788" y="1573"/>
                  </a:lnTo>
                  <a:lnTo>
                    <a:pt x="1821" y="1573"/>
                  </a:lnTo>
                  <a:lnTo>
                    <a:pt x="1805" y="1556"/>
                  </a:lnTo>
                  <a:lnTo>
                    <a:pt x="1838" y="1568"/>
                  </a:lnTo>
                  <a:lnTo>
                    <a:pt x="1831" y="1573"/>
                  </a:lnTo>
                  <a:lnTo>
                    <a:pt x="1831" y="1589"/>
                  </a:lnTo>
                  <a:lnTo>
                    <a:pt x="1838" y="1573"/>
                  </a:lnTo>
                  <a:lnTo>
                    <a:pt x="1859" y="1568"/>
                  </a:lnTo>
                  <a:lnTo>
                    <a:pt x="1868" y="1573"/>
                  </a:lnTo>
                  <a:lnTo>
                    <a:pt x="1852" y="1589"/>
                  </a:lnTo>
                  <a:lnTo>
                    <a:pt x="1859" y="1594"/>
                  </a:lnTo>
                  <a:lnTo>
                    <a:pt x="1885" y="1594"/>
                  </a:lnTo>
                  <a:lnTo>
                    <a:pt x="1868" y="1622"/>
                  </a:lnTo>
                  <a:lnTo>
                    <a:pt x="1838" y="1606"/>
                  </a:lnTo>
                  <a:lnTo>
                    <a:pt x="1821" y="1611"/>
                  </a:lnTo>
                  <a:lnTo>
                    <a:pt x="1852" y="1622"/>
                  </a:lnTo>
                  <a:lnTo>
                    <a:pt x="1842" y="1627"/>
                  </a:lnTo>
                  <a:lnTo>
                    <a:pt x="1814" y="1627"/>
                  </a:lnTo>
                  <a:lnTo>
                    <a:pt x="1821" y="1639"/>
                  </a:lnTo>
                  <a:lnTo>
                    <a:pt x="1767" y="1651"/>
                  </a:lnTo>
                  <a:lnTo>
                    <a:pt x="1783" y="1660"/>
                  </a:lnTo>
                  <a:lnTo>
                    <a:pt x="1750" y="1684"/>
                  </a:lnTo>
                  <a:lnTo>
                    <a:pt x="1746" y="1684"/>
                  </a:lnTo>
                  <a:lnTo>
                    <a:pt x="1767" y="1660"/>
                  </a:lnTo>
                  <a:lnTo>
                    <a:pt x="1750" y="1667"/>
                  </a:lnTo>
                  <a:lnTo>
                    <a:pt x="1767" y="1644"/>
                  </a:lnTo>
                  <a:lnTo>
                    <a:pt x="1746" y="1667"/>
                  </a:lnTo>
                  <a:lnTo>
                    <a:pt x="1750" y="1651"/>
                  </a:lnTo>
                  <a:lnTo>
                    <a:pt x="1724" y="1644"/>
                  </a:lnTo>
                  <a:lnTo>
                    <a:pt x="1724" y="1651"/>
                  </a:lnTo>
                  <a:lnTo>
                    <a:pt x="1746" y="1651"/>
                  </a:lnTo>
                  <a:lnTo>
                    <a:pt x="1729" y="1677"/>
                  </a:lnTo>
                  <a:lnTo>
                    <a:pt x="1712" y="1660"/>
                  </a:lnTo>
                  <a:lnTo>
                    <a:pt x="1708" y="1639"/>
                  </a:lnTo>
                  <a:lnTo>
                    <a:pt x="1696" y="1627"/>
                  </a:lnTo>
                  <a:lnTo>
                    <a:pt x="1708" y="1606"/>
                  </a:lnTo>
                  <a:lnTo>
                    <a:pt x="1734" y="1589"/>
                  </a:lnTo>
                  <a:lnTo>
                    <a:pt x="1750" y="1594"/>
                  </a:lnTo>
                  <a:lnTo>
                    <a:pt x="1762" y="1622"/>
                  </a:lnTo>
                  <a:lnTo>
                    <a:pt x="1776" y="1639"/>
                  </a:lnTo>
                  <a:lnTo>
                    <a:pt x="1767" y="1622"/>
                  </a:lnTo>
                  <a:lnTo>
                    <a:pt x="1762" y="1594"/>
                  </a:lnTo>
                  <a:lnTo>
                    <a:pt x="1783" y="1594"/>
                  </a:lnTo>
                  <a:lnTo>
                    <a:pt x="1783" y="1594"/>
                  </a:lnTo>
                  <a:lnTo>
                    <a:pt x="1783" y="1594"/>
                  </a:lnTo>
                  <a:close/>
                  <a:moveTo>
                    <a:pt x="1868" y="1568"/>
                  </a:moveTo>
                  <a:lnTo>
                    <a:pt x="1859" y="1568"/>
                  </a:lnTo>
                  <a:lnTo>
                    <a:pt x="1868" y="1568"/>
                  </a:lnTo>
                  <a:lnTo>
                    <a:pt x="1868" y="1568"/>
                  </a:lnTo>
                  <a:lnTo>
                    <a:pt x="1868" y="1568"/>
                  </a:lnTo>
                  <a:close/>
                  <a:moveTo>
                    <a:pt x="1788" y="1556"/>
                  </a:moveTo>
                  <a:lnTo>
                    <a:pt x="1805" y="1573"/>
                  </a:lnTo>
                  <a:lnTo>
                    <a:pt x="1783" y="1568"/>
                  </a:lnTo>
                  <a:lnTo>
                    <a:pt x="1788" y="1556"/>
                  </a:lnTo>
                  <a:lnTo>
                    <a:pt x="1788" y="1556"/>
                  </a:lnTo>
                  <a:lnTo>
                    <a:pt x="1788" y="1556"/>
                  </a:lnTo>
                  <a:close/>
                  <a:moveTo>
                    <a:pt x="3111" y="1705"/>
                  </a:moveTo>
                  <a:lnTo>
                    <a:pt x="3111" y="1750"/>
                  </a:lnTo>
                  <a:lnTo>
                    <a:pt x="3078" y="1705"/>
                  </a:lnTo>
                  <a:lnTo>
                    <a:pt x="3094" y="1693"/>
                  </a:lnTo>
                  <a:lnTo>
                    <a:pt x="3078" y="1700"/>
                  </a:lnTo>
                  <a:lnTo>
                    <a:pt x="3073" y="1693"/>
                  </a:lnTo>
                  <a:lnTo>
                    <a:pt x="3078" y="1677"/>
                  </a:lnTo>
                  <a:lnTo>
                    <a:pt x="3057" y="1677"/>
                  </a:lnTo>
                  <a:lnTo>
                    <a:pt x="3057" y="1644"/>
                  </a:lnTo>
                  <a:lnTo>
                    <a:pt x="3061" y="1639"/>
                  </a:lnTo>
                  <a:lnTo>
                    <a:pt x="3047" y="1639"/>
                  </a:lnTo>
                  <a:lnTo>
                    <a:pt x="3040" y="1622"/>
                  </a:lnTo>
                  <a:lnTo>
                    <a:pt x="3047" y="1622"/>
                  </a:lnTo>
                  <a:lnTo>
                    <a:pt x="3047" y="1606"/>
                  </a:lnTo>
                  <a:lnTo>
                    <a:pt x="3057" y="1606"/>
                  </a:lnTo>
                  <a:lnTo>
                    <a:pt x="3085" y="1622"/>
                  </a:lnTo>
                  <a:lnTo>
                    <a:pt x="3099" y="1644"/>
                  </a:lnTo>
                  <a:lnTo>
                    <a:pt x="3111" y="1705"/>
                  </a:lnTo>
                  <a:lnTo>
                    <a:pt x="3111" y="1705"/>
                  </a:lnTo>
                  <a:lnTo>
                    <a:pt x="3111" y="1705"/>
                  </a:lnTo>
                  <a:close/>
                  <a:moveTo>
                    <a:pt x="3094" y="1622"/>
                  </a:moveTo>
                  <a:lnTo>
                    <a:pt x="3099" y="1627"/>
                  </a:lnTo>
                  <a:lnTo>
                    <a:pt x="3085" y="1622"/>
                  </a:lnTo>
                  <a:lnTo>
                    <a:pt x="3094" y="1622"/>
                  </a:lnTo>
                  <a:lnTo>
                    <a:pt x="3094" y="1622"/>
                  </a:lnTo>
                  <a:lnTo>
                    <a:pt x="3094" y="1622"/>
                  </a:lnTo>
                  <a:close/>
                  <a:moveTo>
                    <a:pt x="3031" y="1627"/>
                  </a:moveTo>
                  <a:lnTo>
                    <a:pt x="3047" y="1639"/>
                  </a:lnTo>
                  <a:lnTo>
                    <a:pt x="3047" y="1644"/>
                  </a:lnTo>
                  <a:lnTo>
                    <a:pt x="3040" y="1660"/>
                  </a:lnTo>
                  <a:lnTo>
                    <a:pt x="3023" y="1660"/>
                  </a:lnTo>
                  <a:lnTo>
                    <a:pt x="3031" y="1644"/>
                  </a:lnTo>
                  <a:lnTo>
                    <a:pt x="3023" y="1644"/>
                  </a:lnTo>
                  <a:lnTo>
                    <a:pt x="3023" y="1627"/>
                  </a:lnTo>
                  <a:lnTo>
                    <a:pt x="3031" y="1627"/>
                  </a:lnTo>
                  <a:lnTo>
                    <a:pt x="3031" y="1627"/>
                  </a:lnTo>
                  <a:lnTo>
                    <a:pt x="3031" y="1627"/>
                  </a:lnTo>
                  <a:close/>
                  <a:moveTo>
                    <a:pt x="612" y="1651"/>
                  </a:moveTo>
                  <a:lnTo>
                    <a:pt x="600" y="1644"/>
                  </a:lnTo>
                  <a:lnTo>
                    <a:pt x="616" y="1639"/>
                  </a:lnTo>
                  <a:lnTo>
                    <a:pt x="612" y="1651"/>
                  </a:lnTo>
                  <a:lnTo>
                    <a:pt x="612" y="1651"/>
                  </a:lnTo>
                  <a:lnTo>
                    <a:pt x="612" y="1651"/>
                  </a:lnTo>
                  <a:close/>
                  <a:moveTo>
                    <a:pt x="1831" y="1644"/>
                  </a:moveTo>
                  <a:lnTo>
                    <a:pt x="1800" y="1660"/>
                  </a:lnTo>
                  <a:lnTo>
                    <a:pt x="1788" y="1651"/>
                  </a:lnTo>
                  <a:lnTo>
                    <a:pt x="1805" y="1639"/>
                  </a:lnTo>
                  <a:lnTo>
                    <a:pt x="1831" y="1644"/>
                  </a:lnTo>
                  <a:lnTo>
                    <a:pt x="1831" y="1644"/>
                  </a:lnTo>
                  <a:lnTo>
                    <a:pt x="1831" y="1644"/>
                  </a:lnTo>
                  <a:close/>
                  <a:moveTo>
                    <a:pt x="3220" y="1660"/>
                  </a:moveTo>
                  <a:lnTo>
                    <a:pt x="3236" y="1677"/>
                  </a:lnTo>
                  <a:lnTo>
                    <a:pt x="3224" y="1700"/>
                  </a:lnTo>
                  <a:lnTo>
                    <a:pt x="3203" y="1677"/>
                  </a:lnTo>
                  <a:lnTo>
                    <a:pt x="3220" y="1705"/>
                  </a:lnTo>
                  <a:lnTo>
                    <a:pt x="3186" y="1717"/>
                  </a:lnTo>
                  <a:lnTo>
                    <a:pt x="3182" y="1717"/>
                  </a:lnTo>
                  <a:lnTo>
                    <a:pt x="3182" y="1677"/>
                  </a:lnTo>
                  <a:lnTo>
                    <a:pt x="3165" y="1667"/>
                  </a:lnTo>
                  <a:lnTo>
                    <a:pt x="3170" y="1667"/>
                  </a:lnTo>
                  <a:lnTo>
                    <a:pt x="3153" y="1660"/>
                  </a:lnTo>
                  <a:lnTo>
                    <a:pt x="3165" y="1651"/>
                  </a:lnTo>
                  <a:lnTo>
                    <a:pt x="3220" y="1660"/>
                  </a:lnTo>
                  <a:lnTo>
                    <a:pt x="3220" y="1660"/>
                  </a:lnTo>
                  <a:lnTo>
                    <a:pt x="3220" y="1660"/>
                  </a:lnTo>
                  <a:close/>
                  <a:moveTo>
                    <a:pt x="3137" y="1733"/>
                  </a:moveTo>
                  <a:lnTo>
                    <a:pt x="3132" y="1722"/>
                  </a:lnTo>
                  <a:lnTo>
                    <a:pt x="3137" y="1722"/>
                  </a:lnTo>
                  <a:lnTo>
                    <a:pt x="3149" y="1722"/>
                  </a:lnTo>
                  <a:lnTo>
                    <a:pt x="3149" y="1705"/>
                  </a:lnTo>
                  <a:lnTo>
                    <a:pt x="3132" y="1705"/>
                  </a:lnTo>
                  <a:lnTo>
                    <a:pt x="3127" y="1677"/>
                  </a:lnTo>
                  <a:lnTo>
                    <a:pt x="3149" y="1677"/>
                  </a:lnTo>
                  <a:lnTo>
                    <a:pt x="3132" y="1667"/>
                  </a:lnTo>
                  <a:lnTo>
                    <a:pt x="3153" y="1677"/>
                  </a:lnTo>
                  <a:lnTo>
                    <a:pt x="3165" y="1684"/>
                  </a:lnTo>
                  <a:lnTo>
                    <a:pt x="3153" y="1700"/>
                  </a:lnTo>
                  <a:lnTo>
                    <a:pt x="3165" y="1684"/>
                  </a:lnTo>
                  <a:lnTo>
                    <a:pt x="3170" y="1684"/>
                  </a:lnTo>
                  <a:lnTo>
                    <a:pt x="3182" y="1700"/>
                  </a:lnTo>
                  <a:lnTo>
                    <a:pt x="3165" y="1700"/>
                  </a:lnTo>
                  <a:lnTo>
                    <a:pt x="3165" y="1733"/>
                  </a:lnTo>
                  <a:lnTo>
                    <a:pt x="3153" y="1722"/>
                  </a:lnTo>
                  <a:lnTo>
                    <a:pt x="3153" y="1738"/>
                  </a:lnTo>
                  <a:lnTo>
                    <a:pt x="3165" y="1738"/>
                  </a:lnTo>
                  <a:lnTo>
                    <a:pt x="3153" y="1755"/>
                  </a:lnTo>
                  <a:lnTo>
                    <a:pt x="3149" y="1755"/>
                  </a:lnTo>
                  <a:lnTo>
                    <a:pt x="3149" y="1733"/>
                  </a:lnTo>
                  <a:lnTo>
                    <a:pt x="3149" y="1762"/>
                  </a:lnTo>
                  <a:lnTo>
                    <a:pt x="3137" y="1762"/>
                  </a:lnTo>
                  <a:lnTo>
                    <a:pt x="3137" y="1733"/>
                  </a:lnTo>
                  <a:lnTo>
                    <a:pt x="3137" y="1733"/>
                  </a:lnTo>
                  <a:lnTo>
                    <a:pt x="3137" y="1733"/>
                  </a:lnTo>
                  <a:close/>
                  <a:moveTo>
                    <a:pt x="3241" y="1684"/>
                  </a:moveTo>
                  <a:lnTo>
                    <a:pt x="3257" y="1705"/>
                  </a:lnTo>
                  <a:lnTo>
                    <a:pt x="3224" y="1705"/>
                  </a:lnTo>
                  <a:lnTo>
                    <a:pt x="3236" y="1684"/>
                  </a:lnTo>
                  <a:lnTo>
                    <a:pt x="3241" y="1684"/>
                  </a:lnTo>
                  <a:lnTo>
                    <a:pt x="3241" y="1684"/>
                  </a:lnTo>
                  <a:lnTo>
                    <a:pt x="3241" y="1684"/>
                  </a:lnTo>
                  <a:close/>
                  <a:moveTo>
                    <a:pt x="654" y="1705"/>
                  </a:moveTo>
                  <a:lnTo>
                    <a:pt x="638" y="1700"/>
                  </a:lnTo>
                  <a:lnTo>
                    <a:pt x="664" y="1700"/>
                  </a:lnTo>
                  <a:lnTo>
                    <a:pt x="654" y="1705"/>
                  </a:lnTo>
                  <a:lnTo>
                    <a:pt x="654" y="1705"/>
                  </a:lnTo>
                  <a:lnTo>
                    <a:pt x="654" y="1705"/>
                  </a:lnTo>
                  <a:close/>
                  <a:moveTo>
                    <a:pt x="1746" y="1700"/>
                  </a:moveTo>
                  <a:lnTo>
                    <a:pt x="1734" y="1717"/>
                  </a:lnTo>
                  <a:lnTo>
                    <a:pt x="1729" y="1705"/>
                  </a:lnTo>
                  <a:lnTo>
                    <a:pt x="1746" y="1700"/>
                  </a:lnTo>
                  <a:lnTo>
                    <a:pt x="1746" y="1700"/>
                  </a:lnTo>
                  <a:lnTo>
                    <a:pt x="1746" y="1700"/>
                  </a:lnTo>
                  <a:close/>
                  <a:moveTo>
                    <a:pt x="1724" y="1700"/>
                  </a:moveTo>
                  <a:lnTo>
                    <a:pt x="1696" y="1722"/>
                  </a:lnTo>
                  <a:lnTo>
                    <a:pt x="1696" y="1705"/>
                  </a:lnTo>
                  <a:lnTo>
                    <a:pt x="1724" y="1700"/>
                  </a:lnTo>
                  <a:lnTo>
                    <a:pt x="1724" y="1700"/>
                  </a:lnTo>
                  <a:lnTo>
                    <a:pt x="1724" y="1700"/>
                  </a:lnTo>
                  <a:close/>
                  <a:moveTo>
                    <a:pt x="1528" y="1700"/>
                  </a:moveTo>
                  <a:lnTo>
                    <a:pt x="1545" y="1705"/>
                  </a:lnTo>
                  <a:lnTo>
                    <a:pt x="1519" y="1705"/>
                  </a:lnTo>
                  <a:lnTo>
                    <a:pt x="1528" y="1700"/>
                  </a:lnTo>
                  <a:lnTo>
                    <a:pt x="1528" y="1700"/>
                  </a:lnTo>
                  <a:lnTo>
                    <a:pt x="1528" y="1700"/>
                  </a:lnTo>
                  <a:close/>
                  <a:moveTo>
                    <a:pt x="3288" y="1755"/>
                  </a:moveTo>
                  <a:lnTo>
                    <a:pt x="3274" y="1733"/>
                  </a:lnTo>
                  <a:lnTo>
                    <a:pt x="3274" y="1717"/>
                  </a:lnTo>
                  <a:lnTo>
                    <a:pt x="3295" y="1733"/>
                  </a:lnTo>
                  <a:lnTo>
                    <a:pt x="3295" y="1738"/>
                  </a:lnTo>
                  <a:lnTo>
                    <a:pt x="3288" y="1755"/>
                  </a:lnTo>
                  <a:lnTo>
                    <a:pt x="3288" y="1755"/>
                  </a:lnTo>
                  <a:lnTo>
                    <a:pt x="3288" y="1755"/>
                  </a:lnTo>
                  <a:close/>
                  <a:moveTo>
                    <a:pt x="3236" y="1738"/>
                  </a:moveTo>
                  <a:lnTo>
                    <a:pt x="3220" y="1733"/>
                  </a:lnTo>
                  <a:lnTo>
                    <a:pt x="3236" y="1717"/>
                  </a:lnTo>
                  <a:lnTo>
                    <a:pt x="3246" y="1717"/>
                  </a:lnTo>
                  <a:lnTo>
                    <a:pt x="3246" y="1733"/>
                  </a:lnTo>
                  <a:lnTo>
                    <a:pt x="3236" y="1738"/>
                  </a:lnTo>
                  <a:lnTo>
                    <a:pt x="3236" y="1738"/>
                  </a:lnTo>
                  <a:lnTo>
                    <a:pt x="3236" y="1738"/>
                  </a:lnTo>
                  <a:close/>
                  <a:moveTo>
                    <a:pt x="3262" y="1717"/>
                  </a:moveTo>
                  <a:lnTo>
                    <a:pt x="3262" y="1722"/>
                  </a:lnTo>
                  <a:lnTo>
                    <a:pt x="3257" y="1722"/>
                  </a:lnTo>
                  <a:lnTo>
                    <a:pt x="3262" y="1717"/>
                  </a:lnTo>
                  <a:lnTo>
                    <a:pt x="3262" y="1717"/>
                  </a:lnTo>
                  <a:lnTo>
                    <a:pt x="3262" y="1717"/>
                  </a:lnTo>
                  <a:close/>
                  <a:moveTo>
                    <a:pt x="3274" y="1771"/>
                  </a:moveTo>
                  <a:lnTo>
                    <a:pt x="3262" y="1755"/>
                  </a:lnTo>
                  <a:lnTo>
                    <a:pt x="3246" y="1755"/>
                  </a:lnTo>
                  <a:lnTo>
                    <a:pt x="3246" y="1738"/>
                  </a:lnTo>
                  <a:lnTo>
                    <a:pt x="3262" y="1722"/>
                  </a:lnTo>
                  <a:lnTo>
                    <a:pt x="3262" y="1738"/>
                  </a:lnTo>
                  <a:lnTo>
                    <a:pt x="3288" y="1755"/>
                  </a:lnTo>
                  <a:lnTo>
                    <a:pt x="3288" y="1771"/>
                  </a:lnTo>
                  <a:lnTo>
                    <a:pt x="3274" y="1771"/>
                  </a:lnTo>
                  <a:lnTo>
                    <a:pt x="3274" y="1771"/>
                  </a:lnTo>
                  <a:lnTo>
                    <a:pt x="3274" y="1771"/>
                  </a:lnTo>
                  <a:close/>
                  <a:moveTo>
                    <a:pt x="3288" y="1816"/>
                  </a:moveTo>
                  <a:lnTo>
                    <a:pt x="3257" y="1804"/>
                  </a:lnTo>
                  <a:lnTo>
                    <a:pt x="3257" y="1811"/>
                  </a:lnTo>
                  <a:lnTo>
                    <a:pt x="3279" y="1816"/>
                  </a:lnTo>
                  <a:lnTo>
                    <a:pt x="3288" y="1833"/>
                  </a:lnTo>
                  <a:lnTo>
                    <a:pt x="3279" y="1844"/>
                  </a:lnTo>
                  <a:lnTo>
                    <a:pt x="3295" y="1833"/>
                  </a:lnTo>
                  <a:lnTo>
                    <a:pt x="3295" y="1849"/>
                  </a:lnTo>
                  <a:lnTo>
                    <a:pt x="3279" y="1866"/>
                  </a:lnTo>
                  <a:lnTo>
                    <a:pt x="3295" y="1861"/>
                  </a:lnTo>
                  <a:lnTo>
                    <a:pt x="3295" y="1899"/>
                  </a:lnTo>
                  <a:lnTo>
                    <a:pt x="3274" y="1889"/>
                  </a:lnTo>
                  <a:lnTo>
                    <a:pt x="3279" y="1882"/>
                  </a:lnTo>
                  <a:lnTo>
                    <a:pt x="3262" y="1866"/>
                  </a:lnTo>
                  <a:lnTo>
                    <a:pt x="3257" y="1866"/>
                  </a:lnTo>
                  <a:lnTo>
                    <a:pt x="3257" y="1849"/>
                  </a:lnTo>
                  <a:lnTo>
                    <a:pt x="3246" y="1833"/>
                  </a:lnTo>
                  <a:lnTo>
                    <a:pt x="3246" y="1849"/>
                  </a:lnTo>
                  <a:lnTo>
                    <a:pt x="3241" y="1844"/>
                  </a:lnTo>
                  <a:lnTo>
                    <a:pt x="3224" y="1844"/>
                  </a:lnTo>
                  <a:lnTo>
                    <a:pt x="3236" y="1833"/>
                  </a:lnTo>
                  <a:lnTo>
                    <a:pt x="3208" y="1833"/>
                  </a:lnTo>
                  <a:lnTo>
                    <a:pt x="3208" y="1828"/>
                  </a:lnTo>
                  <a:lnTo>
                    <a:pt x="3236" y="1828"/>
                  </a:lnTo>
                  <a:lnTo>
                    <a:pt x="3220" y="1811"/>
                  </a:lnTo>
                  <a:lnTo>
                    <a:pt x="3236" y="1804"/>
                  </a:lnTo>
                  <a:lnTo>
                    <a:pt x="3203" y="1804"/>
                  </a:lnTo>
                  <a:lnTo>
                    <a:pt x="3203" y="1788"/>
                  </a:lnTo>
                  <a:lnTo>
                    <a:pt x="3208" y="1788"/>
                  </a:lnTo>
                  <a:lnTo>
                    <a:pt x="3220" y="1771"/>
                  </a:lnTo>
                  <a:lnTo>
                    <a:pt x="3208" y="1771"/>
                  </a:lnTo>
                  <a:lnTo>
                    <a:pt x="3208" y="1750"/>
                  </a:lnTo>
                  <a:lnTo>
                    <a:pt x="3182" y="1738"/>
                  </a:lnTo>
                  <a:lnTo>
                    <a:pt x="3182" y="1733"/>
                  </a:lnTo>
                  <a:lnTo>
                    <a:pt x="3208" y="1733"/>
                  </a:lnTo>
                  <a:lnTo>
                    <a:pt x="3224" y="1750"/>
                  </a:lnTo>
                  <a:lnTo>
                    <a:pt x="3220" y="1750"/>
                  </a:lnTo>
                  <a:lnTo>
                    <a:pt x="3220" y="1755"/>
                  </a:lnTo>
                  <a:lnTo>
                    <a:pt x="3246" y="1771"/>
                  </a:lnTo>
                  <a:lnTo>
                    <a:pt x="3288" y="1816"/>
                  </a:lnTo>
                  <a:lnTo>
                    <a:pt x="3288" y="1816"/>
                  </a:lnTo>
                  <a:lnTo>
                    <a:pt x="3288" y="1816"/>
                  </a:lnTo>
                  <a:close/>
                  <a:moveTo>
                    <a:pt x="3203" y="1750"/>
                  </a:moveTo>
                  <a:lnTo>
                    <a:pt x="3203" y="1762"/>
                  </a:lnTo>
                  <a:lnTo>
                    <a:pt x="3170" y="1771"/>
                  </a:lnTo>
                  <a:lnTo>
                    <a:pt x="3186" y="1750"/>
                  </a:lnTo>
                  <a:lnTo>
                    <a:pt x="3203" y="1750"/>
                  </a:lnTo>
                  <a:lnTo>
                    <a:pt x="3203" y="1750"/>
                  </a:lnTo>
                  <a:lnTo>
                    <a:pt x="3203" y="1750"/>
                  </a:lnTo>
                  <a:close/>
                  <a:moveTo>
                    <a:pt x="3342" y="1833"/>
                  </a:moveTo>
                  <a:lnTo>
                    <a:pt x="3333" y="1833"/>
                  </a:lnTo>
                  <a:lnTo>
                    <a:pt x="3349" y="1816"/>
                  </a:lnTo>
                  <a:lnTo>
                    <a:pt x="3342" y="1804"/>
                  </a:lnTo>
                  <a:lnTo>
                    <a:pt x="3342" y="1816"/>
                  </a:lnTo>
                  <a:lnTo>
                    <a:pt x="3333" y="1833"/>
                  </a:lnTo>
                  <a:lnTo>
                    <a:pt x="3333" y="1811"/>
                  </a:lnTo>
                  <a:lnTo>
                    <a:pt x="3326" y="1833"/>
                  </a:lnTo>
                  <a:lnTo>
                    <a:pt x="3312" y="1816"/>
                  </a:lnTo>
                  <a:lnTo>
                    <a:pt x="3316" y="1811"/>
                  </a:lnTo>
                  <a:lnTo>
                    <a:pt x="3316" y="1788"/>
                  </a:lnTo>
                  <a:lnTo>
                    <a:pt x="3316" y="1778"/>
                  </a:lnTo>
                  <a:lnTo>
                    <a:pt x="3349" y="1762"/>
                  </a:lnTo>
                  <a:lnTo>
                    <a:pt x="3371" y="1804"/>
                  </a:lnTo>
                  <a:lnTo>
                    <a:pt x="3364" y="1828"/>
                  </a:lnTo>
                  <a:lnTo>
                    <a:pt x="3354" y="1844"/>
                  </a:lnTo>
                  <a:lnTo>
                    <a:pt x="3349" y="1844"/>
                  </a:lnTo>
                  <a:lnTo>
                    <a:pt x="3349" y="1828"/>
                  </a:lnTo>
                  <a:lnTo>
                    <a:pt x="3342" y="1833"/>
                  </a:lnTo>
                  <a:lnTo>
                    <a:pt x="3342" y="1833"/>
                  </a:lnTo>
                  <a:lnTo>
                    <a:pt x="3342" y="1833"/>
                  </a:lnTo>
                  <a:close/>
                  <a:moveTo>
                    <a:pt x="3165" y="1771"/>
                  </a:moveTo>
                  <a:lnTo>
                    <a:pt x="3165" y="1778"/>
                  </a:lnTo>
                  <a:lnTo>
                    <a:pt x="3153" y="1778"/>
                  </a:lnTo>
                  <a:lnTo>
                    <a:pt x="3165" y="1771"/>
                  </a:lnTo>
                  <a:lnTo>
                    <a:pt x="3165" y="1771"/>
                  </a:lnTo>
                  <a:lnTo>
                    <a:pt x="3165" y="1771"/>
                  </a:lnTo>
                  <a:close/>
                  <a:moveTo>
                    <a:pt x="3149" y="1771"/>
                  </a:moveTo>
                  <a:lnTo>
                    <a:pt x="3132" y="1778"/>
                  </a:lnTo>
                  <a:lnTo>
                    <a:pt x="3132" y="1771"/>
                  </a:lnTo>
                  <a:lnTo>
                    <a:pt x="3149" y="1771"/>
                  </a:lnTo>
                  <a:lnTo>
                    <a:pt x="3149" y="1771"/>
                  </a:lnTo>
                  <a:lnTo>
                    <a:pt x="3149" y="1771"/>
                  </a:lnTo>
                  <a:close/>
                  <a:moveTo>
                    <a:pt x="1642" y="1771"/>
                  </a:moveTo>
                  <a:lnTo>
                    <a:pt x="1642" y="1788"/>
                  </a:lnTo>
                  <a:lnTo>
                    <a:pt x="1625" y="1788"/>
                  </a:lnTo>
                  <a:lnTo>
                    <a:pt x="1642" y="1771"/>
                  </a:lnTo>
                  <a:lnTo>
                    <a:pt x="1642" y="1771"/>
                  </a:lnTo>
                  <a:lnTo>
                    <a:pt x="1642" y="1771"/>
                  </a:lnTo>
                  <a:close/>
                  <a:moveTo>
                    <a:pt x="3208" y="1778"/>
                  </a:moveTo>
                  <a:lnTo>
                    <a:pt x="3208" y="1788"/>
                  </a:lnTo>
                  <a:lnTo>
                    <a:pt x="3203" y="1778"/>
                  </a:lnTo>
                  <a:lnTo>
                    <a:pt x="3208" y="1778"/>
                  </a:lnTo>
                  <a:lnTo>
                    <a:pt x="3208" y="1778"/>
                  </a:lnTo>
                  <a:lnTo>
                    <a:pt x="3208" y="1778"/>
                  </a:lnTo>
                  <a:close/>
                  <a:moveTo>
                    <a:pt x="1410" y="1771"/>
                  </a:moveTo>
                  <a:lnTo>
                    <a:pt x="1420" y="1778"/>
                  </a:lnTo>
                  <a:lnTo>
                    <a:pt x="1405" y="1778"/>
                  </a:lnTo>
                  <a:lnTo>
                    <a:pt x="1410" y="1771"/>
                  </a:lnTo>
                  <a:lnTo>
                    <a:pt x="1410" y="1771"/>
                  </a:lnTo>
                  <a:lnTo>
                    <a:pt x="1410" y="1771"/>
                  </a:lnTo>
                  <a:close/>
                  <a:moveTo>
                    <a:pt x="3203" y="1788"/>
                  </a:moveTo>
                  <a:lnTo>
                    <a:pt x="3186" y="1795"/>
                  </a:lnTo>
                  <a:lnTo>
                    <a:pt x="3182" y="1788"/>
                  </a:lnTo>
                  <a:lnTo>
                    <a:pt x="3203" y="1788"/>
                  </a:lnTo>
                  <a:lnTo>
                    <a:pt x="3203" y="1788"/>
                  </a:lnTo>
                  <a:lnTo>
                    <a:pt x="3203" y="1788"/>
                  </a:lnTo>
                  <a:close/>
                  <a:moveTo>
                    <a:pt x="3203" y="1811"/>
                  </a:moveTo>
                  <a:lnTo>
                    <a:pt x="3203" y="1816"/>
                  </a:lnTo>
                  <a:lnTo>
                    <a:pt x="3191" y="1811"/>
                  </a:lnTo>
                  <a:lnTo>
                    <a:pt x="3203" y="1811"/>
                  </a:lnTo>
                  <a:lnTo>
                    <a:pt x="3203" y="1811"/>
                  </a:lnTo>
                  <a:lnTo>
                    <a:pt x="3203" y="1811"/>
                  </a:lnTo>
                  <a:close/>
                  <a:moveTo>
                    <a:pt x="3182" y="1816"/>
                  </a:moveTo>
                  <a:lnTo>
                    <a:pt x="3170" y="1816"/>
                  </a:lnTo>
                  <a:lnTo>
                    <a:pt x="3170" y="1811"/>
                  </a:lnTo>
                  <a:lnTo>
                    <a:pt x="3186" y="1811"/>
                  </a:lnTo>
                  <a:lnTo>
                    <a:pt x="3182" y="1816"/>
                  </a:lnTo>
                  <a:lnTo>
                    <a:pt x="3182" y="1816"/>
                  </a:lnTo>
                  <a:lnTo>
                    <a:pt x="3182" y="1816"/>
                  </a:lnTo>
                  <a:close/>
                  <a:moveTo>
                    <a:pt x="3191" y="1811"/>
                  </a:moveTo>
                  <a:lnTo>
                    <a:pt x="3191" y="1816"/>
                  </a:lnTo>
                  <a:lnTo>
                    <a:pt x="3182" y="1816"/>
                  </a:lnTo>
                  <a:lnTo>
                    <a:pt x="3191" y="1811"/>
                  </a:lnTo>
                  <a:lnTo>
                    <a:pt x="3191" y="1811"/>
                  </a:lnTo>
                  <a:lnTo>
                    <a:pt x="3191" y="1811"/>
                  </a:lnTo>
                  <a:close/>
                  <a:moveTo>
                    <a:pt x="3312" y="1816"/>
                  </a:moveTo>
                  <a:lnTo>
                    <a:pt x="3316" y="1833"/>
                  </a:lnTo>
                  <a:lnTo>
                    <a:pt x="3312" y="1849"/>
                  </a:lnTo>
                  <a:lnTo>
                    <a:pt x="3312" y="1844"/>
                  </a:lnTo>
                  <a:lnTo>
                    <a:pt x="3312" y="1816"/>
                  </a:lnTo>
                  <a:lnTo>
                    <a:pt x="3312" y="1816"/>
                  </a:lnTo>
                  <a:lnTo>
                    <a:pt x="3312" y="1816"/>
                  </a:lnTo>
                  <a:close/>
                  <a:moveTo>
                    <a:pt x="3191" y="1828"/>
                  </a:moveTo>
                  <a:lnTo>
                    <a:pt x="3182" y="1844"/>
                  </a:lnTo>
                  <a:lnTo>
                    <a:pt x="3182" y="1833"/>
                  </a:lnTo>
                  <a:lnTo>
                    <a:pt x="3186" y="1816"/>
                  </a:lnTo>
                  <a:lnTo>
                    <a:pt x="3191" y="1828"/>
                  </a:lnTo>
                  <a:lnTo>
                    <a:pt x="3191" y="1828"/>
                  </a:lnTo>
                  <a:lnTo>
                    <a:pt x="3191" y="1828"/>
                  </a:lnTo>
                  <a:close/>
                  <a:moveTo>
                    <a:pt x="1280" y="1828"/>
                  </a:moveTo>
                  <a:lnTo>
                    <a:pt x="1285" y="1828"/>
                  </a:lnTo>
                  <a:lnTo>
                    <a:pt x="1285" y="1844"/>
                  </a:lnTo>
                  <a:lnTo>
                    <a:pt x="1297" y="1844"/>
                  </a:lnTo>
                  <a:lnTo>
                    <a:pt x="1275" y="1849"/>
                  </a:lnTo>
                  <a:lnTo>
                    <a:pt x="1275" y="1833"/>
                  </a:lnTo>
                  <a:lnTo>
                    <a:pt x="1280" y="1828"/>
                  </a:lnTo>
                  <a:lnTo>
                    <a:pt x="1280" y="1828"/>
                  </a:lnTo>
                  <a:lnTo>
                    <a:pt x="1280" y="1828"/>
                  </a:lnTo>
                  <a:close/>
                  <a:moveTo>
                    <a:pt x="1301" y="1828"/>
                  </a:moveTo>
                  <a:lnTo>
                    <a:pt x="1301" y="1844"/>
                  </a:lnTo>
                  <a:lnTo>
                    <a:pt x="1297" y="1833"/>
                  </a:lnTo>
                  <a:lnTo>
                    <a:pt x="1301" y="1828"/>
                  </a:lnTo>
                  <a:lnTo>
                    <a:pt x="1301" y="1828"/>
                  </a:lnTo>
                  <a:lnTo>
                    <a:pt x="1301" y="1828"/>
                  </a:lnTo>
                  <a:close/>
                  <a:moveTo>
                    <a:pt x="3203" y="1833"/>
                  </a:moveTo>
                  <a:lnTo>
                    <a:pt x="3208" y="1844"/>
                  </a:lnTo>
                  <a:lnTo>
                    <a:pt x="3191" y="1844"/>
                  </a:lnTo>
                  <a:lnTo>
                    <a:pt x="3191" y="1833"/>
                  </a:lnTo>
                  <a:lnTo>
                    <a:pt x="3203" y="1833"/>
                  </a:lnTo>
                  <a:lnTo>
                    <a:pt x="3203" y="1833"/>
                  </a:lnTo>
                  <a:lnTo>
                    <a:pt x="3203" y="1833"/>
                  </a:lnTo>
                  <a:close/>
                  <a:moveTo>
                    <a:pt x="1339" y="1833"/>
                  </a:moveTo>
                  <a:lnTo>
                    <a:pt x="1339" y="1849"/>
                  </a:lnTo>
                  <a:lnTo>
                    <a:pt x="1313" y="1873"/>
                  </a:lnTo>
                  <a:lnTo>
                    <a:pt x="1318" y="1861"/>
                  </a:lnTo>
                  <a:lnTo>
                    <a:pt x="1318" y="1849"/>
                  </a:lnTo>
                  <a:lnTo>
                    <a:pt x="1330" y="1849"/>
                  </a:lnTo>
                  <a:lnTo>
                    <a:pt x="1339" y="1833"/>
                  </a:lnTo>
                  <a:lnTo>
                    <a:pt x="1339" y="1833"/>
                  </a:lnTo>
                  <a:lnTo>
                    <a:pt x="1339" y="1833"/>
                  </a:lnTo>
                  <a:close/>
                  <a:moveTo>
                    <a:pt x="3333" y="1844"/>
                  </a:moveTo>
                  <a:lnTo>
                    <a:pt x="3342" y="1844"/>
                  </a:lnTo>
                  <a:lnTo>
                    <a:pt x="3342" y="1861"/>
                  </a:lnTo>
                  <a:lnTo>
                    <a:pt x="3326" y="1866"/>
                  </a:lnTo>
                  <a:lnTo>
                    <a:pt x="3326" y="1833"/>
                  </a:lnTo>
                  <a:lnTo>
                    <a:pt x="3333" y="1844"/>
                  </a:lnTo>
                  <a:lnTo>
                    <a:pt x="3333" y="1844"/>
                  </a:lnTo>
                  <a:lnTo>
                    <a:pt x="3333" y="1844"/>
                  </a:lnTo>
                  <a:close/>
                  <a:moveTo>
                    <a:pt x="3220" y="1844"/>
                  </a:moveTo>
                  <a:lnTo>
                    <a:pt x="3246" y="1899"/>
                  </a:lnTo>
                  <a:lnTo>
                    <a:pt x="3236" y="1899"/>
                  </a:lnTo>
                  <a:lnTo>
                    <a:pt x="3220" y="1866"/>
                  </a:lnTo>
                  <a:lnTo>
                    <a:pt x="3208" y="1861"/>
                  </a:lnTo>
                  <a:lnTo>
                    <a:pt x="3208" y="1844"/>
                  </a:lnTo>
                  <a:lnTo>
                    <a:pt x="3220" y="1844"/>
                  </a:lnTo>
                  <a:lnTo>
                    <a:pt x="3220" y="1844"/>
                  </a:lnTo>
                  <a:lnTo>
                    <a:pt x="3220" y="1844"/>
                  </a:lnTo>
                  <a:close/>
                  <a:moveTo>
                    <a:pt x="1368" y="1844"/>
                  </a:moveTo>
                  <a:lnTo>
                    <a:pt x="1368" y="1861"/>
                  </a:lnTo>
                  <a:lnTo>
                    <a:pt x="1356" y="1861"/>
                  </a:lnTo>
                  <a:lnTo>
                    <a:pt x="1368" y="1844"/>
                  </a:lnTo>
                  <a:lnTo>
                    <a:pt x="1368" y="1844"/>
                  </a:lnTo>
                  <a:lnTo>
                    <a:pt x="1368" y="1844"/>
                  </a:lnTo>
                  <a:close/>
                  <a:moveTo>
                    <a:pt x="3241" y="1844"/>
                  </a:moveTo>
                  <a:lnTo>
                    <a:pt x="3246" y="1861"/>
                  </a:lnTo>
                  <a:lnTo>
                    <a:pt x="3236" y="1861"/>
                  </a:lnTo>
                  <a:lnTo>
                    <a:pt x="3241" y="1844"/>
                  </a:lnTo>
                  <a:lnTo>
                    <a:pt x="3241" y="1844"/>
                  </a:lnTo>
                  <a:lnTo>
                    <a:pt x="3241" y="1844"/>
                  </a:lnTo>
                  <a:close/>
                  <a:moveTo>
                    <a:pt x="1209" y="1849"/>
                  </a:moveTo>
                  <a:lnTo>
                    <a:pt x="1221" y="1849"/>
                  </a:lnTo>
                  <a:lnTo>
                    <a:pt x="1205" y="1861"/>
                  </a:lnTo>
                  <a:lnTo>
                    <a:pt x="1193" y="1849"/>
                  </a:lnTo>
                  <a:lnTo>
                    <a:pt x="1209" y="1849"/>
                  </a:lnTo>
                  <a:lnTo>
                    <a:pt x="1209" y="1849"/>
                  </a:lnTo>
                  <a:lnTo>
                    <a:pt x="1209" y="1849"/>
                  </a:lnTo>
                  <a:close/>
                  <a:moveTo>
                    <a:pt x="1032" y="1906"/>
                  </a:moveTo>
                  <a:lnTo>
                    <a:pt x="1027" y="1922"/>
                  </a:lnTo>
                  <a:lnTo>
                    <a:pt x="1004" y="1922"/>
                  </a:lnTo>
                  <a:lnTo>
                    <a:pt x="990" y="1922"/>
                  </a:lnTo>
                  <a:lnTo>
                    <a:pt x="978" y="1906"/>
                  </a:lnTo>
                  <a:lnTo>
                    <a:pt x="1004" y="1899"/>
                  </a:lnTo>
                  <a:lnTo>
                    <a:pt x="1016" y="1873"/>
                  </a:lnTo>
                  <a:lnTo>
                    <a:pt x="1032" y="1873"/>
                  </a:lnTo>
                  <a:lnTo>
                    <a:pt x="1065" y="1861"/>
                  </a:lnTo>
                  <a:lnTo>
                    <a:pt x="1079" y="1861"/>
                  </a:lnTo>
                  <a:lnTo>
                    <a:pt x="1096" y="1882"/>
                  </a:lnTo>
                  <a:lnTo>
                    <a:pt x="1112" y="1889"/>
                  </a:lnTo>
                  <a:lnTo>
                    <a:pt x="1117" y="1899"/>
                  </a:lnTo>
                  <a:lnTo>
                    <a:pt x="1096" y="1889"/>
                  </a:lnTo>
                  <a:lnTo>
                    <a:pt x="1079" y="1906"/>
                  </a:lnTo>
                  <a:lnTo>
                    <a:pt x="1032" y="1906"/>
                  </a:lnTo>
                  <a:lnTo>
                    <a:pt x="1032" y="1906"/>
                  </a:lnTo>
                  <a:lnTo>
                    <a:pt x="1032" y="1906"/>
                  </a:lnTo>
                  <a:close/>
                  <a:moveTo>
                    <a:pt x="1372" y="1861"/>
                  </a:moveTo>
                  <a:lnTo>
                    <a:pt x="1372" y="1866"/>
                  </a:lnTo>
                  <a:lnTo>
                    <a:pt x="1368" y="1866"/>
                  </a:lnTo>
                  <a:lnTo>
                    <a:pt x="1368" y="1861"/>
                  </a:lnTo>
                  <a:lnTo>
                    <a:pt x="1372" y="1861"/>
                  </a:lnTo>
                  <a:lnTo>
                    <a:pt x="1372" y="1861"/>
                  </a:lnTo>
                  <a:lnTo>
                    <a:pt x="1372" y="1861"/>
                  </a:lnTo>
                  <a:close/>
                  <a:moveTo>
                    <a:pt x="3349" y="1866"/>
                  </a:moveTo>
                  <a:lnTo>
                    <a:pt x="3349" y="1873"/>
                  </a:lnTo>
                  <a:lnTo>
                    <a:pt x="3333" y="1873"/>
                  </a:lnTo>
                  <a:lnTo>
                    <a:pt x="3349" y="1866"/>
                  </a:lnTo>
                  <a:lnTo>
                    <a:pt x="3349" y="1866"/>
                  </a:lnTo>
                  <a:lnTo>
                    <a:pt x="3349" y="1866"/>
                  </a:lnTo>
                  <a:close/>
                  <a:moveTo>
                    <a:pt x="1172" y="1866"/>
                  </a:moveTo>
                  <a:lnTo>
                    <a:pt x="1167" y="1882"/>
                  </a:lnTo>
                  <a:lnTo>
                    <a:pt x="1155" y="1873"/>
                  </a:lnTo>
                  <a:lnTo>
                    <a:pt x="1172" y="1866"/>
                  </a:lnTo>
                  <a:lnTo>
                    <a:pt x="1172" y="1866"/>
                  </a:lnTo>
                  <a:lnTo>
                    <a:pt x="1172" y="1866"/>
                  </a:lnTo>
                  <a:close/>
                  <a:moveTo>
                    <a:pt x="1382" y="1866"/>
                  </a:moveTo>
                  <a:lnTo>
                    <a:pt x="1389" y="1873"/>
                  </a:lnTo>
                  <a:lnTo>
                    <a:pt x="1382" y="1873"/>
                  </a:lnTo>
                  <a:lnTo>
                    <a:pt x="1382" y="1866"/>
                  </a:lnTo>
                  <a:lnTo>
                    <a:pt x="1382" y="1866"/>
                  </a:lnTo>
                  <a:lnTo>
                    <a:pt x="1382" y="1866"/>
                  </a:lnTo>
                  <a:close/>
                  <a:moveTo>
                    <a:pt x="3246" y="1873"/>
                  </a:moveTo>
                  <a:lnTo>
                    <a:pt x="3246" y="1889"/>
                  </a:lnTo>
                  <a:lnTo>
                    <a:pt x="3241" y="1873"/>
                  </a:lnTo>
                  <a:lnTo>
                    <a:pt x="3246" y="1873"/>
                  </a:lnTo>
                  <a:lnTo>
                    <a:pt x="3246" y="1873"/>
                  </a:lnTo>
                  <a:lnTo>
                    <a:pt x="3246" y="1873"/>
                  </a:lnTo>
                  <a:close/>
                  <a:moveTo>
                    <a:pt x="1134" y="1915"/>
                  </a:moveTo>
                  <a:lnTo>
                    <a:pt x="1150" y="1927"/>
                  </a:lnTo>
                  <a:lnTo>
                    <a:pt x="1134" y="1922"/>
                  </a:lnTo>
                  <a:lnTo>
                    <a:pt x="1134" y="1915"/>
                  </a:lnTo>
                  <a:lnTo>
                    <a:pt x="1134" y="1915"/>
                  </a:lnTo>
                  <a:lnTo>
                    <a:pt x="1134" y="1915"/>
                  </a:lnTo>
                  <a:close/>
                  <a:moveTo>
                    <a:pt x="940" y="1955"/>
                  </a:moveTo>
                  <a:lnTo>
                    <a:pt x="935" y="1939"/>
                  </a:lnTo>
                  <a:lnTo>
                    <a:pt x="952" y="1939"/>
                  </a:lnTo>
                  <a:lnTo>
                    <a:pt x="940" y="1955"/>
                  </a:lnTo>
                  <a:lnTo>
                    <a:pt x="940" y="1955"/>
                  </a:lnTo>
                  <a:lnTo>
                    <a:pt x="940" y="1955"/>
                  </a:lnTo>
                  <a:close/>
                  <a:moveTo>
                    <a:pt x="919" y="1960"/>
                  </a:moveTo>
                  <a:lnTo>
                    <a:pt x="902" y="1955"/>
                  </a:lnTo>
                  <a:lnTo>
                    <a:pt x="907" y="1939"/>
                  </a:lnTo>
                  <a:lnTo>
                    <a:pt x="935" y="1955"/>
                  </a:lnTo>
                  <a:lnTo>
                    <a:pt x="919" y="1960"/>
                  </a:lnTo>
                  <a:lnTo>
                    <a:pt x="919" y="1960"/>
                  </a:lnTo>
                  <a:lnTo>
                    <a:pt x="919" y="1960"/>
                  </a:lnTo>
                  <a:close/>
                  <a:moveTo>
                    <a:pt x="957" y="1960"/>
                  </a:moveTo>
                  <a:lnTo>
                    <a:pt x="952" y="1955"/>
                  </a:lnTo>
                  <a:lnTo>
                    <a:pt x="961" y="1955"/>
                  </a:lnTo>
                  <a:lnTo>
                    <a:pt x="957" y="1960"/>
                  </a:lnTo>
                  <a:lnTo>
                    <a:pt x="957" y="1960"/>
                  </a:lnTo>
                  <a:lnTo>
                    <a:pt x="957" y="1960"/>
                  </a:lnTo>
                  <a:close/>
                  <a:moveTo>
                    <a:pt x="831" y="2000"/>
                  </a:moveTo>
                  <a:lnTo>
                    <a:pt x="843" y="1993"/>
                  </a:lnTo>
                  <a:lnTo>
                    <a:pt x="853" y="1993"/>
                  </a:lnTo>
                  <a:lnTo>
                    <a:pt x="827" y="1981"/>
                  </a:lnTo>
                  <a:lnTo>
                    <a:pt x="843" y="1972"/>
                  </a:lnTo>
                  <a:lnTo>
                    <a:pt x="864" y="1960"/>
                  </a:lnTo>
                  <a:lnTo>
                    <a:pt x="864" y="1977"/>
                  </a:lnTo>
                  <a:lnTo>
                    <a:pt x="886" y="1960"/>
                  </a:lnTo>
                  <a:lnTo>
                    <a:pt x="898" y="1972"/>
                  </a:lnTo>
                  <a:lnTo>
                    <a:pt x="869" y="1993"/>
                  </a:lnTo>
                  <a:lnTo>
                    <a:pt x="886" y="1981"/>
                  </a:lnTo>
                  <a:lnTo>
                    <a:pt x="886" y="1993"/>
                  </a:lnTo>
                  <a:lnTo>
                    <a:pt x="869" y="2000"/>
                  </a:lnTo>
                  <a:lnTo>
                    <a:pt x="853" y="2017"/>
                  </a:lnTo>
                  <a:lnTo>
                    <a:pt x="794" y="2038"/>
                  </a:lnTo>
                  <a:lnTo>
                    <a:pt x="777" y="2033"/>
                  </a:lnTo>
                  <a:lnTo>
                    <a:pt x="827" y="2017"/>
                  </a:lnTo>
                  <a:lnTo>
                    <a:pt x="831" y="2010"/>
                  </a:lnTo>
                  <a:lnTo>
                    <a:pt x="827" y="2000"/>
                  </a:lnTo>
                  <a:lnTo>
                    <a:pt x="831" y="2000"/>
                  </a:lnTo>
                  <a:lnTo>
                    <a:pt x="831" y="2000"/>
                  </a:lnTo>
                  <a:lnTo>
                    <a:pt x="831" y="2000"/>
                  </a:lnTo>
                  <a:close/>
                  <a:moveTo>
                    <a:pt x="898" y="1993"/>
                  </a:moveTo>
                  <a:lnTo>
                    <a:pt x="886" y="1981"/>
                  </a:lnTo>
                  <a:lnTo>
                    <a:pt x="902" y="1977"/>
                  </a:lnTo>
                  <a:lnTo>
                    <a:pt x="898" y="1993"/>
                  </a:lnTo>
                  <a:lnTo>
                    <a:pt x="898" y="1993"/>
                  </a:lnTo>
                  <a:lnTo>
                    <a:pt x="898" y="1993"/>
                  </a:lnTo>
                  <a:close/>
                  <a:moveTo>
                    <a:pt x="789" y="2017"/>
                  </a:moveTo>
                  <a:lnTo>
                    <a:pt x="777" y="2026"/>
                  </a:lnTo>
                  <a:lnTo>
                    <a:pt x="746" y="2038"/>
                  </a:lnTo>
                  <a:lnTo>
                    <a:pt x="735" y="2055"/>
                  </a:lnTo>
                  <a:lnTo>
                    <a:pt x="692" y="2083"/>
                  </a:lnTo>
                  <a:lnTo>
                    <a:pt x="709" y="2066"/>
                  </a:lnTo>
                  <a:lnTo>
                    <a:pt x="709" y="2050"/>
                  </a:lnTo>
                  <a:lnTo>
                    <a:pt x="725" y="2033"/>
                  </a:lnTo>
                  <a:lnTo>
                    <a:pt x="739" y="2033"/>
                  </a:lnTo>
                  <a:lnTo>
                    <a:pt x="739" y="2026"/>
                  </a:lnTo>
                  <a:lnTo>
                    <a:pt x="739" y="2017"/>
                  </a:lnTo>
                  <a:lnTo>
                    <a:pt x="772" y="2010"/>
                  </a:lnTo>
                  <a:lnTo>
                    <a:pt x="789" y="2017"/>
                  </a:lnTo>
                  <a:lnTo>
                    <a:pt x="789" y="2017"/>
                  </a:lnTo>
                  <a:lnTo>
                    <a:pt x="789" y="2017"/>
                  </a:lnTo>
                  <a:close/>
                  <a:moveTo>
                    <a:pt x="649" y="2066"/>
                  </a:moveTo>
                  <a:lnTo>
                    <a:pt x="649" y="2055"/>
                  </a:lnTo>
                  <a:lnTo>
                    <a:pt x="649" y="2066"/>
                  </a:lnTo>
                  <a:lnTo>
                    <a:pt x="649" y="2066"/>
                  </a:lnTo>
                  <a:lnTo>
                    <a:pt x="649" y="2066"/>
                  </a:lnTo>
                  <a:close/>
                  <a:moveTo>
                    <a:pt x="24685" y="2088"/>
                  </a:moveTo>
                  <a:lnTo>
                    <a:pt x="24678" y="2071"/>
                  </a:lnTo>
                  <a:lnTo>
                    <a:pt x="24652" y="2071"/>
                  </a:lnTo>
                  <a:lnTo>
                    <a:pt x="24668" y="2066"/>
                  </a:lnTo>
                  <a:lnTo>
                    <a:pt x="24701" y="2066"/>
                  </a:lnTo>
                  <a:lnTo>
                    <a:pt x="24722" y="2071"/>
                  </a:lnTo>
                  <a:lnTo>
                    <a:pt x="24685" y="2088"/>
                  </a:lnTo>
                  <a:lnTo>
                    <a:pt x="24685" y="2088"/>
                  </a:lnTo>
                  <a:lnTo>
                    <a:pt x="24685" y="2088"/>
                  </a:lnTo>
                  <a:close/>
                  <a:moveTo>
                    <a:pt x="633" y="2083"/>
                  </a:moveTo>
                  <a:lnTo>
                    <a:pt x="649" y="2071"/>
                  </a:lnTo>
                  <a:lnTo>
                    <a:pt x="649" y="2083"/>
                  </a:lnTo>
                  <a:lnTo>
                    <a:pt x="633" y="2083"/>
                  </a:lnTo>
                  <a:lnTo>
                    <a:pt x="633" y="2083"/>
                  </a:lnTo>
                  <a:lnTo>
                    <a:pt x="633" y="2083"/>
                  </a:lnTo>
                  <a:close/>
                  <a:moveTo>
                    <a:pt x="616" y="2088"/>
                  </a:moveTo>
                  <a:lnTo>
                    <a:pt x="616" y="2083"/>
                  </a:lnTo>
                  <a:lnTo>
                    <a:pt x="626" y="2088"/>
                  </a:lnTo>
                  <a:lnTo>
                    <a:pt x="616" y="2088"/>
                  </a:lnTo>
                  <a:lnTo>
                    <a:pt x="616" y="2088"/>
                  </a:lnTo>
                  <a:lnTo>
                    <a:pt x="616" y="2088"/>
                  </a:lnTo>
                  <a:close/>
                  <a:moveTo>
                    <a:pt x="574" y="2104"/>
                  </a:moveTo>
                  <a:lnTo>
                    <a:pt x="579" y="2092"/>
                  </a:lnTo>
                  <a:lnTo>
                    <a:pt x="583" y="2092"/>
                  </a:lnTo>
                  <a:lnTo>
                    <a:pt x="574" y="2104"/>
                  </a:lnTo>
                  <a:lnTo>
                    <a:pt x="574" y="2104"/>
                  </a:lnTo>
                  <a:lnTo>
                    <a:pt x="574" y="2104"/>
                  </a:lnTo>
                  <a:close/>
                  <a:moveTo>
                    <a:pt x="24739" y="2126"/>
                  </a:moveTo>
                  <a:lnTo>
                    <a:pt x="24715" y="2121"/>
                  </a:lnTo>
                  <a:lnTo>
                    <a:pt x="24744" y="2109"/>
                  </a:lnTo>
                  <a:lnTo>
                    <a:pt x="24744" y="2126"/>
                  </a:lnTo>
                  <a:lnTo>
                    <a:pt x="24739" y="2126"/>
                  </a:lnTo>
                  <a:lnTo>
                    <a:pt x="24739" y="2126"/>
                  </a:lnTo>
                  <a:lnTo>
                    <a:pt x="24739" y="2126"/>
                  </a:lnTo>
                  <a:close/>
                  <a:moveTo>
                    <a:pt x="324" y="2149"/>
                  </a:moveTo>
                  <a:lnTo>
                    <a:pt x="255" y="2161"/>
                  </a:lnTo>
                  <a:lnTo>
                    <a:pt x="331" y="2137"/>
                  </a:lnTo>
                  <a:lnTo>
                    <a:pt x="314" y="2126"/>
                  </a:lnTo>
                  <a:lnTo>
                    <a:pt x="331" y="2121"/>
                  </a:lnTo>
                  <a:lnTo>
                    <a:pt x="347" y="2126"/>
                  </a:lnTo>
                  <a:lnTo>
                    <a:pt x="340" y="2142"/>
                  </a:lnTo>
                  <a:lnTo>
                    <a:pt x="324" y="2149"/>
                  </a:lnTo>
                  <a:lnTo>
                    <a:pt x="324" y="2149"/>
                  </a:lnTo>
                  <a:lnTo>
                    <a:pt x="324" y="2149"/>
                  </a:lnTo>
                  <a:close/>
                  <a:moveTo>
                    <a:pt x="453" y="2137"/>
                  </a:moveTo>
                  <a:lnTo>
                    <a:pt x="449" y="2137"/>
                  </a:lnTo>
                  <a:lnTo>
                    <a:pt x="453" y="2121"/>
                  </a:lnTo>
                  <a:lnTo>
                    <a:pt x="470" y="2126"/>
                  </a:lnTo>
                  <a:lnTo>
                    <a:pt x="453" y="2137"/>
                  </a:lnTo>
                  <a:lnTo>
                    <a:pt x="453" y="2137"/>
                  </a:lnTo>
                  <a:lnTo>
                    <a:pt x="453" y="2137"/>
                  </a:lnTo>
                  <a:close/>
                  <a:moveTo>
                    <a:pt x="24895" y="2126"/>
                  </a:moveTo>
                  <a:lnTo>
                    <a:pt x="24895" y="2121"/>
                  </a:lnTo>
                  <a:lnTo>
                    <a:pt x="24900" y="2126"/>
                  </a:lnTo>
                  <a:lnTo>
                    <a:pt x="24895" y="2126"/>
                  </a:lnTo>
                  <a:lnTo>
                    <a:pt x="24895" y="2126"/>
                  </a:lnTo>
                  <a:lnTo>
                    <a:pt x="24895" y="2126"/>
                  </a:lnTo>
                  <a:close/>
                  <a:moveTo>
                    <a:pt x="385" y="2161"/>
                  </a:moveTo>
                  <a:lnTo>
                    <a:pt x="347" y="2142"/>
                  </a:lnTo>
                  <a:lnTo>
                    <a:pt x="423" y="2149"/>
                  </a:lnTo>
                  <a:lnTo>
                    <a:pt x="385" y="2161"/>
                  </a:lnTo>
                  <a:lnTo>
                    <a:pt x="385" y="2161"/>
                  </a:lnTo>
                  <a:lnTo>
                    <a:pt x="385" y="2161"/>
                  </a:lnTo>
                  <a:close/>
                  <a:moveTo>
                    <a:pt x="24992" y="2178"/>
                  </a:moveTo>
                  <a:lnTo>
                    <a:pt x="24987" y="2166"/>
                  </a:lnTo>
                  <a:lnTo>
                    <a:pt x="25008" y="2149"/>
                  </a:lnTo>
                  <a:lnTo>
                    <a:pt x="25013" y="2149"/>
                  </a:lnTo>
                  <a:lnTo>
                    <a:pt x="25013" y="2166"/>
                  </a:lnTo>
                  <a:lnTo>
                    <a:pt x="25003" y="2166"/>
                  </a:lnTo>
                  <a:lnTo>
                    <a:pt x="24992" y="2178"/>
                  </a:lnTo>
                  <a:lnTo>
                    <a:pt x="24992" y="2178"/>
                  </a:lnTo>
                  <a:lnTo>
                    <a:pt x="24992" y="2178"/>
                  </a:lnTo>
                  <a:close/>
                  <a:moveTo>
                    <a:pt x="201" y="2161"/>
                  </a:moveTo>
                  <a:lnTo>
                    <a:pt x="196" y="2161"/>
                  </a:lnTo>
                  <a:lnTo>
                    <a:pt x="201" y="2149"/>
                  </a:lnTo>
                  <a:lnTo>
                    <a:pt x="205" y="2149"/>
                  </a:lnTo>
                  <a:lnTo>
                    <a:pt x="201" y="2161"/>
                  </a:lnTo>
                  <a:lnTo>
                    <a:pt x="201" y="2161"/>
                  </a:lnTo>
                  <a:lnTo>
                    <a:pt x="201" y="2161"/>
                  </a:lnTo>
                  <a:close/>
                  <a:moveTo>
                    <a:pt x="25155" y="2166"/>
                  </a:moveTo>
                  <a:lnTo>
                    <a:pt x="25148" y="2161"/>
                  </a:lnTo>
                  <a:lnTo>
                    <a:pt x="25155" y="2161"/>
                  </a:lnTo>
                  <a:lnTo>
                    <a:pt x="25164" y="2161"/>
                  </a:lnTo>
                  <a:lnTo>
                    <a:pt x="25155" y="2166"/>
                  </a:lnTo>
                  <a:lnTo>
                    <a:pt x="25155" y="2166"/>
                  </a:lnTo>
                  <a:lnTo>
                    <a:pt x="25155" y="2166"/>
                  </a:lnTo>
                  <a:close/>
                  <a:moveTo>
                    <a:pt x="217" y="2161"/>
                  </a:moveTo>
                  <a:lnTo>
                    <a:pt x="205" y="2161"/>
                  </a:lnTo>
                  <a:lnTo>
                    <a:pt x="222" y="2161"/>
                  </a:lnTo>
                  <a:lnTo>
                    <a:pt x="217" y="2161"/>
                  </a:lnTo>
                  <a:lnTo>
                    <a:pt x="217" y="2161"/>
                  </a:lnTo>
                  <a:lnTo>
                    <a:pt x="217" y="2161"/>
                  </a:lnTo>
                  <a:close/>
                  <a:moveTo>
                    <a:pt x="25079" y="2166"/>
                  </a:moveTo>
                  <a:lnTo>
                    <a:pt x="25067" y="2161"/>
                  </a:lnTo>
                  <a:lnTo>
                    <a:pt x="25084" y="2166"/>
                  </a:lnTo>
                  <a:lnTo>
                    <a:pt x="25079" y="2166"/>
                  </a:lnTo>
                  <a:lnTo>
                    <a:pt x="25079" y="2166"/>
                  </a:lnTo>
                  <a:lnTo>
                    <a:pt x="25079" y="2166"/>
                  </a:lnTo>
                  <a:close/>
                  <a:moveTo>
                    <a:pt x="142" y="2199"/>
                  </a:moveTo>
                  <a:lnTo>
                    <a:pt x="142" y="2194"/>
                  </a:lnTo>
                  <a:lnTo>
                    <a:pt x="151" y="2178"/>
                  </a:lnTo>
                  <a:lnTo>
                    <a:pt x="151" y="2166"/>
                  </a:lnTo>
                  <a:lnTo>
                    <a:pt x="168" y="2161"/>
                  </a:lnTo>
                  <a:lnTo>
                    <a:pt x="163" y="2178"/>
                  </a:lnTo>
                  <a:lnTo>
                    <a:pt x="179" y="2178"/>
                  </a:lnTo>
                  <a:lnTo>
                    <a:pt x="179" y="2182"/>
                  </a:lnTo>
                  <a:lnTo>
                    <a:pt x="142" y="2199"/>
                  </a:lnTo>
                  <a:lnTo>
                    <a:pt x="142" y="2199"/>
                  </a:lnTo>
                  <a:lnTo>
                    <a:pt x="142" y="2199"/>
                  </a:lnTo>
                  <a:close/>
                  <a:moveTo>
                    <a:pt x="92" y="2194"/>
                  </a:moveTo>
                  <a:lnTo>
                    <a:pt x="87" y="2194"/>
                  </a:lnTo>
                  <a:lnTo>
                    <a:pt x="125" y="2178"/>
                  </a:lnTo>
                  <a:lnTo>
                    <a:pt x="125" y="2166"/>
                  </a:lnTo>
                  <a:lnTo>
                    <a:pt x="130" y="2166"/>
                  </a:lnTo>
                  <a:lnTo>
                    <a:pt x="125" y="2194"/>
                  </a:lnTo>
                  <a:lnTo>
                    <a:pt x="92" y="2194"/>
                  </a:lnTo>
                  <a:lnTo>
                    <a:pt x="92" y="2194"/>
                  </a:lnTo>
                  <a:lnTo>
                    <a:pt x="92" y="2194"/>
                  </a:lnTo>
                  <a:close/>
                  <a:moveTo>
                    <a:pt x="75" y="2199"/>
                  </a:moveTo>
                  <a:lnTo>
                    <a:pt x="59" y="2194"/>
                  </a:lnTo>
                  <a:lnTo>
                    <a:pt x="71" y="2182"/>
                  </a:lnTo>
                  <a:lnTo>
                    <a:pt x="54" y="2166"/>
                  </a:lnTo>
                  <a:lnTo>
                    <a:pt x="71" y="2166"/>
                  </a:lnTo>
                  <a:lnTo>
                    <a:pt x="75" y="2178"/>
                  </a:lnTo>
                  <a:lnTo>
                    <a:pt x="75" y="2199"/>
                  </a:lnTo>
                  <a:lnTo>
                    <a:pt x="75" y="2199"/>
                  </a:lnTo>
                  <a:lnTo>
                    <a:pt x="75" y="2199"/>
                  </a:lnTo>
                  <a:close/>
                  <a:moveTo>
                    <a:pt x="201" y="2182"/>
                  </a:moveTo>
                  <a:lnTo>
                    <a:pt x="196" y="2166"/>
                  </a:lnTo>
                  <a:lnTo>
                    <a:pt x="205" y="2178"/>
                  </a:lnTo>
                  <a:lnTo>
                    <a:pt x="201" y="2182"/>
                  </a:lnTo>
                  <a:lnTo>
                    <a:pt x="201" y="2182"/>
                  </a:lnTo>
                  <a:lnTo>
                    <a:pt x="201" y="2182"/>
                  </a:lnTo>
                  <a:close/>
                  <a:moveTo>
                    <a:pt x="184" y="2182"/>
                  </a:moveTo>
                  <a:lnTo>
                    <a:pt x="179" y="2178"/>
                  </a:lnTo>
                  <a:lnTo>
                    <a:pt x="184" y="2178"/>
                  </a:lnTo>
                  <a:lnTo>
                    <a:pt x="184" y="2182"/>
                  </a:lnTo>
                  <a:lnTo>
                    <a:pt x="184" y="2182"/>
                  </a:lnTo>
                  <a:lnTo>
                    <a:pt x="184" y="2182"/>
                  </a:lnTo>
                  <a:close/>
                  <a:moveTo>
                    <a:pt x="16" y="2182"/>
                  </a:moveTo>
                  <a:lnTo>
                    <a:pt x="7" y="2178"/>
                  </a:lnTo>
                  <a:lnTo>
                    <a:pt x="16" y="2182"/>
                  </a:lnTo>
                  <a:lnTo>
                    <a:pt x="16" y="2182"/>
                  </a:lnTo>
                  <a:lnTo>
                    <a:pt x="16" y="2182"/>
                  </a:lnTo>
                  <a:close/>
                  <a:moveTo>
                    <a:pt x="25131" y="2220"/>
                  </a:moveTo>
                  <a:lnTo>
                    <a:pt x="25084" y="2194"/>
                  </a:lnTo>
                  <a:lnTo>
                    <a:pt x="25100" y="2199"/>
                  </a:lnTo>
                  <a:lnTo>
                    <a:pt x="25131" y="2215"/>
                  </a:lnTo>
                  <a:lnTo>
                    <a:pt x="25148" y="2215"/>
                  </a:lnTo>
                  <a:lnTo>
                    <a:pt x="25131" y="2220"/>
                  </a:lnTo>
                  <a:lnTo>
                    <a:pt x="25131" y="2220"/>
                  </a:lnTo>
                  <a:lnTo>
                    <a:pt x="25131" y="2220"/>
                  </a:lnTo>
                  <a:close/>
                  <a:moveTo>
                    <a:pt x="0" y="2220"/>
                  </a:moveTo>
                  <a:lnTo>
                    <a:pt x="0" y="2215"/>
                  </a:lnTo>
                  <a:lnTo>
                    <a:pt x="7" y="2220"/>
                  </a:lnTo>
                  <a:lnTo>
                    <a:pt x="0" y="2220"/>
                  </a:lnTo>
                  <a:lnTo>
                    <a:pt x="0" y="2220"/>
                  </a:lnTo>
                  <a:lnTo>
                    <a:pt x="0" y="2220"/>
                  </a:lnTo>
                  <a:close/>
                  <a:moveTo>
                    <a:pt x="3942" y="2442"/>
                  </a:moveTo>
                  <a:lnTo>
                    <a:pt x="5882" y="2442"/>
                  </a:lnTo>
                  <a:lnTo>
                    <a:pt x="5882" y="2404"/>
                  </a:lnTo>
                  <a:lnTo>
                    <a:pt x="5903" y="2414"/>
                  </a:lnTo>
                  <a:lnTo>
                    <a:pt x="5908" y="2459"/>
                  </a:lnTo>
                  <a:lnTo>
                    <a:pt x="5920" y="2470"/>
                  </a:lnTo>
                  <a:lnTo>
                    <a:pt x="5974" y="2475"/>
                  </a:lnTo>
                  <a:lnTo>
                    <a:pt x="5974" y="2482"/>
                  </a:lnTo>
                  <a:lnTo>
                    <a:pt x="6012" y="2475"/>
                  </a:lnTo>
                  <a:lnTo>
                    <a:pt x="6033" y="2475"/>
                  </a:lnTo>
                  <a:lnTo>
                    <a:pt x="6071" y="2499"/>
                  </a:lnTo>
                  <a:lnTo>
                    <a:pt x="6071" y="2515"/>
                  </a:lnTo>
                  <a:lnTo>
                    <a:pt x="6080" y="2499"/>
                  </a:lnTo>
                  <a:lnTo>
                    <a:pt x="6097" y="2499"/>
                  </a:lnTo>
                  <a:lnTo>
                    <a:pt x="6101" y="2515"/>
                  </a:lnTo>
                  <a:lnTo>
                    <a:pt x="6139" y="2532"/>
                  </a:lnTo>
                  <a:lnTo>
                    <a:pt x="6177" y="2515"/>
                  </a:lnTo>
                  <a:lnTo>
                    <a:pt x="6189" y="2525"/>
                  </a:lnTo>
                  <a:lnTo>
                    <a:pt x="6227" y="2525"/>
                  </a:lnTo>
                  <a:lnTo>
                    <a:pt x="6248" y="2532"/>
                  </a:lnTo>
                  <a:lnTo>
                    <a:pt x="6286" y="2537"/>
                  </a:lnTo>
                  <a:lnTo>
                    <a:pt x="6357" y="2508"/>
                  </a:lnTo>
                  <a:lnTo>
                    <a:pt x="6605" y="2636"/>
                  </a:lnTo>
                  <a:lnTo>
                    <a:pt x="6605" y="2659"/>
                  </a:lnTo>
                  <a:lnTo>
                    <a:pt x="6621" y="2676"/>
                  </a:lnTo>
                  <a:lnTo>
                    <a:pt x="6654" y="2664"/>
                  </a:lnTo>
                  <a:lnTo>
                    <a:pt x="6654" y="2692"/>
                  </a:lnTo>
                  <a:lnTo>
                    <a:pt x="6664" y="2702"/>
                  </a:lnTo>
                  <a:lnTo>
                    <a:pt x="6692" y="2702"/>
                  </a:lnTo>
                  <a:lnTo>
                    <a:pt x="6697" y="2714"/>
                  </a:lnTo>
                  <a:lnTo>
                    <a:pt x="6692" y="2730"/>
                  </a:lnTo>
                  <a:lnTo>
                    <a:pt x="6768" y="2775"/>
                  </a:lnTo>
                  <a:lnTo>
                    <a:pt x="6789" y="2924"/>
                  </a:lnTo>
                  <a:lnTo>
                    <a:pt x="6772" y="2981"/>
                  </a:lnTo>
                  <a:lnTo>
                    <a:pt x="6768" y="3014"/>
                  </a:lnTo>
                  <a:lnTo>
                    <a:pt x="6730" y="3047"/>
                  </a:lnTo>
                  <a:lnTo>
                    <a:pt x="6718" y="3063"/>
                  </a:lnTo>
                  <a:lnTo>
                    <a:pt x="6730" y="3080"/>
                  </a:lnTo>
                  <a:lnTo>
                    <a:pt x="6751" y="3096"/>
                  </a:lnTo>
                  <a:lnTo>
                    <a:pt x="6772" y="3096"/>
                  </a:lnTo>
                  <a:lnTo>
                    <a:pt x="6853" y="3047"/>
                  </a:lnTo>
                  <a:lnTo>
                    <a:pt x="6935" y="3030"/>
                  </a:lnTo>
                  <a:lnTo>
                    <a:pt x="7016" y="2997"/>
                  </a:lnTo>
                  <a:lnTo>
                    <a:pt x="7020" y="2990"/>
                  </a:lnTo>
                  <a:lnTo>
                    <a:pt x="7004" y="2974"/>
                  </a:lnTo>
                  <a:lnTo>
                    <a:pt x="7004" y="2957"/>
                  </a:lnTo>
                  <a:lnTo>
                    <a:pt x="6999" y="2940"/>
                  </a:lnTo>
                  <a:lnTo>
                    <a:pt x="7032" y="2924"/>
                  </a:lnTo>
                  <a:lnTo>
                    <a:pt x="7167" y="2924"/>
                  </a:lnTo>
                  <a:lnTo>
                    <a:pt x="7193" y="2886"/>
                  </a:lnTo>
                  <a:lnTo>
                    <a:pt x="7290" y="2808"/>
                  </a:lnTo>
                  <a:lnTo>
                    <a:pt x="7540" y="2803"/>
                  </a:lnTo>
                  <a:lnTo>
                    <a:pt x="7545" y="2787"/>
                  </a:lnTo>
                  <a:lnTo>
                    <a:pt x="7554" y="2775"/>
                  </a:lnTo>
                  <a:lnTo>
                    <a:pt x="7561" y="2787"/>
                  </a:lnTo>
                  <a:lnTo>
                    <a:pt x="7571" y="2775"/>
                  </a:lnTo>
                  <a:lnTo>
                    <a:pt x="7582" y="2787"/>
                  </a:lnTo>
                  <a:lnTo>
                    <a:pt x="7592" y="2759"/>
                  </a:lnTo>
                  <a:lnTo>
                    <a:pt x="7592" y="2754"/>
                  </a:lnTo>
                  <a:lnTo>
                    <a:pt x="7625" y="2718"/>
                  </a:lnTo>
                  <a:lnTo>
                    <a:pt x="7625" y="2697"/>
                  </a:lnTo>
                  <a:lnTo>
                    <a:pt x="7637" y="2676"/>
                  </a:lnTo>
                  <a:lnTo>
                    <a:pt x="7646" y="2648"/>
                  </a:lnTo>
                  <a:lnTo>
                    <a:pt x="7701" y="2581"/>
                  </a:lnTo>
                  <a:lnTo>
                    <a:pt x="7705" y="2586"/>
                  </a:lnTo>
                  <a:lnTo>
                    <a:pt x="7705" y="2603"/>
                  </a:lnTo>
                  <a:lnTo>
                    <a:pt x="7722" y="2610"/>
                  </a:lnTo>
                  <a:lnTo>
                    <a:pt x="7760" y="2591"/>
                  </a:lnTo>
                  <a:lnTo>
                    <a:pt x="7805" y="2619"/>
                  </a:lnTo>
                  <a:lnTo>
                    <a:pt x="7805" y="2747"/>
                  </a:lnTo>
                  <a:lnTo>
                    <a:pt x="7826" y="2754"/>
                  </a:lnTo>
                  <a:lnTo>
                    <a:pt x="7814" y="2759"/>
                  </a:lnTo>
                  <a:lnTo>
                    <a:pt x="7826" y="2775"/>
                  </a:lnTo>
                  <a:lnTo>
                    <a:pt x="7831" y="2792"/>
                  </a:lnTo>
                  <a:lnTo>
                    <a:pt x="7842" y="2792"/>
                  </a:lnTo>
                  <a:lnTo>
                    <a:pt x="7856" y="2808"/>
                  </a:lnTo>
                  <a:lnTo>
                    <a:pt x="7842" y="2813"/>
                  </a:lnTo>
                  <a:lnTo>
                    <a:pt x="7856" y="2813"/>
                  </a:lnTo>
                  <a:lnTo>
                    <a:pt x="7842" y="2829"/>
                  </a:lnTo>
                  <a:lnTo>
                    <a:pt x="7814" y="2829"/>
                  </a:lnTo>
                  <a:lnTo>
                    <a:pt x="7814" y="2846"/>
                  </a:lnTo>
                  <a:lnTo>
                    <a:pt x="7805" y="2846"/>
                  </a:lnTo>
                  <a:lnTo>
                    <a:pt x="7776" y="2863"/>
                  </a:lnTo>
                  <a:lnTo>
                    <a:pt x="7776" y="2858"/>
                  </a:lnTo>
                  <a:lnTo>
                    <a:pt x="7760" y="2858"/>
                  </a:lnTo>
                  <a:lnTo>
                    <a:pt x="7743" y="2858"/>
                  </a:lnTo>
                  <a:lnTo>
                    <a:pt x="7743" y="2863"/>
                  </a:lnTo>
                  <a:lnTo>
                    <a:pt x="7738" y="2863"/>
                  </a:lnTo>
                  <a:lnTo>
                    <a:pt x="7722" y="2863"/>
                  </a:lnTo>
                  <a:lnTo>
                    <a:pt x="7734" y="2841"/>
                  </a:lnTo>
                  <a:lnTo>
                    <a:pt x="7717" y="2858"/>
                  </a:lnTo>
                  <a:lnTo>
                    <a:pt x="7705" y="2886"/>
                  </a:lnTo>
                  <a:lnTo>
                    <a:pt x="7691" y="2898"/>
                  </a:lnTo>
                  <a:lnTo>
                    <a:pt x="7684" y="2886"/>
                  </a:lnTo>
                  <a:lnTo>
                    <a:pt x="7679" y="2903"/>
                  </a:lnTo>
                  <a:lnTo>
                    <a:pt x="7679" y="2886"/>
                  </a:lnTo>
                  <a:lnTo>
                    <a:pt x="7668" y="2903"/>
                  </a:lnTo>
                  <a:lnTo>
                    <a:pt x="7668" y="2886"/>
                  </a:lnTo>
                  <a:lnTo>
                    <a:pt x="7663" y="2914"/>
                  </a:lnTo>
                  <a:lnTo>
                    <a:pt x="7663" y="2886"/>
                  </a:lnTo>
                  <a:lnTo>
                    <a:pt x="7653" y="2898"/>
                  </a:lnTo>
                  <a:lnTo>
                    <a:pt x="7653" y="2919"/>
                  </a:lnTo>
                  <a:lnTo>
                    <a:pt x="7646" y="2903"/>
                  </a:lnTo>
                  <a:lnTo>
                    <a:pt x="7630" y="2914"/>
                  </a:lnTo>
                  <a:lnTo>
                    <a:pt x="7625" y="2924"/>
                  </a:lnTo>
                  <a:lnTo>
                    <a:pt x="7630" y="2936"/>
                  </a:lnTo>
                  <a:lnTo>
                    <a:pt x="7608" y="2952"/>
                  </a:lnTo>
                  <a:lnTo>
                    <a:pt x="7599" y="2974"/>
                  </a:lnTo>
                  <a:lnTo>
                    <a:pt x="7592" y="2969"/>
                  </a:lnTo>
                  <a:lnTo>
                    <a:pt x="7582" y="3007"/>
                  </a:lnTo>
                  <a:lnTo>
                    <a:pt x="7599" y="3014"/>
                  </a:lnTo>
                  <a:lnTo>
                    <a:pt x="7582" y="3023"/>
                  </a:lnTo>
                  <a:lnTo>
                    <a:pt x="7571" y="3035"/>
                  </a:lnTo>
                  <a:lnTo>
                    <a:pt x="7592" y="3047"/>
                  </a:lnTo>
                  <a:lnTo>
                    <a:pt x="7592" y="3068"/>
                  </a:lnTo>
                  <a:lnTo>
                    <a:pt x="7608" y="3080"/>
                  </a:lnTo>
                  <a:lnTo>
                    <a:pt x="7608" y="3085"/>
                  </a:lnTo>
                  <a:lnTo>
                    <a:pt x="7625" y="3096"/>
                  </a:lnTo>
                  <a:lnTo>
                    <a:pt x="7646" y="3085"/>
                  </a:lnTo>
                  <a:lnTo>
                    <a:pt x="7646" y="3080"/>
                  </a:lnTo>
                  <a:lnTo>
                    <a:pt x="7625" y="3063"/>
                  </a:lnTo>
                  <a:lnTo>
                    <a:pt x="7637" y="3063"/>
                  </a:lnTo>
                  <a:lnTo>
                    <a:pt x="7646" y="3080"/>
                  </a:lnTo>
                  <a:lnTo>
                    <a:pt x="7646" y="3096"/>
                  </a:lnTo>
                  <a:lnTo>
                    <a:pt x="7616" y="3101"/>
                  </a:lnTo>
                  <a:lnTo>
                    <a:pt x="7599" y="3108"/>
                  </a:lnTo>
                  <a:lnTo>
                    <a:pt x="7599" y="3096"/>
                  </a:lnTo>
                  <a:lnTo>
                    <a:pt x="7592" y="3096"/>
                  </a:lnTo>
                  <a:lnTo>
                    <a:pt x="7561" y="3118"/>
                  </a:lnTo>
                  <a:lnTo>
                    <a:pt x="7561" y="3101"/>
                  </a:lnTo>
                  <a:lnTo>
                    <a:pt x="7571" y="3085"/>
                  </a:lnTo>
                  <a:lnTo>
                    <a:pt x="7554" y="3101"/>
                  </a:lnTo>
                  <a:lnTo>
                    <a:pt x="7545" y="3085"/>
                  </a:lnTo>
                  <a:lnTo>
                    <a:pt x="7540" y="3125"/>
                  </a:lnTo>
                  <a:lnTo>
                    <a:pt x="7436" y="3134"/>
                  </a:lnTo>
                  <a:lnTo>
                    <a:pt x="7393" y="3158"/>
                  </a:lnTo>
                  <a:lnTo>
                    <a:pt x="7360" y="3179"/>
                  </a:lnTo>
                  <a:lnTo>
                    <a:pt x="7377" y="3151"/>
                  </a:lnTo>
                  <a:lnTo>
                    <a:pt x="7365" y="3125"/>
                  </a:lnTo>
                  <a:lnTo>
                    <a:pt x="7365" y="3158"/>
                  </a:lnTo>
                  <a:lnTo>
                    <a:pt x="7344" y="3196"/>
                  </a:lnTo>
                  <a:lnTo>
                    <a:pt x="7360" y="3196"/>
                  </a:lnTo>
                  <a:lnTo>
                    <a:pt x="7365" y="3212"/>
                  </a:lnTo>
                  <a:lnTo>
                    <a:pt x="7360" y="3262"/>
                  </a:lnTo>
                  <a:lnTo>
                    <a:pt x="7360" y="3236"/>
                  </a:lnTo>
                  <a:lnTo>
                    <a:pt x="7356" y="3269"/>
                  </a:lnTo>
                  <a:lnTo>
                    <a:pt x="7339" y="3285"/>
                  </a:lnTo>
                  <a:lnTo>
                    <a:pt x="7327" y="3290"/>
                  </a:lnTo>
                  <a:lnTo>
                    <a:pt x="7313" y="3302"/>
                  </a:lnTo>
                  <a:lnTo>
                    <a:pt x="7323" y="3302"/>
                  </a:lnTo>
                  <a:lnTo>
                    <a:pt x="7313" y="3318"/>
                  </a:lnTo>
                  <a:lnTo>
                    <a:pt x="7301" y="3328"/>
                  </a:lnTo>
                  <a:lnTo>
                    <a:pt x="7301" y="3307"/>
                  </a:lnTo>
                  <a:lnTo>
                    <a:pt x="7259" y="3290"/>
                  </a:lnTo>
                  <a:lnTo>
                    <a:pt x="7252" y="3274"/>
                  </a:lnTo>
                  <a:lnTo>
                    <a:pt x="7290" y="3236"/>
                  </a:lnTo>
                  <a:lnTo>
                    <a:pt x="7252" y="3269"/>
                  </a:lnTo>
                  <a:lnTo>
                    <a:pt x="7252" y="3285"/>
                  </a:lnTo>
                  <a:lnTo>
                    <a:pt x="7285" y="3347"/>
                  </a:lnTo>
                  <a:lnTo>
                    <a:pt x="7275" y="3356"/>
                  </a:lnTo>
                  <a:lnTo>
                    <a:pt x="7290" y="3363"/>
                  </a:lnTo>
                  <a:lnTo>
                    <a:pt x="7290" y="3373"/>
                  </a:lnTo>
                  <a:lnTo>
                    <a:pt x="7268" y="3401"/>
                  </a:lnTo>
                  <a:lnTo>
                    <a:pt x="7252" y="3439"/>
                  </a:lnTo>
                  <a:lnTo>
                    <a:pt x="7247" y="3451"/>
                  </a:lnTo>
                  <a:lnTo>
                    <a:pt x="7221" y="3484"/>
                  </a:lnTo>
                  <a:lnTo>
                    <a:pt x="7221" y="3467"/>
                  </a:lnTo>
                  <a:lnTo>
                    <a:pt x="7231" y="3439"/>
                  </a:lnTo>
                  <a:lnTo>
                    <a:pt x="7247" y="3418"/>
                  </a:lnTo>
                  <a:lnTo>
                    <a:pt x="7247" y="3413"/>
                  </a:lnTo>
                  <a:lnTo>
                    <a:pt x="7231" y="3413"/>
                  </a:lnTo>
                  <a:lnTo>
                    <a:pt x="7238" y="3373"/>
                  </a:lnTo>
                  <a:lnTo>
                    <a:pt x="7221" y="3385"/>
                  </a:lnTo>
                  <a:lnTo>
                    <a:pt x="7205" y="3380"/>
                  </a:lnTo>
                  <a:lnTo>
                    <a:pt x="7200" y="3373"/>
                  </a:lnTo>
                  <a:lnTo>
                    <a:pt x="7214" y="3363"/>
                  </a:lnTo>
                  <a:lnTo>
                    <a:pt x="7205" y="3363"/>
                  </a:lnTo>
                  <a:lnTo>
                    <a:pt x="7205" y="3356"/>
                  </a:lnTo>
                  <a:lnTo>
                    <a:pt x="7221" y="3363"/>
                  </a:lnTo>
                  <a:lnTo>
                    <a:pt x="7221" y="3356"/>
                  </a:lnTo>
                  <a:lnTo>
                    <a:pt x="7205" y="3347"/>
                  </a:lnTo>
                  <a:lnTo>
                    <a:pt x="7200" y="3347"/>
                  </a:lnTo>
                  <a:lnTo>
                    <a:pt x="7205" y="3340"/>
                  </a:lnTo>
                  <a:lnTo>
                    <a:pt x="7214" y="3340"/>
                  </a:lnTo>
                  <a:lnTo>
                    <a:pt x="7205" y="3323"/>
                  </a:lnTo>
                  <a:lnTo>
                    <a:pt x="7200" y="3340"/>
                  </a:lnTo>
                  <a:lnTo>
                    <a:pt x="7200" y="3323"/>
                  </a:lnTo>
                  <a:lnTo>
                    <a:pt x="7205" y="3323"/>
                  </a:lnTo>
                  <a:lnTo>
                    <a:pt x="7221" y="3318"/>
                  </a:lnTo>
                  <a:lnTo>
                    <a:pt x="7205" y="3323"/>
                  </a:lnTo>
                  <a:lnTo>
                    <a:pt x="7205" y="3307"/>
                  </a:lnTo>
                  <a:lnTo>
                    <a:pt x="7214" y="3302"/>
                  </a:lnTo>
                  <a:lnTo>
                    <a:pt x="7221" y="3290"/>
                  </a:lnTo>
                  <a:lnTo>
                    <a:pt x="7238" y="3274"/>
                  </a:lnTo>
                  <a:lnTo>
                    <a:pt x="7214" y="3274"/>
                  </a:lnTo>
                  <a:lnTo>
                    <a:pt x="7221" y="3285"/>
                  </a:lnTo>
                  <a:lnTo>
                    <a:pt x="7205" y="3290"/>
                  </a:lnTo>
                  <a:lnTo>
                    <a:pt x="7205" y="3285"/>
                  </a:lnTo>
                  <a:lnTo>
                    <a:pt x="7200" y="3290"/>
                  </a:lnTo>
                  <a:lnTo>
                    <a:pt x="7193" y="3302"/>
                  </a:lnTo>
                  <a:lnTo>
                    <a:pt x="7193" y="3307"/>
                  </a:lnTo>
                  <a:lnTo>
                    <a:pt x="7176" y="3302"/>
                  </a:lnTo>
                  <a:lnTo>
                    <a:pt x="7193" y="3323"/>
                  </a:lnTo>
                  <a:lnTo>
                    <a:pt x="7183" y="3347"/>
                  </a:lnTo>
                  <a:lnTo>
                    <a:pt x="7200" y="3380"/>
                  </a:lnTo>
                  <a:lnTo>
                    <a:pt x="7176" y="3373"/>
                  </a:lnTo>
                  <a:lnTo>
                    <a:pt x="7176" y="3356"/>
                  </a:lnTo>
                  <a:lnTo>
                    <a:pt x="7176" y="3373"/>
                  </a:lnTo>
                  <a:lnTo>
                    <a:pt x="7200" y="3385"/>
                  </a:lnTo>
                  <a:lnTo>
                    <a:pt x="7200" y="3401"/>
                  </a:lnTo>
                  <a:lnTo>
                    <a:pt x="7183" y="3385"/>
                  </a:lnTo>
                  <a:lnTo>
                    <a:pt x="7162" y="3385"/>
                  </a:lnTo>
                  <a:lnTo>
                    <a:pt x="7150" y="3373"/>
                  </a:lnTo>
                  <a:lnTo>
                    <a:pt x="7138" y="3373"/>
                  </a:lnTo>
                  <a:lnTo>
                    <a:pt x="7138" y="3363"/>
                  </a:lnTo>
                  <a:lnTo>
                    <a:pt x="7150" y="3347"/>
                  </a:lnTo>
                  <a:lnTo>
                    <a:pt x="7145" y="3328"/>
                  </a:lnTo>
                  <a:lnTo>
                    <a:pt x="7150" y="3347"/>
                  </a:lnTo>
                  <a:lnTo>
                    <a:pt x="7138" y="3356"/>
                  </a:lnTo>
                  <a:lnTo>
                    <a:pt x="7129" y="3380"/>
                  </a:lnTo>
                  <a:lnTo>
                    <a:pt x="7145" y="3380"/>
                  </a:lnTo>
                  <a:lnTo>
                    <a:pt x="7162" y="3396"/>
                  </a:lnTo>
                  <a:lnTo>
                    <a:pt x="7183" y="3396"/>
                  </a:lnTo>
                  <a:lnTo>
                    <a:pt x="7205" y="3418"/>
                  </a:lnTo>
                  <a:lnTo>
                    <a:pt x="7200" y="3439"/>
                  </a:lnTo>
                  <a:lnTo>
                    <a:pt x="7145" y="3396"/>
                  </a:lnTo>
                  <a:lnTo>
                    <a:pt x="7162" y="3401"/>
                  </a:lnTo>
                  <a:lnTo>
                    <a:pt x="7183" y="3439"/>
                  </a:lnTo>
                  <a:lnTo>
                    <a:pt x="7200" y="3439"/>
                  </a:lnTo>
                  <a:lnTo>
                    <a:pt x="7205" y="3455"/>
                  </a:lnTo>
                  <a:lnTo>
                    <a:pt x="7200" y="3455"/>
                  </a:lnTo>
                  <a:lnTo>
                    <a:pt x="7200" y="3467"/>
                  </a:lnTo>
                  <a:lnTo>
                    <a:pt x="7176" y="3455"/>
                  </a:lnTo>
                  <a:lnTo>
                    <a:pt x="7205" y="3484"/>
                  </a:lnTo>
                  <a:lnTo>
                    <a:pt x="7200" y="3496"/>
                  </a:lnTo>
                  <a:lnTo>
                    <a:pt x="7176" y="3472"/>
                  </a:lnTo>
                  <a:lnTo>
                    <a:pt x="7138" y="3467"/>
                  </a:lnTo>
                  <a:lnTo>
                    <a:pt x="7176" y="3484"/>
                  </a:lnTo>
                  <a:lnTo>
                    <a:pt x="7193" y="3496"/>
                  </a:lnTo>
                  <a:lnTo>
                    <a:pt x="7200" y="3507"/>
                  </a:lnTo>
                  <a:lnTo>
                    <a:pt x="7200" y="3496"/>
                  </a:lnTo>
                  <a:lnTo>
                    <a:pt x="7221" y="3496"/>
                  </a:lnTo>
                  <a:lnTo>
                    <a:pt x="7252" y="3595"/>
                  </a:lnTo>
                  <a:lnTo>
                    <a:pt x="7247" y="3566"/>
                  </a:lnTo>
                  <a:lnTo>
                    <a:pt x="7231" y="3512"/>
                  </a:lnTo>
                  <a:lnTo>
                    <a:pt x="7221" y="3529"/>
                  </a:lnTo>
                  <a:lnTo>
                    <a:pt x="7231" y="3540"/>
                  </a:lnTo>
                  <a:lnTo>
                    <a:pt x="7221" y="3529"/>
                  </a:lnTo>
                  <a:lnTo>
                    <a:pt x="7238" y="3566"/>
                  </a:lnTo>
                  <a:lnTo>
                    <a:pt x="7221" y="3545"/>
                  </a:lnTo>
                  <a:lnTo>
                    <a:pt x="7231" y="3562"/>
                  </a:lnTo>
                  <a:lnTo>
                    <a:pt x="7205" y="3545"/>
                  </a:lnTo>
                  <a:lnTo>
                    <a:pt x="7221" y="3562"/>
                  </a:lnTo>
                  <a:lnTo>
                    <a:pt x="7205" y="3566"/>
                  </a:lnTo>
                  <a:lnTo>
                    <a:pt x="7200" y="3562"/>
                  </a:lnTo>
                  <a:lnTo>
                    <a:pt x="7193" y="3578"/>
                  </a:lnTo>
                  <a:lnTo>
                    <a:pt x="7176" y="3566"/>
                  </a:lnTo>
                  <a:lnTo>
                    <a:pt x="7176" y="3550"/>
                  </a:lnTo>
                  <a:lnTo>
                    <a:pt x="7167" y="3578"/>
                  </a:lnTo>
                  <a:lnTo>
                    <a:pt x="7193" y="3578"/>
                  </a:lnTo>
                  <a:lnTo>
                    <a:pt x="7205" y="3578"/>
                  </a:lnTo>
                  <a:lnTo>
                    <a:pt x="7214" y="3578"/>
                  </a:lnTo>
                  <a:lnTo>
                    <a:pt x="7221" y="3600"/>
                  </a:lnTo>
                  <a:lnTo>
                    <a:pt x="7214" y="3600"/>
                  </a:lnTo>
                  <a:lnTo>
                    <a:pt x="7221" y="3600"/>
                  </a:lnTo>
                  <a:lnTo>
                    <a:pt x="7221" y="3583"/>
                  </a:lnTo>
                  <a:lnTo>
                    <a:pt x="7231" y="3578"/>
                  </a:lnTo>
                  <a:lnTo>
                    <a:pt x="7247" y="3595"/>
                  </a:lnTo>
                  <a:lnTo>
                    <a:pt x="7238" y="3607"/>
                  </a:lnTo>
                  <a:lnTo>
                    <a:pt x="7221" y="3616"/>
                  </a:lnTo>
                  <a:lnTo>
                    <a:pt x="7214" y="3623"/>
                  </a:lnTo>
                  <a:lnTo>
                    <a:pt x="7193" y="3623"/>
                  </a:lnTo>
                  <a:lnTo>
                    <a:pt x="7183" y="3607"/>
                  </a:lnTo>
                  <a:lnTo>
                    <a:pt x="7176" y="3623"/>
                  </a:lnTo>
                  <a:lnTo>
                    <a:pt x="7150" y="3607"/>
                  </a:lnTo>
                  <a:lnTo>
                    <a:pt x="7193" y="3633"/>
                  </a:lnTo>
                  <a:lnTo>
                    <a:pt x="7176" y="3640"/>
                  </a:lnTo>
                  <a:lnTo>
                    <a:pt x="7183" y="3651"/>
                  </a:lnTo>
                  <a:lnTo>
                    <a:pt x="7167" y="3656"/>
                  </a:lnTo>
                  <a:lnTo>
                    <a:pt x="7145" y="3640"/>
                  </a:lnTo>
                  <a:lnTo>
                    <a:pt x="7150" y="3656"/>
                  </a:lnTo>
                  <a:lnTo>
                    <a:pt x="7167" y="3661"/>
                  </a:lnTo>
                  <a:lnTo>
                    <a:pt x="7193" y="3651"/>
                  </a:lnTo>
                  <a:lnTo>
                    <a:pt x="7193" y="3661"/>
                  </a:lnTo>
                  <a:lnTo>
                    <a:pt x="7200" y="3656"/>
                  </a:lnTo>
                  <a:lnTo>
                    <a:pt x="7205" y="3656"/>
                  </a:lnTo>
                  <a:lnTo>
                    <a:pt x="7200" y="3661"/>
                  </a:lnTo>
                  <a:lnTo>
                    <a:pt x="7183" y="3677"/>
                  </a:lnTo>
                  <a:lnTo>
                    <a:pt x="7176" y="3677"/>
                  </a:lnTo>
                  <a:lnTo>
                    <a:pt x="7176" y="3673"/>
                  </a:lnTo>
                  <a:lnTo>
                    <a:pt x="7145" y="3677"/>
                  </a:lnTo>
                  <a:lnTo>
                    <a:pt x="7129" y="3689"/>
                  </a:lnTo>
                  <a:lnTo>
                    <a:pt x="7124" y="3677"/>
                  </a:lnTo>
                  <a:lnTo>
                    <a:pt x="7129" y="3694"/>
                  </a:lnTo>
                  <a:lnTo>
                    <a:pt x="7108" y="3711"/>
                  </a:lnTo>
                  <a:lnTo>
                    <a:pt x="7091" y="3744"/>
                  </a:lnTo>
                  <a:lnTo>
                    <a:pt x="7086" y="3727"/>
                  </a:lnTo>
                  <a:lnTo>
                    <a:pt x="7086" y="3744"/>
                  </a:lnTo>
                  <a:lnTo>
                    <a:pt x="7042" y="3744"/>
                  </a:lnTo>
                  <a:lnTo>
                    <a:pt x="7020" y="3760"/>
                  </a:lnTo>
                  <a:lnTo>
                    <a:pt x="6999" y="3800"/>
                  </a:lnTo>
                  <a:lnTo>
                    <a:pt x="6987" y="3788"/>
                  </a:lnTo>
                  <a:lnTo>
                    <a:pt x="6999" y="3784"/>
                  </a:lnTo>
                  <a:lnTo>
                    <a:pt x="6987" y="3788"/>
                  </a:lnTo>
                  <a:lnTo>
                    <a:pt x="6999" y="3805"/>
                  </a:lnTo>
                  <a:lnTo>
                    <a:pt x="6982" y="3817"/>
                  </a:lnTo>
                  <a:lnTo>
                    <a:pt x="6978" y="3817"/>
                  </a:lnTo>
                  <a:lnTo>
                    <a:pt x="6949" y="3838"/>
                  </a:lnTo>
                  <a:lnTo>
                    <a:pt x="6945" y="3829"/>
                  </a:lnTo>
                  <a:lnTo>
                    <a:pt x="6949" y="3845"/>
                  </a:lnTo>
                  <a:lnTo>
                    <a:pt x="6923" y="3862"/>
                  </a:lnTo>
                  <a:lnTo>
                    <a:pt x="6897" y="3855"/>
                  </a:lnTo>
                  <a:lnTo>
                    <a:pt x="6907" y="3862"/>
                  </a:lnTo>
                  <a:lnTo>
                    <a:pt x="6907" y="3871"/>
                  </a:lnTo>
                  <a:lnTo>
                    <a:pt x="6897" y="3878"/>
                  </a:lnTo>
                  <a:lnTo>
                    <a:pt x="6897" y="3862"/>
                  </a:lnTo>
                  <a:lnTo>
                    <a:pt x="6890" y="3871"/>
                  </a:lnTo>
                  <a:lnTo>
                    <a:pt x="6881" y="3855"/>
                  </a:lnTo>
                  <a:lnTo>
                    <a:pt x="6897" y="3878"/>
                  </a:lnTo>
                  <a:lnTo>
                    <a:pt x="6881" y="3883"/>
                  </a:lnTo>
                  <a:lnTo>
                    <a:pt x="6881" y="3895"/>
                  </a:lnTo>
                  <a:lnTo>
                    <a:pt x="6881" y="3900"/>
                  </a:lnTo>
                  <a:lnTo>
                    <a:pt x="6869" y="3916"/>
                  </a:lnTo>
                  <a:lnTo>
                    <a:pt x="6860" y="3933"/>
                  </a:lnTo>
                  <a:lnTo>
                    <a:pt x="6853" y="3933"/>
                  </a:lnTo>
                  <a:lnTo>
                    <a:pt x="6860" y="3937"/>
                  </a:lnTo>
                  <a:lnTo>
                    <a:pt x="6853" y="3956"/>
                  </a:lnTo>
                  <a:lnTo>
                    <a:pt x="6836" y="3966"/>
                  </a:lnTo>
                  <a:lnTo>
                    <a:pt x="6843" y="3973"/>
                  </a:lnTo>
                  <a:lnTo>
                    <a:pt x="6836" y="3989"/>
                  </a:lnTo>
                  <a:lnTo>
                    <a:pt x="6853" y="4077"/>
                  </a:lnTo>
                  <a:lnTo>
                    <a:pt x="6874" y="4122"/>
                  </a:lnTo>
                  <a:lnTo>
                    <a:pt x="6907" y="4171"/>
                  </a:lnTo>
                  <a:lnTo>
                    <a:pt x="6897" y="4192"/>
                  </a:lnTo>
                  <a:lnTo>
                    <a:pt x="6912" y="4225"/>
                  </a:lnTo>
                  <a:lnTo>
                    <a:pt x="6897" y="4192"/>
                  </a:lnTo>
                  <a:lnTo>
                    <a:pt x="6897" y="4159"/>
                  </a:lnTo>
                  <a:lnTo>
                    <a:pt x="6890" y="4159"/>
                  </a:lnTo>
                  <a:lnTo>
                    <a:pt x="6890" y="4155"/>
                  </a:lnTo>
                  <a:lnTo>
                    <a:pt x="6881" y="4155"/>
                  </a:lnTo>
                  <a:lnTo>
                    <a:pt x="6890" y="4176"/>
                  </a:lnTo>
                  <a:lnTo>
                    <a:pt x="6935" y="4303"/>
                  </a:lnTo>
                  <a:lnTo>
                    <a:pt x="6928" y="4377"/>
                  </a:lnTo>
                  <a:lnTo>
                    <a:pt x="6923" y="4398"/>
                  </a:lnTo>
                  <a:lnTo>
                    <a:pt x="6912" y="4431"/>
                  </a:lnTo>
                  <a:lnTo>
                    <a:pt x="6907" y="4426"/>
                  </a:lnTo>
                  <a:lnTo>
                    <a:pt x="6869" y="4431"/>
                  </a:lnTo>
                  <a:lnTo>
                    <a:pt x="6860" y="4426"/>
                  </a:lnTo>
                  <a:lnTo>
                    <a:pt x="6874" y="4431"/>
                  </a:lnTo>
                  <a:lnTo>
                    <a:pt x="6874" y="4426"/>
                  </a:lnTo>
                  <a:lnTo>
                    <a:pt x="6860" y="4414"/>
                  </a:lnTo>
                  <a:lnTo>
                    <a:pt x="6853" y="4381"/>
                  </a:lnTo>
                  <a:lnTo>
                    <a:pt x="6822" y="4370"/>
                  </a:lnTo>
                  <a:lnTo>
                    <a:pt x="6815" y="4327"/>
                  </a:lnTo>
                  <a:lnTo>
                    <a:pt x="6805" y="4327"/>
                  </a:lnTo>
                  <a:lnTo>
                    <a:pt x="6822" y="4315"/>
                  </a:lnTo>
                  <a:lnTo>
                    <a:pt x="6805" y="4327"/>
                  </a:lnTo>
                  <a:lnTo>
                    <a:pt x="6798" y="4327"/>
                  </a:lnTo>
                  <a:lnTo>
                    <a:pt x="6798" y="4299"/>
                  </a:lnTo>
                  <a:lnTo>
                    <a:pt x="6789" y="4299"/>
                  </a:lnTo>
                  <a:lnTo>
                    <a:pt x="6789" y="4303"/>
                  </a:lnTo>
                  <a:lnTo>
                    <a:pt x="6784" y="4303"/>
                  </a:lnTo>
                  <a:lnTo>
                    <a:pt x="6760" y="4261"/>
                  </a:lnTo>
                  <a:lnTo>
                    <a:pt x="6772" y="4225"/>
                  </a:lnTo>
                  <a:lnTo>
                    <a:pt x="6772" y="4216"/>
                  </a:lnTo>
                  <a:lnTo>
                    <a:pt x="6751" y="4209"/>
                  </a:lnTo>
                  <a:lnTo>
                    <a:pt x="6751" y="4216"/>
                  </a:lnTo>
                  <a:lnTo>
                    <a:pt x="6760" y="4225"/>
                  </a:lnTo>
                  <a:lnTo>
                    <a:pt x="6751" y="4244"/>
                  </a:lnTo>
                  <a:lnTo>
                    <a:pt x="6746" y="4225"/>
                  </a:lnTo>
                  <a:lnTo>
                    <a:pt x="6760" y="4176"/>
                  </a:lnTo>
                  <a:lnTo>
                    <a:pt x="6760" y="4150"/>
                  </a:lnTo>
                  <a:lnTo>
                    <a:pt x="6746" y="4122"/>
                  </a:lnTo>
                  <a:lnTo>
                    <a:pt x="6730" y="4117"/>
                  </a:lnTo>
                  <a:lnTo>
                    <a:pt x="6708" y="4093"/>
                  </a:lnTo>
                  <a:lnTo>
                    <a:pt x="6708" y="4081"/>
                  </a:lnTo>
                  <a:lnTo>
                    <a:pt x="6680" y="4060"/>
                  </a:lnTo>
                  <a:lnTo>
                    <a:pt x="6659" y="4048"/>
                  </a:lnTo>
                  <a:lnTo>
                    <a:pt x="6642" y="4048"/>
                  </a:lnTo>
                  <a:lnTo>
                    <a:pt x="6626" y="4060"/>
                  </a:lnTo>
                  <a:lnTo>
                    <a:pt x="6638" y="4065"/>
                  </a:lnTo>
                  <a:lnTo>
                    <a:pt x="6626" y="4060"/>
                  </a:lnTo>
                  <a:lnTo>
                    <a:pt x="6600" y="4077"/>
                  </a:lnTo>
                  <a:lnTo>
                    <a:pt x="6567" y="4081"/>
                  </a:lnTo>
                  <a:lnTo>
                    <a:pt x="6567" y="4065"/>
                  </a:lnTo>
                  <a:lnTo>
                    <a:pt x="6567" y="4081"/>
                  </a:lnTo>
                  <a:lnTo>
                    <a:pt x="6567" y="4065"/>
                  </a:lnTo>
                  <a:lnTo>
                    <a:pt x="6545" y="4048"/>
                  </a:lnTo>
                  <a:lnTo>
                    <a:pt x="6567" y="4048"/>
                  </a:lnTo>
                  <a:lnTo>
                    <a:pt x="6545" y="4044"/>
                  </a:lnTo>
                  <a:lnTo>
                    <a:pt x="6534" y="4039"/>
                  </a:lnTo>
                  <a:lnTo>
                    <a:pt x="6545" y="4044"/>
                  </a:lnTo>
                  <a:lnTo>
                    <a:pt x="6496" y="4027"/>
                  </a:lnTo>
                  <a:lnTo>
                    <a:pt x="6512" y="4027"/>
                  </a:lnTo>
                  <a:lnTo>
                    <a:pt x="6503" y="4022"/>
                  </a:lnTo>
                  <a:lnTo>
                    <a:pt x="6437" y="4027"/>
                  </a:lnTo>
                  <a:lnTo>
                    <a:pt x="6458" y="4022"/>
                  </a:lnTo>
                  <a:lnTo>
                    <a:pt x="6442" y="4011"/>
                  </a:lnTo>
                  <a:lnTo>
                    <a:pt x="6427" y="4027"/>
                  </a:lnTo>
                  <a:lnTo>
                    <a:pt x="6411" y="4039"/>
                  </a:lnTo>
                  <a:lnTo>
                    <a:pt x="6427" y="4022"/>
                  </a:lnTo>
                  <a:lnTo>
                    <a:pt x="6420" y="4022"/>
                  </a:lnTo>
                  <a:lnTo>
                    <a:pt x="6411" y="4039"/>
                  </a:lnTo>
                  <a:lnTo>
                    <a:pt x="6382" y="4039"/>
                  </a:lnTo>
                  <a:lnTo>
                    <a:pt x="6394" y="4039"/>
                  </a:lnTo>
                  <a:lnTo>
                    <a:pt x="6390" y="4022"/>
                  </a:lnTo>
                  <a:lnTo>
                    <a:pt x="6390" y="4006"/>
                  </a:lnTo>
                  <a:lnTo>
                    <a:pt x="6382" y="4006"/>
                  </a:lnTo>
                  <a:lnTo>
                    <a:pt x="6373" y="4027"/>
                  </a:lnTo>
                  <a:lnTo>
                    <a:pt x="6357" y="4027"/>
                  </a:lnTo>
                  <a:lnTo>
                    <a:pt x="6352" y="4027"/>
                  </a:lnTo>
                  <a:lnTo>
                    <a:pt x="6314" y="4022"/>
                  </a:lnTo>
                  <a:lnTo>
                    <a:pt x="6276" y="4044"/>
                  </a:lnTo>
                  <a:lnTo>
                    <a:pt x="6227" y="4027"/>
                  </a:lnTo>
                  <a:lnTo>
                    <a:pt x="6210" y="4044"/>
                  </a:lnTo>
                  <a:lnTo>
                    <a:pt x="6210" y="4048"/>
                  </a:lnTo>
                  <a:lnTo>
                    <a:pt x="6227" y="4048"/>
                  </a:lnTo>
                  <a:lnTo>
                    <a:pt x="6264" y="4044"/>
                  </a:lnTo>
                  <a:lnTo>
                    <a:pt x="6248" y="4048"/>
                  </a:lnTo>
                  <a:lnTo>
                    <a:pt x="6264" y="4065"/>
                  </a:lnTo>
                  <a:lnTo>
                    <a:pt x="6281" y="4048"/>
                  </a:lnTo>
                  <a:lnTo>
                    <a:pt x="6286" y="4065"/>
                  </a:lnTo>
                  <a:lnTo>
                    <a:pt x="6281" y="4077"/>
                  </a:lnTo>
                  <a:lnTo>
                    <a:pt x="6281" y="4065"/>
                  </a:lnTo>
                  <a:lnTo>
                    <a:pt x="6260" y="4081"/>
                  </a:lnTo>
                  <a:lnTo>
                    <a:pt x="6314" y="4122"/>
                  </a:lnTo>
                  <a:lnTo>
                    <a:pt x="6302" y="4133"/>
                  </a:lnTo>
                  <a:lnTo>
                    <a:pt x="6297" y="4133"/>
                  </a:lnTo>
                  <a:lnTo>
                    <a:pt x="6281" y="4138"/>
                  </a:lnTo>
                  <a:lnTo>
                    <a:pt x="6286" y="4122"/>
                  </a:lnTo>
                  <a:lnTo>
                    <a:pt x="6281" y="4133"/>
                  </a:lnTo>
                  <a:lnTo>
                    <a:pt x="6281" y="4117"/>
                  </a:lnTo>
                  <a:lnTo>
                    <a:pt x="6260" y="4105"/>
                  </a:lnTo>
                  <a:lnTo>
                    <a:pt x="6260" y="4100"/>
                  </a:lnTo>
                  <a:lnTo>
                    <a:pt x="6227" y="4093"/>
                  </a:lnTo>
                  <a:lnTo>
                    <a:pt x="6227" y="4100"/>
                  </a:lnTo>
                  <a:lnTo>
                    <a:pt x="6243" y="4100"/>
                  </a:lnTo>
                  <a:lnTo>
                    <a:pt x="6231" y="4122"/>
                  </a:lnTo>
                  <a:lnTo>
                    <a:pt x="6227" y="4133"/>
                  </a:lnTo>
                  <a:lnTo>
                    <a:pt x="6222" y="4117"/>
                  </a:lnTo>
                  <a:lnTo>
                    <a:pt x="6210" y="4105"/>
                  </a:lnTo>
                  <a:lnTo>
                    <a:pt x="6189" y="4122"/>
                  </a:lnTo>
                  <a:lnTo>
                    <a:pt x="6151" y="4117"/>
                  </a:lnTo>
                  <a:lnTo>
                    <a:pt x="6151" y="4105"/>
                  </a:lnTo>
                  <a:lnTo>
                    <a:pt x="6156" y="4105"/>
                  </a:lnTo>
                  <a:lnTo>
                    <a:pt x="6156" y="4117"/>
                  </a:lnTo>
                  <a:lnTo>
                    <a:pt x="6168" y="4105"/>
                  </a:lnTo>
                  <a:lnTo>
                    <a:pt x="6134" y="4093"/>
                  </a:lnTo>
                  <a:lnTo>
                    <a:pt x="6125" y="4077"/>
                  </a:lnTo>
                  <a:lnTo>
                    <a:pt x="6113" y="4065"/>
                  </a:lnTo>
                  <a:lnTo>
                    <a:pt x="6087" y="4077"/>
                  </a:lnTo>
                  <a:lnTo>
                    <a:pt x="6097" y="4081"/>
                  </a:lnTo>
                  <a:lnTo>
                    <a:pt x="6080" y="4093"/>
                  </a:lnTo>
                  <a:lnTo>
                    <a:pt x="6012" y="4077"/>
                  </a:lnTo>
                  <a:lnTo>
                    <a:pt x="5974" y="4077"/>
                  </a:lnTo>
                  <a:lnTo>
                    <a:pt x="5962" y="4065"/>
                  </a:lnTo>
                  <a:lnTo>
                    <a:pt x="5979" y="4060"/>
                  </a:lnTo>
                  <a:lnTo>
                    <a:pt x="5974" y="4060"/>
                  </a:lnTo>
                  <a:lnTo>
                    <a:pt x="5962" y="4065"/>
                  </a:lnTo>
                  <a:lnTo>
                    <a:pt x="5974" y="4081"/>
                  </a:lnTo>
                  <a:lnTo>
                    <a:pt x="5950" y="4081"/>
                  </a:lnTo>
                  <a:lnTo>
                    <a:pt x="5903" y="4105"/>
                  </a:lnTo>
                  <a:lnTo>
                    <a:pt x="5924" y="4093"/>
                  </a:lnTo>
                  <a:lnTo>
                    <a:pt x="5903" y="4093"/>
                  </a:lnTo>
                  <a:lnTo>
                    <a:pt x="5908" y="4077"/>
                  </a:lnTo>
                  <a:lnTo>
                    <a:pt x="5886" y="4077"/>
                  </a:lnTo>
                  <a:lnTo>
                    <a:pt x="5898" y="4105"/>
                  </a:lnTo>
                  <a:lnTo>
                    <a:pt x="5882" y="4133"/>
                  </a:lnTo>
                  <a:lnTo>
                    <a:pt x="5799" y="4176"/>
                  </a:lnTo>
                  <a:lnTo>
                    <a:pt x="5816" y="4159"/>
                  </a:lnTo>
                  <a:lnTo>
                    <a:pt x="5799" y="4171"/>
                  </a:lnTo>
                  <a:lnTo>
                    <a:pt x="5811" y="4159"/>
                  </a:lnTo>
                  <a:lnTo>
                    <a:pt x="5790" y="4155"/>
                  </a:lnTo>
                  <a:lnTo>
                    <a:pt x="5794" y="4159"/>
                  </a:lnTo>
                  <a:lnTo>
                    <a:pt x="5790" y="4159"/>
                  </a:lnTo>
                  <a:lnTo>
                    <a:pt x="5773" y="4155"/>
                  </a:lnTo>
                  <a:lnTo>
                    <a:pt x="5778" y="4171"/>
                  </a:lnTo>
                  <a:lnTo>
                    <a:pt x="5794" y="4176"/>
                  </a:lnTo>
                  <a:lnTo>
                    <a:pt x="5773" y="4188"/>
                  </a:lnTo>
                  <a:lnTo>
                    <a:pt x="5761" y="4176"/>
                  </a:lnTo>
                  <a:lnTo>
                    <a:pt x="5761" y="4192"/>
                  </a:lnTo>
                  <a:lnTo>
                    <a:pt x="5757" y="4204"/>
                  </a:lnTo>
                  <a:lnTo>
                    <a:pt x="5740" y="4204"/>
                  </a:lnTo>
                  <a:lnTo>
                    <a:pt x="5735" y="4209"/>
                  </a:lnTo>
                  <a:lnTo>
                    <a:pt x="5747" y="4209"/>
                  </a:lnTo>
                  <a:lnTo>
                    <a:pt x="5740" y="4225"/>
                  </a:lnTo>
                  <a:lnTo>
                    <a:pt x="5709" y="4225"/>
                  </a:lnTo>
                  <a:lnTo>
                    <a:pt x="5735" y="4244"/>
                  </a:lnTo>
                  <a:lnTo>
                    <a:pt x="5719" y="4266"/>
                  </a:lnTo>
                  <a:lnTo>
                    <a:pt x="5709" y="4266"/>
                  </a:lnTo>
                  <a:lnTo>
                    <a:pt x="5693" y="4261"/>
                  </a:lnTo>
                  <a:lnTo>
                    <a:pt x="5702" y="4270"/>
                  </a:lnTo>
                  <a:lnTo>
                    <a:pt x="5719" y="4266"/>
                  </a:lnTo>
                  <a:lnTo>
                    <a:pt x="5709" y="4303"/>
                  </a:lnTo>
                  <a:lnTo>
                    <a:pt x="5735" y="4370"/>
                  </a:lnTo>
                  <a:lnTo>
                    <a:pt x="5740" y="4360"/>
                  </a:lnTo>
                  <a:lnTo>
                    <a:pt x="5740" y="4370"/>
                  </a:lnTo>
                  <a:lnTo>
                    <a:pt x="5719" y="4377"/>
                  </a:lnTo>
                  <a:lnTo>
                    <a:pt x="5702" y="4370"/>
                  </a:lnTo>
                  <a:lnTo>
                    <a:pt x="5664" y="4360"/>
                  </a:lnTo>
                  <a:lnTo>
                    <a:pt x="5648" y="4353"/>
                  </a:lnTo>
                  <a:lnTo>
                    <a:pt x="5601" y="4337"/>
                  </a:lnTo>
                  <a:lnTo>
                    <a:pt x="5596" y="4303"/>
                  </a:lnTo>
                  <a:lnTo>
                    <a:pt x="5579" y="4287"/>
                  </a:lnTo>
                  <a:lnTo>
                    <a:pt x="5572" y="4249"/>
                  </a:lnTo>
                  <a:lnTo>
                    <a:pt x="5546" y="4233"/>
                  </a:lnTo>
                  <a:lnTo>
                    <a:pt x="5530" y="4204"/>
                  </a:lnTo>
                  <a:lnTo>
                    <a:pt x="5520" y="4192"/>
                  </a:lnTo>
                  <a:lnTo>
                    <a:pt x="5492" y="4122"/>
                  </a:lnTo>
                  <a:lnTo>
                    <a:pt x="5449" y="4081"/>
                  </a:lnTo>
                  <a:lnTo>
                    <a:pt x="5438" y="4077"/>
                  </a:lnTo>
                  <a:lnTo>
                    <a:pt x="5395" y="4077"/>
                  </a:lnTo>
                  <a:lnTo>
                    <a:pt x="5379" y="4065"/>
                  </a:lnTo>
                  <a:lnTo>
                    <a:pt x="5357" y="4077"/>
                  </a:lnTo>
                  <a:lnTo>
                    <a:pt x="5341" y="4117"/>
                  </a:lnTo>
                  <a:lnTo>
                    <a:pt x="5315" y="4138"/>
                  </a:lnTo>
                  <a:lnTo>
                    <a:pt x="5303" y="4133"/>
                  </a:lnTo>
                  <a:lnTo>
                    <a:pt x="5256" y="4105"/>
                  </a:lnTo>
                  <a:lnTo>
                    <a:pt x="5223" y="4081"/>
                  </a:lnTo>
                  <a:lnTo>
                    <a:pt x="5206" y="4060"/>
                  </a:lnTo>
                  <a:lnTo>
                    <a:pt x="5206" y="4044"/>
                  </a:lnTo>
                  <a:lnTo>
                    <a:pt x="5194" y="4011"/>
                  </a:lnTo>
                  <a:lnTo>
                    <a:pt x="5097" y="3937"/>
                  </a:lnTo>
                  <a:lnTo>
                    <a:pt x="5093" y="3916"/>
                  </a:lnTo>
                  <a:lnTo>
                    <a:pt x="4963" y="3916"/>
                  </a:lnTo>
                  <a:lnTo>
                    <a:pt x="4963" y="3949"/>
                  </a:lnTo>
                  <a:lnTo>
                    <a:pt x="4764" y="3949"/>
                  </a:lnTo>
                  <a:lnTo>
                    <a:pt x="4500" y="3855"/>
                  </a:lnTo>
                  <a:lnTo>
                    <a:pt x="4505" y="3838"/>
                  </a:lnTo>
                  <a:lnTo>
                    <a:pt x="4337" y="3855"/>
                  </a:lnTo>
                  <a:lnTo>
                    <a:pt x="4325" y="3838"/>
                  </a:lnTo>
                  <a:lnTo>
                    <a:pt x="4337" y="3845"/>
                  </a:lnTo>
                  <a:lnTo>
                    <a:pt x="4325" y="3845"/>
                  </a:lnTo>
                  <a:lnTo>
                    <a:pt x="4325" y="3822"/>
                  </a:lnTo>
                  <a:lnTo>
                    <a:pt x="4316" y="3788"/>
                  </a:lnTo>
                  <a:lnTo>
                    <a:pt x="4266" y="3760"/>
                  </a:lnTo>
                  <a:lnTo>
                    <a:pt x="4249" y="3760"/>
                  </a:lnTo>
                  <a:lnTo>
                    <a:pt x="4235" y="3734"/>
                  </a:lnTo>
                  <a:lnTo>
                    <a:pt x="4197" y="3727"/>
                  </a:lnTo>
                  <a:lnTo>
                    <a:pt x="4164" y="3706"/>
                  </a:lnTo>
                  <a:lnTo>
                    <a:pt x="4105" y="3706"/>
                  </a:lnTo>
                  <a:lnTo>
                    <a:pt x="4089" y="3689"/>
                  </a:lnTo>
                  <a:lnTo>
                    <a:pt x="4098" y="3651"/>
                  </a:lnTo>
                  <a:lnTo>
                    <a:pt x="4072" y="3640"/>
                  </a:lnTo>
                  <a:lnTo>
                    <a:pt x="4072" y="3616"/>
                  </a:lnTo>
                  <a:lnTo>
                    <a:pt x="4001" y="3545"/>
                  </a:lnTo>
                  <a:lnTo>
                    <a:pt x="3997" y="3524"/>
                  </a:lnTo>
                  <a:lnTo>
                    <a:pt x="4013" y="3524"/>
                  </a:lnTo>
                  <a:lnTo>
                    <a:pt x="4013" y="3496"/>
                  </a:lnTo>
                  <a:lnTo>
                    <a:pt x="4001" y="3488"/>
                  </a:lnTo>
                  <a:lnTo>
                    <a:pt x="3980" y="3488"/>
                  </a:lnTo>
                  <a:lnTo>
                    <a:pt x="3964" y="3472"/>
                  </a:lnTo>
                  <a:lnTo>
                    <a:pt x="3964" y="3455"/>
                  </a:lnTo>
                  <a:lnTo>
                    <a:pt x="3959" y="3451"/>
                  </a:lnTo>
                  <a:lnTo>
                    <a:pt x="3959" y="3429"/>
                  </a:lnTo>
                  <a:lnTo>
                    <a:pt x="3964" y="3429"/>
                  </a:lnTo>
                  <a:lnTo>
                    <a:pt x="3975" y="3439"/>
                  </a:lnTo>
                  <a:lnTo>
                    <a:pt x="3997" y="3451"/>
                  </a:lnTo>
                  <a:lnTo>
                    <a:pt x="3964" y="3413"/>
                  </a:lnTo>
                  <a:lnTo>
                    <a:pt x="3980" y="3401"/>
                  </a:lnTo>
                  <a:lnTo>
                    <a:pt x="4018" y="3413"/>
                  </a:lnTo>
                  <a:lnTo>
                    <a:pt x="4030" y="3401"/>
                  </a:lnTo>
                  <a:lnTo>
                    <a:pt x="4034" y="3413"/>
                  </a:lnTo>
                  <a:lnTo>
                    <a:pt x="4030" y="3401"/>
                  </a:lnTo>
                  <a:lnTo>
                    <a:pt x="4013" y="3401"/>
                  </a:lnTo>
                  <a:lnTo>
                    <a:pt x="3997" y="3396"/>
                  </a:lnTo>
                  <a:lnTo>
                    <a:pt x="3992" y="3401"/>
                  </a:lnTo>
                  <a:lnTo>
                    <a:pt x="3975" y="3396"/>
                  </a:lnTo>
                  <a:lnTo>
                    <a:pt x="3964" y="3396"/>
                  </a:lnTo>
                  <a:lnTo>
                    <a:pt x="3964" y="3418"/>
                  </a:lnTo>
                  <a:lnTo>
                    <a:pt x="3959" y="3429"/>
                  </a:lnTo>
                  <a:lnTo>
                    <a:pt x="3938" y="3401"/>
                  </a:lnTo>
                  <a:lnTo>
                    <a:pt x="3926" y="3413"/>
                  </a:lnTo>
                  <a:lnTo>
                    <a:pt x="3926" y="3385"/>
                  </a:lnTo>
                  <a:lnTo>
                    <a:pt x="3942" y="3401"/>
                  </a:lnTo>
                  <a:lnTo>
                    <a:pt x="3921" y="3373"/>
                  </a:lnTo>
                  <a:lnTo>
                    <a:pt x="3871" y="3328"/>
                  </a:lnTo>
                  <a:lnTo>
                    <a:pt x="3871" y="3262"/>
                  </a:lnTo>
                  <a:lnTo>
                    <a:pt x="3850" y="3229"/>
                  </a:lnTo>
                  <a:lnTo>
                    <a:pt x="3834" y="3219"/>
                  </a:lnTo>
                  <a:lnTo>
                    <a:pt x="3829" y="3207"/>
                  </a:lnTo>
                  <a:lnTo>
                    <a:pt x="3841" y="3174"/>
                  </a:lnTo>
                  <a:lnTo>
                    <a:pt x="3850" y="3118"/>
                  </a:lnTo>
                  <a:lnTo>
                    <a:pt x="3841" y="3085"/>
                  </a:lnTo>
                  <a:lnTo>
                    <a:pt x="3841" y="3068"/>
                  </a:lnTo>
                  <a:lnTo>
                    <a:pt x="3829" y="3047"/>
                  </a:lnTo>
                  <a:lnTo>
                    <a:pt x="3829" y="3014"/>
                  </a:lnTo>
                  <a:lnTo>
                    <a:pt x="3817" y="2990"/>
                  </a:lnTo>
                  <a:lnTo>
                    <a:pt x="3829" y="2952"/>
                  </a:lnTo>
                  <a:lnTo>
                    <a:pt x="3841" y="2952"/>
                  </a:lnTo>
                  <a:lnTo>
                    <a:pt x="3841" y="2940"/>
                  </a:lnTo>
                  <a:lnTo>
                    <a:pt x="3834" y="2940"/>
                  </a:lnTo>
                  <a:lnTo>
                    <a:pt x="3850" y="2919"/>
                  </a:lnTo>
                  <a:lnTo>
                    <a:pt x="3850" y="2813"/>
                  </a:lnTo>
                  <a:lnTo>
                    <a:pt x="3855" y="2792"/>
                  </a:lnTo>
                  <a:lnTo>
                    <a:pt x="3855" y="2759"/>
                  </a:lnTo>
                  <a:lnTo>
                    <a:pt x="3867" y="2759"/>
                  </a:lnTo>
                  <a:lnTo>
                    <a:pt x="3855" y="2697"/>
                  </a:lnTo>
                  <a:lnTo>
                    <a:pt x="3888" y="2692"/>
                  </a:lnTo>
                  <a:lnTo>
                    <a:pt x="3905" y="2702"/>
                  </a:lnTo>
                  <a:lnTo>
                    <a:pt x="3909" y="2697"/>
                  </a:lnTo>
                  <a:lnTo>
                    <a:pt x="3855" y="2692"/>
                  </a:lnTo>
                  <a:lnTo>
                    <a:pt x="3850" y="2659"/>
                  </a:lnTo>
                  <a:lnTo>
                    <a:pt x="3855" y="2681"/>
                  </a:lnTo>
                  <a:lnTo>
                    <a:pt x="3867" y="2664"/>
                  </a:lnTo>
                  <a:lnTo>
                    <a:pt x="3855" y="2659"/>
                  </a:lnTo>
                  <a:lnTo>
                    <a:pt x="3871" y="2648"/>
                  </a:lnTo>
                  <a:lnTo>
                    <a:pt x="3850" y="2648"/>
                  </a:lnTo>
                  <a:lnTo>
                    <a:pt x="3850" y="2643"/>
                  </a:lnTo>
                  <a:lnTo>
                    <a:pt x="3871" y="2626"/>
                  </a:lnTo>
                  <a:lnTo>
                    <a:pt x="3850" y="2619"/>
                  </a:lnTo>
                  <a:lnTo>
                    <a:pt x="3841" y="2636"/>
                  </a:lnTo>
                  <a:lnTo>
                    <a:pt x="3829" y="2565"/>
                  </a:lnTo>
                  <a:lnTo>
                    <a:pt x="3812" y="2532"/>
                  </a:lnTo>
                  <a:lnTo>
                    <a:pt x="3803" y="2499"/>
                  </a:lnTo>
                  <a:lnTo>
                    <a:pt x="3855" y="2515"/>
                  </a:lnTo>
                  <a:lnTo>
                    <a:pt x="3905" y="2525"/>
                  </a:lnTo>
                  <a:lnTo>
                    <a:pt x="3921" y="2515"/>
                  </a:lnTo>
                  <a:lnTo>
                    <a:pt x="3938" y="2525"/>
                  </a:lnTo>
                  <a:lnTo>
                    <a:pt x="3942" y="2515"/>
                  </a:lnTo>
                  <a:lnTo>
                    <a:pt x="3942" y="2525"/>
                  </a:lnTo>
                  <a:lnTo>
                    <a:pt x="3947" y="2537"/>
                  </a:lnTo>
                  <a:lnTo>
                    <a:pt x="3942" y="2553"/>
                  </a:lnTo>
                  <a:lnTo>
                    <a:pt x="3938" y="2548"/>
                  </a:lnTo>
                  <a:lnTo>
                    <a:pt x="3909" y="2591"/>
                  </a:lnTo>
                  <a:lnTo>
                    <a:pt x="3938" y="2586"/>
                  </a:lnTo>
                  <a:lnTo>
                    <a:pt x="3921" y="2586"/>
                  </a:lnTo>
                  <a:lnTo>
                    <a:pt x="3959" y="2537"/>
                  </a:lnTo>
                  <a:lnTo>
                    <a:pt x="3964" y="2553"/>
                  </a:lnTo>
                  <a:lnTo>
                    <a:pt x="3947" y="2565"/>
                  </a:lnTo>
                  <a:lnTo>
                    <a:pt x="3947" y="2570"/>
                  </a:lnTo>
                  <a:lnTo>
                    <a:pt x="3947" y="2565"/>
                  </a:lnTo>
                  <a:lnTo>
                    <a:pt x="3947" y="2581"/>
                  </a:lnTo>
                  <a:lnTo>
                    <a:pt x="3959" y="2570"/>
                  </a:lnTo>
                  <a:lnTo>
                    <a:pt x="3959" y="2603"/>
                  </a:lnTo>
                  <a:lnTo>
                    <a:pt x="3947" y="2591"/>
                  </a:lnTo>
                  <a:lnTo>
                    <a:pt x="3947" y="2586"/>
                  </a:lnTo>
                  <a:lnTo>
                    <a:pt x="3942" y="2610"/>
                  </a:lnTo>
                  <a:lnTo>
                    <a:pt x="3942" y="2586"/>
                  </a:lnTo>
                  <a:lnTo>
                    <a:pt x="3921" y="2610"/>
                  </a:lnTo>
                  <a:lnTo>
                    <a:pt x="3938" y="2619"/>
                  </a:lnTo>
                  <a:lnTo>
                    <a:pt x="3938" y="2610"/>
                  </a:lnTo>
                  <a:lnTo>
                    <a:pt x="3942" y="2619"/>
                  </a:lnTo>
                  <a:lnTo>
                    <a:pt x="3975" y="2586"/>
                  </a:lnTo>
                  <a:lnTo>
                    <a:pt x="3964" y="2565"/>
                  </a:lnTo>
                  <a:lnTo>
                    <a:pt x="3975" y="2537"/>
                  </a:lnTo>
                  <a:lnTo>
                    <a:pt x="3975" y="2532"/>
                  </a:lnTo>
                  <a:lnTo>
                    <a:pt x="3964" y="2515"/>
                  </a:lnTo>
                  <a:lnTo>
                    <a:pt x="3964" y="2525"/>
                  </a:lnTo>
                  <a:lnTo>
                    <a:pt x="3959" y="2515"/>
                  </a:lnTo>
                  <a:lnTo>
                    <a:pt x="3964" y="2508"/>
                  </a:lnTo>
                  <a:lnTo>
                    <a:pt x="3942" y="2492"/>
                  </a:lnTo>
                  <a:lnTo>
                    <a:pt x="3959" y="2492"/>
                  </a:lnTo>
                  <a:lnTo>
                    <a:pt x="3964" y="2475"/>
                  </a:lnTo>
                  <a:lnTo>
                    <a:pt x="3959" y="2470"/>
                  </a:lnTo>
                  <a:lnTo>
                    <a:pt x="3947" y="2459"/>
                  </a:lnTo>
                  <a:lnTo>
                    <a:pt x="3942" y="2454"/>
                  </a:lnTo>
                  <a:lnTo>
                    <a:pt x="3942" y="2442"/>
                  </a:lnTo>
                  <a:lnTo>
                    <a:pt x="3942" y="2442"/>
                  </a:lnTo>
                  <a:lnTo>
                    <a:pt x="3942" y="2442"/>
                  </a:lnTo>
                  <a:close/>
                  <a:moveTo>
                    <a:pt x="3938" y="2470"/>
                  </a:moveTo>
                  <a:lnTo>
                    <a:pt x="3942" y="2475"/>
                  </a:lnTo>
                  <a:lnTo>
                    <a:pt x="3926" y="2475"/>
                  </a:lnTo>
                  <a:lnTo>
                    <a:pt x="3938" y="2470"/>
                  </a:lnTo>
                  <a:lnTo>
                    <a:pt x="3938" y="2470"/>
                  </a:lnTo>
                  <a:lnTo>
                    <a:pt x="3938" y="2470"/>
                  </a:lnTo>
                  <a:close/>
                  <a:moveTo>
                    <a:pt x="3921" y="2475"/>
                  </a:moveTo>
                  <a:lnTo>
                    <a:pt x="3926" y="2492"/>
                  </a:lnTo>
                  <a:lnTo>
                    <a:pt x="3909" y="2492"/>
                  </a:lnTo>
                  <a:lnTo>
                    <a:pt x="3909" y="2475"/>
                  </a:lnTo>
                  <a:lnTo>
                    <a:pt x="3921" y="2475"/>
                  </a:lnTo>
                  <a:lnTo>
                    <a:pt x="3921" y="2475"/>
                  </a:lnTo>
                  <a:lnTo>
                    <a:pt x="3921" y="2475"/>
                  </a:lnTo>
                  <a:close/>
                  <a:moveTo>
                    <a:pt x="3938" y="2482"/>
                  </a:moveTo>
                  <a:lnTo>
                    <a:pt x="3938" y="2492"/>
                  </a:lnTo>
                  <a:lnTo>
                    <a:pt x="3926" y="2492"/>
                  </a:lnTo>
                  <a:lnTo>
                    <a:pt x="3938" y="2482"/>
                  </a:lnTo>
                  <a:lnTo>
                    <a:pt x="3938" y="2482"/>
                  </a:lnTo>
                  <a:lnTo>
                    <a:pt x="3938" y="2482"/>
                  </a:lnTo>
                  <a:close/>
                  <a:moveTo>
                    <a:pt x="3959" y="2499"/>
                  </a:moveTo>
                  <a:lnTo>
                    <a:pt x="3959" y="2508"/>
                  </a:lnTo>
                  <a:lnTo>
                    <a:pt x="3947" y="2515"/>
                  </a:lnTo>
                  <a:lnTo>
                    <a:pt x="3975" y="2532"/>
                  </a:lnTo>
                  <a:lnTo>
                    <a:pt x="3964" y="2537"/>
                  </a:lnTo>
                  <a:lnTo>
                    <a:pt x="3942" y="2515"/>
                  </a:lnTo>
                  <a:lnTo>
                    <a:pt x="3959" y="2499"/>
                  </a:lnTo>
                  <a:lnTo>
                    <a:pt x="3959" y="2499"/>
                  </a:lnTo>
                  <a:lnTo>
                    <a:pt x="3959" y="2499"/>
                  </a:lnTo>
                  <a:close/>
                  <a:moveTo>
                    <a:pt x="3959" y="2565"/>
                  </a:moveTo>
                  <a:lnTo>
                    <a:pt x="3959" y="2570"/>
                  </a:lnTo>
                  <a:lnTo>
                    <a:pt x="3959" y="2565"/>
                  </a:lnTo>
                  <a:lnTo>
                    <a:pt x="3959" y="2565"/>
                  </a:lnTo>
                  <a:lnTo>
                    <a:pt x="3959" y="2565"/>
                  </a:lnTo>
                  <a:close/>
                  <a:moveTo>
                    <a:pt x="3964" y="2586"/>
                  </a:moveTo>
                  <a:lnTo>
                    <a:pt x="3959" y="2591"/>
                  </a:lnTo>
                  <a:lnTo>
                    <a:pt x="3964" y="2581"/>
                  </a:lnTo>
                  <a:lnTo>
                    <a:pt x="3964" y="2586"/>
                  </a:lnTo>
                  <a:lnTo>
                    <a:pt x="3964" y="2586"/>
                  </a:lnTo>
                  <a:lnTo>
                    <a:pt x="3964" y="2586"/>
                  </a:lnTo>
                  <a:close/>
                  <a:moveTo>
                    <a:pt x="3938" y="2603"/>
                  </a:moveTo>
                  <a:lnTo>
                    <a:pt x="3938" y="2610"/>
                  </a:lnTo>
                  <a:lnTo>
                    <a:pt x="3938" y="2603"/>
                  </a:lnTo>
                  <a:lnTo>
                    <a:pt x="3938" y="2603"/>
                  </a:lnTo>
                  <a:lnTo>
                    <a:pt x="3938" y="2603"/>
                  </a:lnTo>
                  <a:close/>
                  <a:moveTo>
                    <a:pt x="7771" y="2858"/>
                  </a:moveTo>
                  <a:lnTo>
                    <a:pt x="7771" y="2863"/>
                  </a:lnTo>
                  <a:lnTo>
                    <a:pt x="7760" y="2870"/>
                  </a:lnTo>
                  <a:lnTo>
                    <a:pt x="7755" y="2870"/>
                  </a:lnTo>
                  <a:lnTo>
                    <a:pt x="7755" y="2858"/>
                  </a:lnTo>
                  <a:lnTo>
                    <a:pt x="7771" y="2858"/>
                  </a:lnTo>
                  <a:lnTo>
                    <a:pt x="7771" y="2858"/>
                  </a:lnTo>
                  <a:lnTo>
                    <a:pt x="7771" y="2858"/>
                  </a:lnTo>
                  <a:close/>
                  <a:moveTo>
                    <a:pt x="7738" y="2870"/>
                  </a:moveTo>
                  <a:lnTo>
                    <a:pt x="7738" y="2879"/>
                  </a:lnTo>
                  <a:lnTo>
                    <a:pt x="7734" y="2879"/>
                  </a:lnTo>
                  <a:lnTo>
                    <a:pt x="7738" y="2870"/>
                  </a:lnTo>
                  <a:lnTo>
                    <a:pt x="7738" y="2870"/>
                  </a:lnTo>
                  <a:lnTo>
                    <a:pt x="7738" y="2870"/>
                  </a:lnTo>
                  <a:close/>
                  <a:moveTo>
                    <a:pt x="7734" y="2886"/>
                  </a:moveTo>
                  <a:lnTo>
                    <a:pt x="7722" y="2886"/>
                  </a:lnTo>
                  <a:lnTo>
                    <a:pt x="7722" y="2879"/>
                  </a:lnTo>
                  <a:lnTo>
                    <a:pt x="7734" y="2886"/>
                  </a:lnTo>
                  <a:lnTo>
                    <a:pt x="7734" y="2886"/>
                  </a:lnTo>
                  <a:lnTo>
                    <a:pt x="7734" y="2886"/>
                  </a:lnTo>
                  <a:close/>
                  <a:moveTo>
                    <a:pt x="7561" y="3101"/>
                  </a:moveTo>
                  <a:lnTo>
                    <a:pt x="7554" y="3108"/>
                  </a:lnTo>
                  <a:lnTo>
                    <a:pt x="7545" y="3118"/>
                  </a:lnTo>
                  <a:lnTo>
                    <a:pt x="7561" y="3101"/>
                  </a:lnTo>
                  <a:lnTo>
                    <a:pt x="7561" y="3101"/>
                  </a:lnTo>
                  <a:lnTo>
                    <a:pt x="7561" y="3101"/>
                  </a:lnTo>
                  <a:close/>
                  <a:moveTo>
                    <a:pt x="7608" y="3118"/>
                  </a:moveTo>
                  <a:lnTo>
                    <a:pt x="7608" y="3125"/>
                  </a:lnTo>
                  <a:lnTo>
                    <a:pt x="7582" y="3125"/>
                  </a:lnTo>
                  <a:lnTo>
                    <a:pt x="7608" y="3118"/>
                  </a:lnTo>
                  <a:lnTo>
                    <a:pt x="7608" y="3118"/>
                  </a:lnTo>
                  <a:lnTo>
                    <a:pt x="7608" y="3118"/>
                  </a:lnTo>
                  <a:close/>
                  <a:moveTo>
                    <a:pt x="7637" y="3125"/>
                  </a:moveTo>
                  <a:lnTo>
                    <a:pt x="7646" y="3134"/>
                  </a:lnTo>
                  <a:lnTo>
                    <a:pt x="7630" y="3134"/>
                  </a:lnTo>
                  <a:lnTo>
                    <a:pt x="7637" y="3125"/>
                  </a:lnTo>
                  <a:lnTo>
                    <a:pt x="7637" y="3125"/>
                  </a:lnTo>
                  <a:lnTo>
                    <a:pt x="7637" y="3125"/>
                  </a:lnTo>
                  <a:close/>
                  <a:moveTo>
                    <a:pt x="7448" y="3174"/>
                  </a:moveTo>
                  <a:lnTo>
                    <a:pt x="7382" y="3191"/>
                  </a:lnTo>
                  <a:lnTo>
                    <a:pt x="7393" y="3191"/>
                  </a:lnTo>
                  <a:lnTo>
                    <a:pt x="7365" y="3191"/>
                  </a:lnTo>
                  <a:lnTo>
                    <a:pt x="7377" y="3191"/>
                  </a:lnTo>
                  <a:lnTo>
                    <a:pt x="7360" y="3191"/>
                  </a:lnTo>
                  <a:lnTo>
                    <a:pt x="7365" y="3174"/>
                  </a:lnTo>
                  <a:lnTo>
                    <a:pt x="7393" y="3163"/>
                  </a:lnTo>
                  <a:lnTo>
                    <a:pt x="7464" y="3158"/>
                  </a:lnTo>
                  <a:lnTo>
                    <a:pt x="7486" y="3141"/>
                  </a:lnTo>
                  <a:lnTo>
                    <a:pt x="7464" y="3163"/>
                  </a:lnTo>
                  <a:lnTo>
                    <a:pt x="7516" y="3151"/>
                  </a:lnTo>
                  <a:lnTo>
                    <a:pt x="7448" y="3174"/>
                  </a:lnTo>
                  <a:lnTo>
                    <a:pt x="7448" y="3174"/>
                  </a:lnTo>
                  <a:lnTo>
                    <a:pt x="7448" y="3174"/>
                  </a:lnTo>
                  <a:close/>
                  <a:moveTo>
                    <a:pt x="7360" y="3191"/>
                  </a:moveTo>
                  <a:lnTo>
                    <a:pt x="7344" y="3196"/>
                  </a:lnTo>
                  <a:lnTo>
                    <a:pt x="7356" y="3191"/>
                  </a:lnTo>
                  <a:lnTo>
                    <a:pt x="7360" y="3191"/>
                  </a:lnTo>
                  <a:lnTo>
                    <a:pt x="7360" y="3191"/>
                  </a:lnTo>
                  <a:lnTo>
                    <a:pt x="7360" y="3191"/>
                  </a:lnTo>
                  <a:close/>
                  <a:moveTo>
                    <a:pt x="7339" y="3290"/>
                  </a:moveTo>
                  <a:lnTo>
                    <a:pt x="7327" y="3290"/>
                  </a:lnTo>
                  <a:lnTo>
                    <a:pt x="7344" y="3285"/>
                  </a:lnTo>
                  <a:lnTo>
                    <a:pt x="7339" y="3290"/>
                  </a:lnTo>
                  <a:lnTo>
                    <a:pt x="7339" y="3290"/>
                  </a:lnTo>
                  <a:lnTo>
                    <a:pt x="7339" y="3290"/>
                  </a:lnTo>
                  <a:close/>
                  <a:moveTo>
                    <a:pt x="7275" y="3401"/>
                  </a:moveTo>
                  <a:lnTo>
                    <a:pt x="7268" y="3418"/>
                  </a:lnTo>
                  <a:lnTo>
                    <a:pt x="7285" y="3385"/>
                  </a:lnTo>
                  <a:lnTo>
                    <a:pt x="7275" y="3401"/>
                  </a:lnTo>
                  <a:lnTo>
                    <a:pt x="7275" y="3401"/>
                  </a:lnTo>
                  <a:lnTo>
                    <a:pt x="7275" y="3401"/>
                  </a:lnTo>
                  <a:close/>
                  <a:moveTo>
                    <a:pt x="7252" y="3640"/>
                  </a:moveTo>
                  <a:lnTo>
                    <a:pt x="7247" y="3640"/>
                  </a:lnTo>
                  <a:lnTo>
                    <a:pt x="7259" y="3633"/>
                  </a:lnTo>
                  <a:lnTo>
                    <a:pt x="7259" y="3595"/>
                  </a:lnTo>
                  <a:lnTo>
                    <a:pt x="7259" y="3607"/>
                  </a:lnTo>
                  <a:lnTo>
                    <a:pt x="7252" y="3640"/>
                  </a:lnTo>
                  <a:lnTo>
                    <a:pt x="7252" y="3640"/>
                  </a:lnTo>
                  <a:lnTo>
                    <a:pt x="7252" y="3640"/>
                  </a:lnTo>
                  <a:close/>
                  <a:moveTo>
                    <a:pt x="4143" y="3727"/>
                  </a:moveTo>
                  <a:lnTo>
                    <a:pt x="4174" y="3734"/>
                  </a:lnTo>
                  <a:lnTo>
                    <a:pt x="4153" y="3744"/>
                  </a:lnTo>
                  <a:lnTo>
                    <a:pt x="4143" y="3734"/>
                  </a:lnTo>
                  <a:lnTo>
                    <a:pt x="4143" y="3727"/>
                  </a:lnTo>
                  <a:lnTo>
                    <a:pt x="4143" y="3727"/>
                  </a:lnTo>
                  <a:lnTo>
                    <a:pt x="4143" y="3727"/>
                  </a:lnTo>
                  <a:close/>
                  <a:moveTo>
                    <a:pt x="4136" y="3734"/>
                  </a:moveTo>
                  <a:lnTo>
                    <a:pt x="4127" y="3744"/>
                  </a:lnTo>
                  <a:lnTo>
                    <a:pt x="4122" y="3734"/>
                  </a:lnTo>
                  <a:lnTo>
                    <a:pt x="4136" y="3734"/>
                  </a:lnTo>
                  <a:lnTo>
                    <a:pt x="4136" y="3734"/>
                  </a:lnTo>
                  <a:lnTo>
                    <a:pt x="4136" y="3734"/>
                  </a:lnTo>
                  <a:close/>
                  <a:moveTo>
                    <a:pt x="4245" y="3784"/>
                  </a:moveTo>
                  <a:lnTo>
                    <a:pt x="4261" y="3788"/>
                  </a:lnTo>
                  <a:lnTo>
                    <a:pt x="4245" y="3788"/>
                  </a:lnTo>
                  <a:lnTo>
                    <a:pt x="4235" y="3772"/>
                  </a:lnTo>
                  <a:lnTo>
                    <a:pt x="4245" y="3784"/>
                  </a:lnTo>
                  <a:lnTo>
                    <a:pt x="4245" y="3784"/>
                  </a:lnTo>
                  <a:lnTo>
                    <a:pt x="4245" y="3784"/>
                  </a:lnTo>
                  <a:close/>
                  <a:moveTo>
                    <a:pt x="4174" y="3800"/>
                  </a:moveTo>
                  <a:lnTo>
                    <a:pt x="4164" y="3800"/>
                  </a:lnTo>
                  <a:lnTo>
                    <a:pt x="4174" y="3800"/>
                  </a:lnTo>
                  <a:lnTo>
                    <a:pt x="4174" y="3800"/>
                  </a:lnTo>
                  <a:lnTo>
                    <a:pt x="4174" y="3800"/>
                  </a:lnTo>
                  <a:close/>
                  <a:moveTo>
                    <a:pt x="4235" y="3817"/>
                  </a:moveTo>
                  <a:lnTo>
                    <a:pt x="4249" y="3829"/>
                  </a:lnTo>
                  <a:lnTo>
                    <a:pt x="4245" y="3829"/>
                  </a:lnTo>
                  <a:lnTo>
                    <a:pt x="4235" y="3817"/>
                  </a:lnTo>
                  <a:lnTo>
                    <a:pt x="4235" y="3817"/>
                  </a:lnTo>
                  <a:lnTo>
                    <a:pt x="4235" y="3817"/>
                  </a:lnTo>
                  <a:close/>
                  <a:moveTo>
                    <a:pt x="6843" y="3982"/>
                  </a:moveTo>
                  <a:lnTo>
                    <a:pt x="6836" y="3994"/>
                  </a:lnTo>
                  <a:lnTo>
                    <a:pt x="6836" y="3989"/>
                  </a:lnTo>
                  <a:lnTo>
                    <a:pt x="6843" y="3982"/>
                  </a:lnTo>
                  <a:lnTo>
                    <a:pt x="6843" y="3982"/>
                  </a:lnTo>
                  <a:lnTo>
                    <a:pt x="6843" y="3982"/>
                  </a:lnTo>
                  <a:close/>
                  <a:moveTo>
                    <a:pt x="6297" y="4044"/>
                  </a:moveTo>
                  <a:lnTo>
                    <a:pt x="6286" y="4048"/>
                  </a:lnTo>
                  <a:lnTo>
                    <a:pt x="6297" y="4044"/>
                  </a:lnTo>
                  <a:lnTo>
                    <a:pt x="6297" y="4044"/>
                  </a:lnTo>
                  <a:lnTo>
                    <a:pt x="6297" y="4044"/>
                  </a:lnTo>
                  <a:close/>
                  <a:moveTo>
                    <a:pt x="6319" y="4077"/>
                  </a:moveTo>
                  <a:lnTo>
                    <a:pt x="6319" y="4048"/>
                  </a:lnTo>
                  <a:lnTo>
                    <a:pt x="6328" y="4060"/>
                  </a:lnTo>
                  <a:lnTo>
                    <a:pt x="6319" y="4077"/>
                  </a:lnTo>
                  <a:lnTo>
                    <a:pt x="6319" y="4077"/>
                  </a:lnTo>
                  <a:lnTo>
                    <a:pt x="6319" y="4077"/>
                  </a:lnTo>
                  <a:close/>
                  <a:moveTo>
                    <a:pt x="6118" y="4093"/>
                  </a:moveTo>
                  <a:lnTo>
                    <a:pt x="6113" y="4100"/>
                  </a:lnTo>
                  <a:lnTo>
                    <a:pt x="6097" y="4093"/>
                  </a:lnTo>
                  <a:lnTo>
                    <a:pt x="6101" y="4081"/>
                  </a:lnTo>
                  <a:lnTo>
                    <a:pt x="6118" y="4093"/>
                  </a:lnTo>
                  <a:lnTo>
                    <a:pt x="6118" y="4093"/>
                  </a:lnTo>
                  <a:lnTo>
                    <a:pt x="6118" y="4093"/>
                  </a:lnTo>
                  <a:close/>
                  <a:moveTo>
                    <a:pt x="5903" y="4117"/>
                  </a:moveTo>
                  <a:lnTo>
                    <a:pt x="5882" y="4122"/>
                  </a:lnTo>
                  <a:lnTo>
                    <a:pt x="5903" y="4105"/>
                  </a:lnTo>
                  <a:lnTo>
                    <a:pt x="5903" y="4117"/>
                  </a:lnTo>
                  <a:lnTo>
                    <a:pt x="5903" y="4117"/>
                  </a:lnTo>
                  <a:lnTo>
                    <a:pt x="5903" y="4117"/>
                  </a:lnTo>
                  <a:close/>
                  <a:moveTo>
                    <a:pt x="6897" y="4188"/>
                  </a:moveTo>
                  <a:lnTo>
                    <a:pt x="6897" y="4192"/>
                  </a:lnTo>
                  <a:lnTo>
                    <a:pt x="6890" y="4176"/>
                  </a:lnTo>
                  <a:lnTo>
                    <a:pt x="6897" y="4159"/>
                  </a:lnTo>
                  <a:lnTo>
                    <a:pt x="6897" y="4188"/>
                  </a:lnTo>
                  <a:lnTo>
                    <a:pt x="6897" y="4188"/>
                  </a:lnTo>
                  <a:lnTo>
                    <a:pt x="6897" y="4188"/>
                  </a:lnTo>
                  <a:close/>
                  <a:moveTo>
                    <a:pt x="5761" y="4192"/>
                  </a:moveTo>
                  <a:lnTo>
                    <a:pt x="5794" y="4176"/>
                  </a:lnTo>
                  <a:lnTo>
                    <a:pt x="5761" y="4204"/>
                  </a:lnTo>
                  <a:lnTo>
                    <a:pt x="5761" y="4192"/>
                  </a:lnTo>
                  <a:lnTo>
                    <a:pt x="5761" y="4192"/>
                  </a:lnTo>
                  <a:lnTo>
                    <a:pt x="5761" y="4192"/>
                  </a:lnTo>
                  <a:close/>
                  <a:moveTo>
                    <a:pt x="5735" y="4249"/>
                  </a:moveTo>
                  <a:lnTo>
                    <a:pt x="5723" y="4270"/>
                  </a:lnTo>
                  <a:lnTo>
                    <a:pt x="5723" y="4249"/>
                  </a:lnTo>
                  <a:lnTo>
                    <a:pt x="5747" y="4225"/>
                  </a:lnTo>
                  <a:lnTo>
                    <a:pt x="5735" y="4249"/>
                  </a:lnTo>
                  <a:lnTo>
                    <a:pt x="5735" y="4249"/>
                  </a:lnTo>
                  <a:lnTo>
                    <a:pt x="5735" y="4249"/>
                  </a:lnTo>
                  <a:close/>
                  <a:moveTo>
                    <a:pt x="5723" y="4315"/>
                  </a:moveTo>
                  <a:lnTo>
                    <a:pt x="5723" y="4270"/>
                  </a:lnTo>
                  <a:lnTo>
                    <a:pt x="5740" y="4360"/>
                  </a:lnTo>
                  <a:lnTo>
                    <a:pt x="5723" y="4315"/>
                  </a:lnTo>
                  <a:lnTo>
                    <a:pt x="5723" y="4315"/>
                  </a:lnTo>
                  <a:lnTo>
                    <a:pt x="5723" y="4315"/>
                  </a:lnTo>
                  <a:close/>
                  <a:moveTo>
                    <a:pt x="6912" y="4431"/>
                  </a:moveTo>
                  <a:lnTo>
                    <a:pt x="6923" y="4414"/>
                  </a:lnTo>
                  <a:lnTo>
                    <a:pt x="6897" y="4448"/>
                  </a:lnTo>
                  <a:lnTo>
                    <a:pt x="6912" y="4431"/>
                  </a:lnTo>
                  <a:lnTo>
                    <a:pt x="6912" y="4431"/>
                  </a:lnTo>
                  <a:lnTo>
                    <a:pt x="6912" y="4431"/>
                  </a:lnTo>
                  <a:close/>
                  <a:moveTo>
                    <a:pt x="6836" y="4471"/>
                  </a:moveTo>
                  <a:lnTo>
                    <a:pt x="6827" y="4481"/>
                  </a:lnTo>
                  <a:lnTo>
                    <a:pt x="6836" y="4471"/>
                  </a:lnTo>
                  <a:lnTo>
                    <a:pt x="6836" y="4471"/>
                  </a:lnTo>
                  <a:lnTo>
                    <a:pt x="6836" y="4471"/>
                  </a:lnTo>
                  <a:close/>
                  <a:moveTo>
                    <a:pt x="1368" y="4686"/>
                  </a:moveTo>
                  <a:lnTo>
                    <a:pt x="1351" y="4674"/>
                  </a:lnTo>
                  <a:lnTo>
                    <a:pt x="1351" y="4665"/>
                  </a:lnTo>
                  <a:lnTo>
                    <a:pt x="1356" y="4653"/>
                  </a:lnTo>
                  <a:lnTo>
                    <a:pt x="1382" y="4653"/>
                  </a:lnTo>
                  <a:lnTo>
                    <a:pt x="1372" y="4674"/>
                  </a:lnTo>
                  <a:lnTo>
                    <a:pt x="1368" y="4686"/>
                  </a:lnTo>
                  <a:lnTo>
                    <a:pt x="1368" y="4686"/>
                  </a:lnTo>
                  <a:lnTo>
                    <a:pt x="1368" y="4686"/>
                  </a:lnTo>
                  <a:close/>
                  <a:moveTo>
                    <a:pt x="1318" y="4686"/>
                  </a:moveTo>
                  <a:lnTo>
                    <a:pt x="1313" y="4674"/>
                  </a:lnTo>
                  <a:lnTo>
                    <a:pt x="1330" y="4670"/>
                  </a:lnTo>
                  <a:lnTo>
                    <a:pt x="1318" y="4686"/>
                  </a:lnTo>
                  <a:lnTo>
                    <a:pt x="1318" y="4686"/>
                  </a:lnTo>
                  <a:lnTo>
                    <a:pt x="1318" y="4686"/>
                  </a:lnTo>
                  <a:close/>
                  <a:moveTo>
                    <a:pt x="1481" y="4726"/>
                  </a:moveTo>
                  <a:lnTo>
                    <a:pt x="1464" y="4726"/>
                  </a:lnTo>
                  <a:lnTo>
                    <a:pt x="1448" y="4703"/>
                  </a:lnTo>
                  <a:lnTo>
                    <a:pt x="1474" y="4693"/>
                  </a:lnTo>
                  <a:lnTo>
                    <a:pt x="1495" y="4726"/>
                  </a:lnTo>
                  <a:lnTo>
                    <a:pt x="1481" y="4726"/>
                  </a:lnTo>
                  <a:lnTo>
                    <a:pt x="1481" y="4726"/>
                  </a:lnTo>
                  <a:lnTo>
                    <a:pt x="1481" y="4726"/>
                  </a:lnTo>
                  <a:close/>
                  <a:moveTo>
                    <a:pt x="1549" y="4743"/>
                  </a:moveTo>
                  <a:lnTo>
                    <a:pt x="1519" y="4743"/>
                  </a:lnTo>
                  <a:lnTo>
                    <a:pt x="1528" y="4731"/>
                  </a:lnTo>
                  <a:lnTo>
                    <a:pt x="1557" y="4731"/>
                  </a:lnTo>
                  <a:lnTo>
                    <a:pt x="1549" y="4743"/>
                  </a:lnTo>
                  <a:lnTo>
                    <a:pt x="1549" y="4743"/>
                  </a:lnTo>
                  <a:lnTo>
                    <a:pt x="1549" y="4743"/>
                  </a:lnTo>
                  <a:close/>
                  <a:moveTo>
                    <a:pt x="1583" y="4781"/>
                  </a:moveTo>
                  <a:lnTo>
                    <a:pt x="1571" y="4764"/>
                  </a:lnTo>
                  <a:lnTo>
                    <a:pt x="1566" y="4759"/>
                  </a:lnTo>
                  <a:lnTo>
                    <a:pt x="1566" y="4743"/>
                  </a:lnTo>
                  <a:lnTo>
                    <a:pt x="1583" y="4759"/>
                  </a:lnTo>
                  <a:lnTo>
                    <a:pt x="1599" y="4748"/>
                  </a:lnTo>
                  <a:lnTo>
                    <a:pt x="1611" y="4764"/>
                  </a:lnTo>
                  <a:lnTo>
                    <a:pt x="1604" y="4776"/>
                  </a:lnTo>
                  <a:lnTo>
                    <a:pt x="1583" y="4781"/>
                  </a:lnTo>
                  <a:lnTo>
                    <a:pt x="1583" y="4781"/>
                  </a:lnTo>
                  <a:lnTo>
                    <a:pt x="1583" y="4781"/>
                  </a:lnTo>
                  <a:close/>
                  <a:moveTo>
                    <a:pt x="1549" y="4764"/>
                  </a:moveTo>
                  <a:lnTo>
                    <a:pt x="1533" y="4759"/>
                  </a:lnTo>
                  <a:lnTo>
                    <a:pt x="1549" y="4759"/>
                  </a:lnTo>
                  <a:lnTo>
                    <a:pt x="1549" y="4764"/>
                  </a:lnTo>
                  <a:lnTo>
                    <a:pt x="1549" y="4764"/>
                  </a:lnTo>
                  <a:lnTo>
                    <a:pt x="1549" y="4764"/>
                  </a:lnTo>
                  <a:close/>
                  <a:moveTo>
                    <a:pt x="1566" y="4785"/>
                  </a:moveTo>
                  <a:lnTo>
                    <a:pt x="1571" y="4781"/>
                  </a:lnTo>
                  <a:lnTo>
                    <a:pt x="1566" y="4785"/>
                  </a:lnTo>
                  <a:lnTo>
                    <a:pt x="1566" y="4785"/>
                  </a:lnTo>
                  <a:lnTo>
                    <a:pt x="1566" y="4785"/>
                  </a:lnTo>
                  <a:close/>
                  <a:moveTo>
                    <a:pt x="1620" y="4802"/>
                  </a:moveTo>
                  <a:lnTo>
                    <a:pt x="1670" y="4818"/>
                  </a:lnTo>
                  <a:lnTo>
                    <a:pt x="1679" y="4854"/>
                  </a:lnTo>
                  <a:lnTo>
                    <a:pt x="1696" y="4859"/>
                  </a:lnTo>
                  <a:lnTo>
                    <a:pt x="1679" y="4875"/>
                  </a:lnTo>
                  <a:lnTo>
                    <a:pt x="1658" y="4875"/>
                  </a:lnTo>
                  <a:lnTo>
                    <a:pt x="1642" y="4892"/>
                  </a:lnTo>
                  <a:lnTo>
                    <a:pt x="1637" y="4908"/>
                  </a:lnTo>
                  <a:lnTo>
                    <a:pt x="1620" y="4892"/>
                  </a:lnTo>
                  <a:lnTo>
                    <a:pt x="1620" y="4870"/>
                  </a:lnTo>
                  <a:lnTo>
                    <a:pt x="1604" y="4842"/>
                  </a:lnTo>
                  <a:lnTo>
                    <a:pt x="1620" y="4818"/>
                  </a:lnTo>
                  <a:lnTo>
                    <a:pt x="1620" y="4814"/>
                  </a:lnTo>
                  <a:lnTo>
                    <a:pt x="1620" y="4802"/>
                  </a:lnTo>
                  <a:lnTo>
                    <a:pt x="1620" y="4802"/>
                  </a:lnTo>
                  <a:lnTo>
                    <a:pt x="1620" y="4802"/>
                  </a:lnTo>
                  <a:close/>
                </a:path>
              </a:pathLst>
            </a:custGeom>
            <a:solidFill>
              <a:schemeClr val="bg2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38" name="Freeform 583">
              <a:extLst>
                <a:ext uri="{FF2B5EF4-FFF2-40B4-BE49-F238E27FC236}">
                  <a16:creationId xmlns:a16="http://schemas.microsoft.com/office/drawing/2014/main" id="{6555BD39-7003-4D1F-9A2C-FEF59DA63510}"/>
                </a:ext>
              </a:extLst>
            </p:cNvPr>
            <p:cNvSpPr>
              <a:spLocks/>
            </p:cNvSpPr>
            <p:nvPr/>
          </p:nvSpPr>
          <p:spPr bwMode="gray">
            <a:xfrm>
              <a:off x="6101919" y="2574640"/>
              <a:ext cx="85639" cy="63699"/>
            </a:xfrm>
            <a:custGeom>
              <a:avLst/>
              <a:gdLst>
                <a:gd name="T0" fmla="*/ 428 w 558"/>
                <a:gd name="T1" fmla="*/ 304 h 415"/>
                <a:gd name="T2" fmla="*/ 378 w 558"/>
                <a:gd name="T3" fmla="*/ 288 h 415"/>
                <a:gd name="T4" fmla="*/ 341 w 558"/>
                <a:gd name="T5" fmla="*/ 304 h 415"/>
                <a:gd name="T6" fmla="*/ 319 w 558"/>
                <a:gd name="T7" fmla="*/ 293 h 415"/>
                <a:gd name="T8" fmla="*/ 178 w 558"/>
                <a:gd name="T9" fmla="*/ 316 h 415"/>
                <a:gd name="T10" fmla="*/ 194 w 558"/>
                <a:gd name="T11" fmla="*/ 399 h 415"/>
                <a:gd name="T12" fmla="*/ 194 w 558"/>
                <a:gd name="T13" fmla="*/ 415 h 415"/>
                <a:gd name="T14" fmla="*/ 135 w 558"/>
                <a:gd name="T15" fmla="*/ 370 h 415"/>
                <a:gd name="T16" fmla="*/ 85 w 558"/>
                <a:gd name="T17" fmla="*/ 399 h 415"/>
                <a:gd name="T18" fmla="*/ 38 w 558"/>
                <a:gd name="T19" fmla="*/ 370 h 415"/>
                <a:gd name="T20" fmla="*/ 10 w 558"/>
                <a:gd name="T21" fmla="*/ 349 h 415"/>
                <a:gd name="T22" fmla="*/ 10 w 558"/>
                <a:gd name="T23" fmla="*/ 309 h 415"/>
                <a:gd name="T24" fmla="*/ 15 w 558"/>
                <a:gd name="T25" fmla="*/ 288 h 415"/>
                <a:gd name="T26" fmla="*/ 15 w 558"/>
                <a:gd name="T27" fmla="*/ 233 h 415"/>
                <a:gd name="T28" fmla="*/ 64 w 558"/>
                <a:gd name="T29" fmla="*/ 217 h 415"/>
                <a:gd name="T30" fmla="*/ 81 w 558"/>
                <a:gd name="T31" fmla="*/ 181 h 415"/>
                <a:gd name="T32" fmla="*/ 85 w 558"/>
                <a:gd name="T33" fmla="*/ 165 h 415"/>
                <a:gd name="T34" fmla="*/ 85 w 558"/>
                <a:gd name="T35" fmla="*/ 144 h 415"/>
                <a:gd name="T36" fmla="*/ 145 w 558"/>
                <a:gd name="T37" fmla="*/ 139 h 415"/>
                <a:gd name="T38" fmla="*/ 161 w 558"/>
                <a:gd name="T39" fmla="*/ 127 h 415"/>
                <a:gd name="T40" fmla="*/ 189 w 558"/>
                <a:gd name="T41" fmla="*/ 106 h 415"/>
                <a:gd name="T42" fmla="*/ 215 w 558"/>
                <a:gd name="T43" fmla="*/ 54 h 415"/>
                <a:gd name="T44" fmla="*/ 248 w 558"/>
                <a:gd name="T45" fmla="*/ 66 h 415"/>
                <a:gd name="T46" fmla="*/ 270 w 558"/>
                <a:gd name="T47" fmla="*/ 37 h 415"/>
                <a:gd name="T48" fmla="*/ 308 w 558"/>
                <a:gd name="T49" fmla="*/ 16 h 415"/>
                <a:gd name="T50" fmla="*/ 357 w 558"/>
                <a:gd name="T51" fmla="*/ 0 h 415"/>
                <a:gd name="T52" fmla="*/ 374 w 558"/>
                <a:gd name="T53" fmla="*/ 0 h 415"/>
                <a:gd name="T54" fmla="*/ 395 w 558"/>
                <a:gd name="T55" fmla="*/ 37 h 415"/>
                <a:gd name="T56" fmla="*/ 411 w 558"/>
                <a:gd name="T57" fmla="*/ 66 h 415"/>
                <a:gd name="T58" fmla="*/ 459 w 558"/>
                <a:gd name="T59" fmla="*/ 111 h 415"/>
                <a:gd name="T60" fmla="*/ 482 w 558"/>
                <a:gd name="T61" fmla="*/ 127 h 415"/>
                <a:gd name="T62" fmla="*/ 459 w 558"/>
                <a:gd name="T63" fmla="*/ 144 h 415"/>
                <a:gd name="T64" fmla="*/ 534 w 558"/>
                <a:gd name="T65" fmla="*/ 177 h 415"/>
                <a:gd name="T66" fmla="*/ 534 w 558"/>
                <a:gd name="T67" fmla="*/ 198 h 415"/>
                <a:gd name="T68" fmla="*/ 551 w 558"/>
                <a:gd name="T69" fmla="*/ 250 h 415"/>
                <a:gd name="T70" fmla="*/ 504 w 558"/>
                <a:gd name="T71" fmla="*/ 271 h 415"/>
                <a:gd name="T72" fmla="*/ 482 w 558"/>
                <a:gd name="T73" fmla="*/ 271 h 415"/>
                <a:gd name="T74" fmla="*/ 449 w 558"/>
                <a:gd name="T75" fmla="*/ 293 h 415"/>
                <a:gd name="T76" fmla="*/ 449 w 558"/>
                <a:gd name="T77" fmla="*/ 293 h 4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558" h="415">
                  <a:moveTo>
                    <a:pt x="449" y="293"/>
                  </a:moveTo>
                  <a:lnTo>
                    <a:pt x="428" y="304"/>
                  </a:lnTo>
                  <a:lnTo>
                    <a:pt x="428" y="293"/>
                  </a:lnTo>
                  <a:lnTo>
                    <a:pt x="378" y="288"/>
                  </a:lnTo>
                  <a:lnTo>
                    <a:pt x="362" y="288"/>
                  </a:lnTo>
                  <a:lnTo>
                    <a:pt x="341" y="304"/>
                  </a:lnTo>
                  <a:lnTo>
                    <a:pt x="341" y="293"/>
                  </a:lnTo>
                  <a:lnTo>
                    <a:pt x="319" y="293"/>
                  </a:lnTo>
                  <a:lnTo>
                    <a:pt x="189" y="293"/>
                  </a:lnTo>
                  <a:lnTo>
                    <a:pt x="178" y="316"/>
                  </a:lnTo>
                  <a:lnTo>
                    <a:pt x="194" y="349"/>
                  </a:lnTo>
                  <a:lnTo>
                    <a:pt x="194" y="399"/>
                  </a:lnTo>
                  <a:lnTo>
                    <a:pt x="199" y="404"/>
                  </a:lnTo>
                  <a:lnTo>
                    <a:pt x="194" y="415"/>
                  </a:lnTo>
                  <a:lnTo>
                    <a:pt x="161" y="370"/>
                  </a:lnTo>
                  <a:lnTo>
                    <a:pt x="135" y="370"/>
                  </a:lnTo>
                  <a:lnTo>
                    <a:pt x="90" y="382"/>
                  </a:lnTo>
                  <a:lnTo>
                    <a:pt x="85" y="399"/>
                  </a:lnTo>
                  <a:lnTo>
                    <a:pt x="52" y="387"/>
                  </a:lnTo>
                  <a:lnTo>
                    <a:pt x="38" y="370"/>
                  </a:lnTo>
                  <a:lnTo>
                    <a:pt x="26" y="349"/>
                  </a:lnTo>
                  <a:lnTo>
                    <a:pt x="10" y="349"/>
                  </a:lnTo>
                  <a:lnTo>
                    <a:pt x="0" y="333"/>
                  </a:lnTo>
                  <a:lnTo>
                    <a:pt x="10" y="309"/>
                  </a:lnTo>
                  <a:lnTo>
                    <a:pt x="0" y="293"/>
                  </a:lnTo>
                  <a:lnTo>
                    <a:pt x="15" y="288"/>
                  </a:lnTo>
                  <a:lnTo>
                    <a:pt x="26" y="259"/>
                  </a:lnTo>
                  <a:lnTo>
                    <a:pt x="15" y="233"/>
                  </a:lnTo>
                  <a:lnTo>
                    <a:pt x="26" y="222"/>
                  </a:lnTo>
                  <a:lnTo>
                    <a:pt x="64" y="217"/>
                  </a:lnTo>
                  <a:lnTo>
                    <a:pt x="81" y="198"/>
                  </a:lnTo>
                  <a:lnTo>
                    <a:pt x="81" y="181"/>
                  </a:lnTo>
                  <a:lnTo>
                    <a:pt x="69" y="165"/>
                  </a:lnTo>
                  <a:lnTo>
                    <a:pt x="85" y="165"/>
                  </a:lnTo>
                  <a:lnTo>
                    <a:pt x="90" y="160"/>
                  </a:lnTo>
                  <a:lnTo>
                    <a:pt x="85" y="144"/>
                  </a:lnTo>
                  <a:lnTo>
                    <a:pt x="107" y="111"/>
                  </a:lnTo>
                  <a:lnTo>
                    <a:pt x="145" y="139"/>
                  </a:lnTo>
                  <a:lnTo>
                    <a:pt x="145" y="127"/>
                  </a:lnTo>
                  <a:lnTo>
                    <a:pt x="161" y="127"/>
                  </a:lnTo>
                  <a:lnTo>
                    <a:pt x="156" y="94"/>
                  </a:lnTo>
                  <a:lnTo>
                    <a:pt x="189" y="106"/>
                  </a:lnTo>
                  <a:lnTo>
                    <a:pt x="189" y="70"/>
                  </a:lnTo>
                  <a:lnTo>
                    <a:pt x="215" y="54"/>
                  </a:lnTo>
                  <a:lnTo>
                    <a:pt x="244" y="66"/>
                  </a:lnTo>
                  <a:lnTo>
                    <a:pt x="248" y="66"/>
                  </a:lnTo>
                  <a:lnTo>
                    <a:pt x="248" y="37"/>
                  </a:lnTo>
                  <a:lnTo>
                    <a:pt x="270" y="37"/>
                  </a:lnTo>
                  <a:lnTo>
                    <a:pt x="298" y="28"/>
                  </a:lnTo>
                  <a:lnTo>
                    <a:pt x="308" y="16"/>
                  </a:lnTo>
                  <a:lnTo>
                    <a:pt x="336" y="0"/>
                  </a:lnTo>
                  <a:lnTo>
                    <a:pt x="357" y="0"/>
                  </a:lnTo>
                  <a:lnTo>
                    <a:pt x="362" y="0"/>
                  </a:lnTo>
                  <a:lnTo>
                    <a:pt x="374" y="0"/>
                  </a:lnTo>
                  <a:lnTo>
                    <a:pt x="404" y="11"/>
                  </a:lnTo>
                  <a:lnTo>
                    <a:pt x="395" y="37"/>
                  </a:lnTo>
                  <a:lnTo>
                    <a:pt x="416" y="54"/>
                  </a:lnTo>
                  <a:lnTo>
                    <a:pt x="411" y="66"/>
                  </a:lnTo>
                  <a:lnTo>
                    <a:pt x="428" y="94"/>
                  </a:lnTo>
                  <a:lnTo>
                    <a:pt x="459" y="111"/>
                  </a:lnTo>
                  <a:lnTo>
                    <a:pt x="459" y="111"/>
                  </a:lnTo>
                  <a:lnTo>
                    <a:pt x="482" y="127"/>
                  </a:lnTo>
                  <a:lnTo>
                    <a:pt x="459" y="122"/>
                  </a:lnTo>
                  <a:lnTo>
                    <a:pt x="459" y="144"/>
                  </a:lnTo>
                  <a:lnTo>
                    <a:pt x="497" y="177"/>
                  </a:lnTo>
                  <a:lnTo>
                    <a:pt x="534" y="177"/>
                  </a:lnTo>
                  <a:lnTo>
                    <a:pt x="541" y="193"/>
                  </a:lnTo>
                  <a:lnTo>
                    <a:pt x="534" y="198"/>
                  </a:lnTo>
                  <a:lnTo>
                    <a:pt x="558" y="233"/>
                  </a:lnTo>
                  <a:lnTo>
                    <a:pt x="551" y="250"/>
                  </a:lnTo>
                  <a:lnTo>
                    <a:pt x="525" y="259"/>
                  </a:lnTo>
                  <a:lnTo>
                    <a:pt x="504" y="271"/>
                  </a:lnTo>
                  <a:lnTo>
                    <a:pt x="487" y="259"/>
                  </a:lnTo>
                  <a:lnTo>
                    <a:pt x="482" y="271"/>
                  </a:lnTo>
                  <a:lnTo>
                    <a:pt x="471" y="276"/>
                  </a:lnTo>
                  <a:lnTo>
                    <a:pt x="449" y="293"/>
                  </a:lnTo>
                  <a:lnTo>
                    <a:pt x="449" y="293"/>
                  </a:lnTo>
                  <a:lnTo>
                    <a:pt x="449" y="293"/>
                  </a:lnTo>
                  <a:close/>
                </a:path>
              </a:pathLst>
            </a:custGeom>
            <a:solidFill>
              <a:schemeClr val="bg2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39" name="Freeform 584">
              <a:extLst>
                <a:ext uri="{FF2B5EF4-FFF2-40B4-BE49-F238E27FC236}">
                  <a16:creationId xmlns:a16="http://schemas.microsoft.com/office/drawing/2014/main" id="{DF59219C-80EF-43A8-ABDF-490E53DCC4F9}"/>
                </a:ext>
              </a:extLst>
            </p:cNvPr>
            <p:cNvSpPr>
              <a:spLocks/>
            </p:cNvSpPr>
            <p:nvPr/>
          </p:nvSpPr>
          <p:spPr bwMode="gray">
            <a:xfrm>
              <a:off x="5532834" y="3086229"/>
              <a:ext cx="57246" cy="59402"/>
            </a:xfrm>
            <a:custGeom>
              <a:avLst/>
              <a:gdLst>
                <a:gd name="T0" fmla="*/ 16 w 373"/>
                <a:gd name="T1" fmla="*/ 177 h 387"/>
                <a:gd name="T2" fmla="*/ 21 w 373"/>
                <a:gd name="T3" fmla="*/ 172 h 387"/>
                <a:gd name="T4" fmla="*/ 16 w 373"/>
                <a:gd name="T5" fmla="*/ 139 h 387"/>
                <a:gd name="T6" fmla="*/ 21 w 373"/>
                <a:gd name="T7" fmla="*/ 122 h 387"/>
                <a:gd name="T8" fmla="*/ 33 w 373"/>
                <a:gd name="T9" fmla="*/ 111 h 387"/>
                <a:gd name="T10" fmla="*/ 21 w 373"/>
                <a:gd name="T11" fmla="*/ 99 h 387"/>
                <a:gd name="T12" fmla="*/ 33 w 373"/>
                <a:gd name="T13" fmla="*/ 82 h 387"/>
                <a:gd name="T14" fmla="*/ 49 w 373"/>
                <a:gd name="T15" fmla="*/ 56 h 387"/>
                <a:gd name="T16" fmla="*/ 38 w 373"/>
                <a:gd name="T17" fmla="*/ 28 h 387"/>
                <a:gd name="T18" fmla="*/ 54 w 373"/>
                <a:gd name="T19" fmla="*/ 11 h 387"/>
                <a:gd name="T20" fmla="*/ 54 w 373"/>
                <a:gd name="T21" fmla="*/ 7 h 387"/>
                <a:gd name="T22" fmla="*/ 59 w 373"/>
                <a:gd name="T23" fmla="*/ 7 h 387"/>
                <a:gd name="T24" fmla="*/ 87 w 373"/>
                <a:gd name="T25" fmla="*/ 11 h 387"/>
                <a:gd name="T26" fmla="*/ 92 w 373"/>
                <a:gd name="T27" fmla="*/ 0 h 387"/>
                <a:gd name="T28" fmla="*/ 113 w 373"/>
                <a:gd name="T29" fmla="*/ 0 h 387"/>
                <a:gd name="T30" fmla="*/ 168 w 373"/>
                <a:gd name="T31" fmla="*/ 56 h 387"/>
                <a:gd name="T32" fmla="*/ 168 w 373"/>
                <a:gd name="T33" fmla="*/ 66 h 387"/>
                <a:gd name="T34" fmla="*/ 177 w 373"/>
                <a:gd name="T35" fmla="*/ 66 h 387"/>
                <a:gd name="T36" fmla="*/ 201 w 373"/>
                <a:gd name="T37" fmla="*/ 56 h 387"/>
                <a:gd name="T38" fmla="*/ 222 w 373"/>
                <a:gd name="T39" fmla="*/ 82 h 387"/>
                <a:gd name="T40" fmla="*/ 269 w 373"/>
                <a:gd name="T41" fmla="*/ 99 h 387"/>
                <a:gd name="T42" fmla="*/ 286 w 373"/>
                <a:gd name="T43" fmla="*/ 132 h 387"/>
                <a:gd name="T44" fmla="*/ 319 w 373"/>
                <a:gd name="T45" fmla="*/ 139 h 387"/>
                <a:gd name="T46" fmla="*/ 340 w 373"/>
                <a:gd name="T47" fmla="*/ 177 h 387"/>
                <a:gd name="T48" fmla="*/ 373 w 373"/>
                <a:gd name="T49" fmla="*/ 205 h 387"/>
                <a:gd name="T50" fmla="*/ 340 w 373"/>
                <a:gd name="T51" fmla="*/ 233 h 387"/>
                <a:gd name="T52" fmla="*/ 340 w 373"/>
                <a:gd name="T53" fmla="*/ 283 h 387"/>
                <a:gd name="T54" fmla="*/ 357 w 373"/>
                <a:gd name="T55" fmla="*/ 283 h 387"/>
                <a:gd name="T56" fmla="*/ 340 w 373"/>
                <a:gd name="T57" fmla="*/ 316 h 387"/>
                <a:gd name="T58" fmla="*/ 302 w 373"/>
                <a:gd name="T59" fmla="*/ 359 h 387"/>
                <a:gd name="T60" fmla="*/ 286 w 373"/>
                <a:gd name="T61" fmla="*/ 354 h 387"/>
                <a:gd name="T62" fmla="*/ 286 w 373"/>
                <a:gd name="T63" fmla="*/ 359 h 387"/>
                <a:gd name="T64" fmla="*/ 248 w 373"/>
                <a:gd name="T65" fmla="*/ 387 h 387"/>
                <a:gd name="T66" fmla="*/ 194 w 373"/>
                <a:gd name="T67" fmla="*/ 370 h 387"/>
                <a:gd name="T68" fmla="*/ 146 w 373"/>
                <a:gd name="T69" fmla="*/ 375 h 387"/>
                <a:gd name="T70" fmla="*/ 139 w 373"/>
                <a:gd name="T71" fmla="*/ 375 h 387"/>
                <a:gd name="T72" fmla="*/ 146 w 373"/>
                <a:gd name="T73" fmla="*/ 370 h 387"/>
                <a:gd name="T74" fmla="*/ 108 w 373"/>
                <a:gd name="T75" fmla="*/ 359 h 387"/>
                <a:gd name="T76" fmla="*/ 92 w 373"/>
                <a:gd name="T77" fmla="*/ 342 h 387"/>
                <a:gd name="T78" fmla="*/ 38 w 373"/>
                <a:gd name="T79" fmla="*/ 342 h 387"/>
                <a:gd name="T80" fmla="*/ 0 w 373"/>
                <a:gd name="T81" fmla="*/ 300 h 387"/>
                <a:gd name="T82" fmla="*/ 0 w 373"/>
                <a:gd name="T83" fmla="*/ 267 h 387"/>
                <a:gd name="T84" fmla="*/ 0 w 373"/>
                <a:gd name="T85" fmla="*/ 233 h 387"/>
                <a:gd name="T86" fmla="*/ 16 w 373"/>
                <a:gd name="T87" fmla="*/ 233 h 387"/>
                <a:gd name="T88" fmla="*/ 21 w 373"/>
                <a:gd name="T89" fmla="*/ 222 h 387"/>
                <a:gd name="T90" fmla="*/ 16 w 373"/>
                <a:gd name="T91" fmla="*/ 177 h 387"/>
                <a:gd name="T92" fmla="*/ 16 w 373"/>
                <a:gd name="T93" fmla="*/ 177 h 387"/>
                <a:gd name="T94" fmla="*/ 16 w 373"/>
                <a:gd name="T95" fmla="*/ 177 h 3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373" h="387">
                  <a:moveTo>
                    <a:pt x="16" y="177"/>
                  </a:moveTo>
                  <a:lnTo>
                    <a:pt x="21" y="172"/>
                  </a:lnTo>
                  <a:lnTo>
                    <a:pt x="16" y="139"/>
                  </a:lnTo>
                  <a:lnTo>
                    <a:pt x="21" y="122"/>
                  </a:lnTo>
                  <a:lnTo>
                    <a:pt x="33" y="111"/>
                  </a:lnTo>
                  <a:lnTo>
                    <a:pt x="21" y="99"/>
                  </a:lnTo>
                  <a:lnTo>
                    <a:pt x="33" y="82"/>
                  </a:lnTo>
                  <a:lnTo>
                    <a:pt x="49" y="56"/>
                  </a:lnTo>
                  <a:lnTo>
                    <a:pt x="38" y="28"/>
                  </a:lnTo>
                  <a:lnTo>
                    <a:pt x="54" y="11"/>
                  </a:lnTo>
                  <a:lnTo>
                    <a:pt x="54" y="7"/>
                  </a:lnTo>
                  <a:lnTo>
                    <a:pt x="59" y="7"/>
                  </a:lnTo>
                  <a:lnTo>
                    <a:pt x="87" y="11"/>
                  </a:lnTo>
                  <a:lnTo>
                    <a:pt x="92" y="0"/>
                  </a:lnTo>
                  <a:lnTo>
                    <a:pt x="113" y="0"/>
                  </a:lnTo>
                  <a:lnTo>
                    <a:pt x="168" y="56"/>
                  </a:lnTo>
                  <a:lnTo>
                    <a:pt x="168" y="66"/>
                  </a:lnTo>
                  <a:lnTo>
                    <a:pt x="177" y="66"/>
                  </a:lnTo>
                  <a:lnTo>
                    <a:pt x="201" y="56"/>
                  </a:lnTo>
                  <a:lnTo>
                    <a:pt x="222" y="82"/>
                  </a:lnTo>
                  <a:lnTo>
                    <a:pt x="269" y="99"/>
                  </a:lnTo>
                  <a:lnTo>
                    <a:pt x="286" y="132"/>
                  </a:lnTo>
                  <a:lnTo>
                    <a:pt x="319" y="139"/>
                  </a:lnTo>
                  <a:lnTo>
                    <a:pt x="340" y="177"/>
                  </a:lnTo>
                  <a:lnTo>
                    <a:pt x="373" y="205"/>
                  </a:lnTo>
                  <a:lnTo>
                    <a:pt x="340" y="233"/>
                  </a:lnTo>
                  <a:lnTo>
                    <a:pt x="340" y="283"/>
                  </a:lnTo>
                  <a:lnTo>
                    <a:pt x="357" y="283"/>
                  </a:lnTo>
                  <a:lnTo>
                    <a:pt x="340" y="316"/>
                  </a:lnTo>
                  <a:lnTo>
                    <a:pt x="302" y="359"/>
                  </a:lnTo>
                  <a:lnTo>
                    <a:pt x="286" y="354"/>
                  </a:lnTo>
                  <a:lnTo>
                    <a:pt x="286" y="359"/>
                  </a:lnTo>
                  <a:lnTo>
                    <a:pt x="248" y="387"/>
                  </a:lnTo>
                  <a:lnTo>
                    <a:pt x="194" y="370"/>
                  </a:lnTo>
                  <a:lnTo>
                    <a:pt x="146" y="375"/>
                  </a:lnTo>
                  <a:lnTo>
                    <a:pt x="139" y="375"/>
                  </a:lnTo>
                  <a:lnTo>
                    <a:pt x="146" y="370"/>
                  </a:lnTo>
                  <a:lnTo>
                    <a:pt x="108" y="359"/>
                  </a:lnTo>
                  <a:lnTo>
                    <a:pt x="92" y="342"/>
                  </a:lnTo>
                  <a:lnTo>
                    <a:pt x="38" y="342"/>
                  </a:lnTo>
                  <a:lnTo>
                    <a:pt x="0" y="300"/>
                  </a:lnTo>
                  <a:lnTo>
                    <a:pt x="0" y="267"/>
                  </a:lnTo>
                  <a:lnTo>
                    <a:pt x="0" y="233"/>
                  </a:lnTo>
                  <a:lnTo>
                    <a:pt x="16" y="233"/>
                  </a:lnTo>
                  <a:lnTo>
                    <a:pt x="21" y="222"/>
                  </a:lnTo>
                  <a:lnTo>
                    <a:pt x="16" y="177"/>
                  </a:lnTo>
                  <a:lnTo>
                    <a:pt x="16" y="177"/>
                  </a:lnTo>
                  <a:lnTo>
                    <a:pt x="16" y="177"/>
                  </a:lnTo>
                  <a:close/>
                </a:path>
              </a:pathLst>
            </a:custGeom>
            <a:solidFill>
              <a:schemeClr val="bg2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40" name="Freeform 585">
              <a:extLst>
                <a:ext uri="{FF2B5EF4-FFF2-40B4-BE49-F238E27FC236}">
                  <a16:creationId xmlns:a16="http://schemas.microsoft.com/office/drawing/2014/main" id="{164E4C47-5B75-4AB2-A876-9F8B1B06EBE6}"/>
                </a:ext>
              </a:extLst>
            </p:cNvPr>
            <p:cNvSpPr>
              <a:spLocks/>
            </p:cNvSpPr>
            <p:nvPr/>
          </p:nvSpPr>
          <p:spPr bwMode="gray">
            <a:xfrm>
              <a:off x="6763549" y="2200426"/>
              <a:ext cx="185244" cy="110514"/>
            </a:xfrm>
            <a:custGeom>
              <a:avLst/>
              <a:gdLst>
                <a:gd name="T0" fmla="*/ 827 w 1207"/>
                <a:gd name="T1" fmla="*/ 515 h 720"/>
                <a:gd name="T2" fmla="*/ 806 w 1207"/>
                <a:gd name="T3" fmla="*/ 555 h 720"/>
                <a:gd name="T4" fmla="*/ 851 w 1207"/>
                <a:gd name="T5" fmla="*/ 572 h 720"/>
                <a:gd name="T6" fmla="*/ 851 w 1207"/>
                <a:gd name="T7" fmla="*/ 609 h 720"/>
                <a:gd name="T8" fmla="*/ 860 w 1207"/>
                <a:gd name="T9" fmla="*/ 659 h 720"/>
                <a:gd name="T10" fmla="*/ 813 w 1207"/>
                <a:gd name="T11" fmla="*/ 716 h 720"/>
                <a:gd name="T12" fmla="*/ 742 w 1207"/>
                <a:gd name="T13" fmla="*/ 704 h 720"/>
                <a:gd name="T14" fmla="*/ 700 w 1207"/>
                <a:gd name="T15" fmla="*/ 633 h 720"/>
                <a:gd name="T16" fmla="*/ 574 w 1207"/>
                <a:gd name="T17" fmla="*/ 576 h 720"/>
                <a:gd name="T18" fmla="*/ 456 w 1207"/>
                <a:gd name="T19" fmla="*/ 482 h 720"/>
                <a:gd name="T20" fmla="*/ 419 w 1207"/>
                <a:gd name="T21" fmla="*/ 387 h 720"/>
                <a:gd name="T22" fmla="*/ 348 w 1207"/>
                <a:gd name="T23" fmla="*/ 383 h 720"/>
                <a:gd name="T24" fmla="*/ 289 w 1207"/>
                <a:gd name="T25" fmla="*/ 366 h 720"/>
                <a:gd name="T26" fmla="*/ 303 w 1207"/>
                <a:gd name="T27" fmla="*/ 333 h 720"/>
                <a:gd name="T28" fmla="*/ 272 w 1207"/>
                <a:gd name="T29" fmla="*/ 283 h 720"/>
                <a:gd name="T30" fmla="*/ 213 w 1207"/>
                <a:gd name="T31" fmla="*/ 272 h 720"/>
                <a:gd name="T32" fmla="*/ 163 w 1207"/>
                <a:gd name="T33" fmla="*/ 255 h 720"/>
                <a:gd name="T34" fmla="*/ 168 w 1207"/>
                <a:gd name="T35" fmla="*/ 293 h 720"/>
                <a:gd name="T36" fmla="*/ 130 w 1207"/>
                <a:gd name="T37" fmla="*/ 300 h 720"/>
                <a:gd name="T38" fmla="*/ 71 w 1207"/>
                <a:gd name="T39" fmla="*/ 345 h 720"/>
                <a:gd name="T40" fmla="*/ 0 w 1207"/>
                <a:gd name="T41" fmla="*/ 371 h 720"/>
                <a:gd name="T42" fmla="*/ 364 w 1207"/>
                <a:gd name="T43" fmla="*/ 116 h 720"/>
                <a:gd name="T44" fmla="*/ 596 w 1207"/>
                <a:gd name="T45" fmla="*/ 182 h 720"/>
                <a:gd name="T46" fmla="*/ 671 w 1207"/>
                <a:gd name="T47" fmla="*/ 201 h 720"/>
                <a:gd name="T48" fmla="*/ 704 w 1207"/>
                <a:gd name="T49" fmla="*/ 316 h 720"/>
                <a:gd name="T50" fmla="*/ 844 w 1207"/>
                <a:gd name="T51" fmla="*/ 387 h 720"/>
                <a:gd name="T52" fmla="*/ 877 w 1207"/>
                <a:gd name="T53" fmla="*/ 437 h 720"/>
                <a:gd name="T54" fmla="*/ 919 w 1207"/>
                <a:gd name="T55" fmla="*/ 383 h 720"/>
                <a:gd name="T56" fmla="*/ 985 w 1207"/>
                <a:gd name="T57" fmla="*/ 345 h 720"/>
                <a:gd name="T58" fmla="*/ 1040 w 1207"/>
                <a:gd name="T59" fmla="*/ 300 h 720"/>
                <a:gd name="T60" fmla="*/ 1078 w 1207"/>
                <a:gd name="T61" fmla="*/ 300 h 720"/>
                <a:gd name="T62" fmla="*/ 1040 w 1207"/>
                <a:gd name="T63" fmla="*/ 328 h 720"/>
                <a:gd name="T64" fmla="*/ 1040 w 1207"/>
                <a:gd name="T65" fmla="*/ 366 h 720"/>
                <a:gd name="T66" fmla="*/ 1082 w 1207"/>
                <a:gd name="T67" fmla="*/ 371 h 720"/>
                <a:gd name="T68" fmla="*/ 1120 w 1207"/>
                <a:gd name="T69" fmla="*/ 371 h 720"/>
                <a:gd name="T70" fmla="*/ 1137 w 1207"/>
                <a:gd name="T71" fmla="*/ 404 h 720"/>
                <a:gd name="T72" fmla="*/ 1207 w 1207"/>
                <a:gd name="T73" fmla="*/ 420 h 720"/>
                <a:gd name="T74" fmla="*/ 1153 w 1207"/>
                <a:gd name="T75" fmla="*/ 437 h 720"/>
                <a:gd name="T76" fmla="*/ 1132 w 1207"/>
                <a:gd name="T77" fmla="*/ 460 h 720"/>
                <a:gd name="T78" fmla="*/ 1082 w 1207"/>
                <a:gd name="T79" fmla="*/ 460 h 720"/>
                <a:gd name="T80" fmla="*/ 1011 w 1207"/>
                <a:gd name="T81" fmla="*/ 456 h 720"/>
                <a:gd name="T82" fmla="*/ 1011 w 1207"/>
                <a:gd name="T83" fmla="*/ 399 h 720"/>
                <a:gd name="T84" fmla="*/ 943 w 1207"/>
                <a:gd name="T85" fmla="*/ 420 h 720"/>
                <a:gd name="T86" fmla="*/ 936 w 1207"/>
                <a:gd name="T87" fmla="*/ 465 h 720"/>
                <a:gd name="T88" fmla="*/ 898 w 1207"/>
                <a:gd name="T89" fmla="*/ 482 h 720"/>
                <a:gd name="T90" fmla="*/ 889 w 1207"/>
                <a:gd name="T91" fmla="*/ 498 h 7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207" h="720">
                  <a:moveTo>
                    <a:pt x="889" y="498"/>
                  </a:moveTo>
                  <a:lnTo>
                    <a:pt x="882" y="522"/>
                  </a:lnTo>
                  <a:lnTo>
                    <a:pt x="827" y="515"/>
                  </a:lnTo>
                  <a:lnTo>
                    <a:pt x="806" y="531"/>
                  </a:lnTo>
                  <a:lnTo>
                    <a:pt x="796" y="548"/>
                  </a:lnTo>
                  <a:lnTo>
                    <a:pt x="806" y="555"/>
                  </a:lnTo>
                  <a:lnTo>
                    <a:pt x="822" y="564"/>
                  </a:lnTo>
                  <a:lnTo>
                    <a:pt x="827" y="572"/>
                  </a:lnTo>
                  <a:lnTo>
                    <a:pt x="851" y="572"/>
                  </a:lnTo>
                  <a:lnTo>
                    <a:pt x="860" y="588"/>
                  </a:lnTo>
                  <a:lnTo>
                    <a:pt x="851" y="588"/>
                  </a:lnTo>
                  <a:lnTo>
                    <a:pt x="851" y="609"/>
                  </a:lnTo>
                  <a:lnTo>
                    <a:pt x="877" y="642"/>
                  </a:lnTo>
                  <a:lnTo>
                    <a:pt x="867" y="659"/>
                  </a:lnTo>
                  <a:lnTo>
                    <a:pt x="860" y="659"/>
                  </a:lnTo>
                  <a:lnTo>
                    <a:pt x="834" y="699"/>
                  </a:lnTo>
                  <a:lnTo>
                    <a:pt x="827" y="720"/>
                  </a:lnTo>
                  <a:lnTo>
                    <a:pt x="813" y="716"/>
                  </a:lnTo>
                  <a:lnTo>
                    <a:pt x="789" y="720"/>
                  </a:lnTo>
                  <a:lnTo>
                    <a:pt x="775" y="704"/>
                  </a:lnTo>
                  <a:lnTo>
                    <a:pt x="742" y="704"/>
                  </a:lnTo>
                  <a:lnTo>
                    <a:pt x="742" y="675"/>
                  </a:lnTo>
                  <a:lnTo>
                    <a:pt x="752" y="659"/>
                  </a:lnTo>
                  <a:lnTo>
                    <a:pt x="700" y="633"/>
                  </a:lnTo>
                  <a:lnTo>
                    <a:pt x="671" y="633"/>
                  </a:lnTo>
                  <a:lnTo>
                    <a:pt x="591" y="572"/>
                  </a:lnTo>
                  <a:lnTo>
                    <a:pt x="574" y="576"/>
                  </a:lnTo>
                  <a:lnTo>
                    <a:pt x="541" y="555"/>
                  </a:lnTo>
                  <a:lnTo>
                    <a:pt x="537" y="538"/>
                  </a:lnTo>
                  <a:lnTo>
                    <a:pt x="456" y="482"/>
                  </a:lnTo>
                  <a:lnTo>
                    <a:pt x="449" y="456"/>
                  </a:lnTo>
                  <a:lnTo>
                    <a:pt x="433" y="437"/>
                  </a:lnTo>
                  <a:lnTo>
                    <a:pt x="419" y="387"/>
                  </a:lnTo>
                  <a:lnTo>
                    <a:pt x="385" y="371"/>
                  </a:lnTo>
                  <a:lnTo>
                    <a:pt x="374" y="387"/>
                  </a:lnTo>
                  <a:lnTo>
                    <a:pt x="348" y="383"/>
                  </a:lnTo>
                  <a:lnTo>
                    <a:pt x="319" y="383"/>
                  </a:lnTo>
                  <a:lnTo>
                    <a:pt x="293" y="371"/>
                  </a:lnTo>
                  <a:lnTo>
                    <a:pt x="289" y="366"/>
                  </a:lnTo>
                  <a:lnTo>
                    <a:pt x="293" y="349"/>
                  </a:lnTo>
                  <a:lnTo>
                    <a:pt x="289" y="333"/>
                  </a:lnTo>
                  <a:lnTo>
                    <a:pt x="303" y="333"/>
                  </a:lnTo>
                  <a:lnTo>
                    <a:pt x="289" y="309"/>
                  </a:lnTo>
                  <a:lnTo>
                    <a:pt x="289" y="293"/>
                  </a:lnTo>
                  <a:lnTo>
                    <a:pt x="272" y="283"/>
                  </a:lnTo>
                  <a:lnTo>
                    <a:pt x="234" y="283"/>
                  </a:lnTo>
                  <a:lnTo>
                    <a:pt x="222" y="272"/>
                  </a:lnTo>
                  <a:lnTo>
                    <a:pt x="213" y="272"/>
                  </a:lnTo>
                  <a:lnTo>
                    <a:pt x="185" y="243"/>
                  </a:lnTo>
                  <a:lnTo>
                    <a:pt x="180" y="260"/>
                  </a:lnTo>
                  <a:lnTo>
                    <a:pt x="163" y="255"/>
                  </a:lnTo>
                  <a:lnTo>
                    <a:pt x="159" y="260"/>
                  </a:lnTo>
                  <a:lnTo>
                    <a:pt x="180" y="293"/>
                  </a:lnTo>
                  <a:lnTo>
                    <a:pt x="168" y="293"/>
                  </a:lnTo>
                  <a:lnTo>
                    <a:pt x="163" y="276"/>
                  </a:lnTo>
                  <a:lnTo>
                    <a:pt x="147" y="272"/>
                  </a:lnTo>
                  <a:lnTo>
                    <a:pt x="130" y="300"/>
                  </a:lnTo>
                  <a:lnTo>
                    <a:pt x="104" y="300"/>
                  </a:lnTo>
                  <a:lnTo>
                    <a:pt x="71" y="328"/>
                  </a:lnTo>
                  <a:lnTo>
                    <a:pt x="71" y="345"/>
                  </a:lnTo>
                  <a:lnTo>
                    <a:pt x="76" y="371"/>
                  </a:lnTo>
                  <a:lnTo>
                    <a:pt x="76" y="383"/>
                  </a:lnTo>
                  <a:lnTo>
                    <a:pt x="0" y="371"/>
                  </a:lnTo>
                  <a:lnTo>
                    <a:pt x="0" y="54"/>
                  </a:lnTo>
                  <a:lnTo>
                    <a:pt x="180" y="0"/>
                  </a:lnTo>
                  <a:lnTo>
                    <a:pt x="364" y="116"/>
                  </a:lnTo>
                  <a:lnTo>
                    <a:pt x="428" y="182"/>
                  </a:lnTo>
                  <a:lnTo>
                    <a:pt x="508" y="172"/>
                  </a:lnTo>
                  <a:lnTo>
                    <a:pt x="596" y="182"/>
                  </a:lnTo>
                  <a:lnTo>
                    <a:pt x="629" y="165"/>
                  </a:lnTo>
                  <a:lnTo>
                    <a:pt x="650" y="189"/>
                  </a:lnTo>
                  <a:lnTo>
                    <a:pt x="671" y="201"/>
                  </a:lnTo>
                  <a:lnTo>
                    <a:pt x="688" y="238"/>
                  </a:lnTo>
                  <a:lnTo>
                    <a:pt x="714" y="227"/>
                  </a:lnTo>
                  <a:lnTo>
                    <a:pt x="704" y="316"/>
                  </a:lnTo>
                  <a:lnTo>
                    <a:pt x="742" y="316"/>
                  </a:lnTo>
                  <a:lnTo>
                    <a:pt x="759" y="387"/>
                  </a:lnTo>
                  <a:lnTo>
                    <a:pt x="844" y="387"/>
                  </a:lnTo>
                  <a:lnTo>
                    <a:pt x="860" y="399"/>
                  </a:lnTo>
                  <a:lnTo>
                    <a:pt x="851" y="420"/>
                  </a:lnTo>
                  <a:lnTo>
                    <a:pt x="877" y="437"/>
                  </a:lnTo>
                  <a:lnTo>
                    <a:pt x="889" y="437"/>
                  </a:lnTo>
                  <a:lnTo>
                    <a:pt x="889" y="411"/>
                  </a:lnTo>
                  <a:lnTo>
                    <a:pt x="919" y="383"/>
                  </a:lnTo>
                  <a:lnTo>
                    <a:pt x="919" y="371"/>
                  </a:lnTo>
                  <a:lnTo>
                    <a:pt x="957" y="345"/>
                  </a:lnTo>
                  <a:lnTo>
                    <a:pt x="985" y="345"/>
                  </a:lnTo>
                  <a:lnTo>
                    <a:pt x="1011" y="309"/>
                  </a:lnTo>
                  <a:lnTo>
                    <a:pt x="1028" y="316"/>
                  </a:lnTo>
                  <a:lnTo>
                    <a:pt x="1040" y="300"/>
                  </a:lnTo>
                  <a:lnTo>
                    <a:pt x="1049" y="293"/>
                  </a:lnTo>
                  <a:lnTo>
                    <a:pt x="1061" y="283"/>
                  </a:lnTo>
                  <a:lnTo>
                    <a:pt x="1078" y="300"/>
                  </a:lnTo>
                  <a:lnTo>
                    <a:pt x="1044" y="309"/>
                  </a:lnTo>
                  <a:lnTo>
                    <a:pt x="1044" y="328"/>
                  </a:lnTo>
                  <a:lnTo>
                    <a:pt x="1040" y="328"/>
                  </a:lnTo>
                  <a:lnTo>
                    <a:pt x="995" y="354"/>
                  </a:lnTo>
                  <a:lnTo>
                    <a:pt x="1023" y="366"/>
                  </a:lnTo>
                  <a:lnTo>
                    <a:pt x="1040" y="366"/>
                  </a:lnTo>
                  <a:lnTo>
                    <a:pt x="1044" y="383"/>
                  </a:lnTo>
                  <a:lnTo>
                    <a:pt x="1082" y="387"/>
                  </a:lnTo>
                  <a:lnTo>
                    <a:pt x="1082" y="371"/>
                  </a:lnTo>
                  <a:lnTo>
                    <a:pt x="1099" y="371"/>
                  </a:lnTo>
                  <a:lnTo>
                    <a:pt x="1104" y="354"/>
                  </a:lnTo>
                  <a:lnTo>
                    <a:pt x="1120" y="371"/>
                  </a:lnTo>
                  <a:lnTo>
                    <a:pt x="1120" y="387"/>
                  </a:lnTo>
                  <a:lnTo>
                    <a:pt x="1137" y="387"/>
                  </a:lnTo>
                  <a:lnTo>
                    <a:pt x="1137" y="404"/>
                  </a:lnTo>
                  <a:lnTo>
                    <a:pt x="1153" y="399"/>
                  </a:lnTo>
                  <a:lnTo>
                    <a:pt x="1170" y="411"/>
                  </a:lnTo>
                  <a:lnTo>
                    <a:pt x="1207" y="420"/>
                  </a:lnTo>
                  <a:lnTo>
                    <a:pt x="1186" y="427"/>
                  </a:lnTo>
                  <a:lnTo>
                    <a:pt x="1170" y="444"/>
                  </a:lnTo>
                  <a:lnTo>
                    <a:pt x="1153" y="437"/>
                  </a:lnTo>
                  <a:lnTo>
                    <a:pt x="1153" y="456"/>
                  </a:lnTo>
                  <a:lnTo>
                    <a:pt x="1137" y="456"/>
                  </a:lnTo>
                  <a:lnTo>
                    <a:pt x="1132" y="460"/>
                  </a:lnTo>
                  <a:lnTo>
                    <a:pt x="1132" y="465"/>
                  </a:lnTo>
                  <a:lnTo>
                    <a:pt x="1104" y="477"/>
                  </a:lnTo>
                  <a:lnTo>
                    <a:pt x="1082" y="460"/>
                  </a:lnTo>
                  <a:lnTo>
                    <a:pt x="1049" y="465"/>
                  </a:lnTo>
                  <a:lnTo>
                    <a:pt x="1028" y="465"/>
                  </a:lnTo>
                  <a:lnTo>
                    <a:pt x="1011" y="456"/>
                  </a:lnTo>
                  <a:lnTo>
                    <a:pt x="1011" y="456"/>
                  </a:lnTo>
                  <a:lnTo>
                    <a:pt x="1044" y="427"/>
                  </a:lnTo>
                  <a:lnTo>
                    <a:pt x="1011" y="399"/>
                  </a:lnTo>
                  <a:lnTo>
                    <a:pt x="1007" y="411"/>
                  </a:lnTo>
                  <a:lnTo>
                    <a:pt x="969" y="437"/>
                  </a:lnTo>
                  <a:lnTo>
                    <a:pt x="943" y="420"/>
                  </a:lnTo>
                  <a:lnTo>
                    <a:pt x="943" y="420"/>
                  </a:lnTo>
                  <a:lnTo>
                    <a:pt x="936" y="444"/>
                  </a:lnTo>
                  <a:lnTo>
                    <a:pt x="936" y="465"/>
                  </a:lnTo>
                  <a:lnTo>
                    <a:pt x="889" y="477"/>
                  </a:lnTo>
                  <a:lnTo>
                    <a:pt x="915" y="477"/>
                  </a:lnTo>
                  <a:lnTo>
                    <a:pt x="898" y="482"/>
                  </a:lnTo>
                  <a:lnTo>
                    <a:pt x="905" y="498"/>
                  </a:lnTo>
                  <a:lnTo>
                    <a:pt x="889" y="498"/>
                  </a:lnTo>
                  <a:lnTo>
                    <a:pt x="889" y="498"/>
                  </a:lnTo>
                  <a:lnTo>
                    <a:pt x="889" y="498"/>
                  </a:lnTo>
                  <a:close/>
                </a:path>
              </a:pathLst>
            </a:custGeom>
            <a:solidFill>
              <a:schemeClr val="bg2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41" name="Freeform 586">
              <a:extLst>
                <a:ext uri="{FF2B5EF4-FFF2-40B4-BE49-F238E27FC236}">
                  <a16:creationId xmlns:a16="http://schemas.microsoft.com/office/drawing/2014/main" id="{80F5C17B-AE5B-4162-9B3B-E2FD2FF5D0AE}"/>
                </a:ext>
              </a:extLst>
            </p:cNvPr>
            <p:cNvSpPr>
              <a:spLocks/>
            </p:cNvSpPr>
            <p:nvPr/>
          </p:nvSpPr>
          <p:spPr bwMode="gray">
            <a:xfrm>
              <a:off x="5501985" y="2593826"/>
              <a:ext cx="307" cy="3223"/>
            </a:xfrm>
            <a:custGeom>
              <a:avLst/>
              <a:gdLst>
                <a:gd name="T0" fmla="*/ 2 w 2"/>
                <a:gd name="T1" fmla="*/ 21 h 21"/>
                <a:gd name="T2" fmla="*/ 0 w 2"/>
                <a:gd name="T3" fmla="*/ 14 h 21"/>
                <a:gd name="T4" fmla="*/ 2 w 2"/>
                <a:gd name="T5" fmla="*/ 0 h 21"/>
                <a:gd name="T6" fmla="*/ 2 w 2"/>
                <a:gd name="T7" fmla="*/ 5 h 21"/>
                <a:gd name="T8" fmla="*/ 2 w 2"/>
                <a:gd name="T9" fmla="*/ 21 h 21"/>
                <a:gd name="T10" fmla="*/ 2 w 2"/>
                <a:gd name="T11" fmla="*/ 21 h 21"/>
                <a:gd name="T12" fmla="*/ 2 w 2"/>
                <a:gd name="T13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" h="21">
                  <a:moveTo>
                    <a:pt x="2" y="21"/>
                  </a:moveTo>
                  <a:lnTo>
                    <a:pt x="0" y="14"/>
                  </a:lnTo>
                  <a:lnTo>
                    <a:pt x="2" y="0"/>
                  </a:lnTo>
                  <a:lnTo>
                    <a:pt x="2" y="5"/>
                  </a:lnTo>
                  <a:lnTo>
                    <a:pt x="2" y="21"/>
                  </a:lnTo>
                  <a:lnTo>
                    <a:pt x="2" y="21"/>
                  </a:lnTo>
                  <a:lnTo>
                    <a:pt x="2" y="21"/>
                  </a:lnTo>
                  <a:close/>
                </a:path>
              </a:pathLst>
            </a:custGeom>
            <a:solidFill>
              <a:schemeClr val="bg2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42" name="Freeform 587">
              <a:extLst>
                <a:ext uri="{FF2B5EF4-FFF2-40B4-BE49-F238E27FC236}">
                  <a16:creationId xmlns:a16="http://schemas.microsoft.com/office/drawing/2014/main" id="{8EF9C4A7-8176-4565-B7AB-A1F805488C3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372146" y="2606106"/>
              <a:ext cx="144727" cy="129854"/>
            </a:xfrm>
            <a:custGeom>
              <a:avLst/>
              <a:gdLst>
                <a:gd name="T0" fmla="*/ 900 w 943"/>
                <a:gd name="T1" fmla="*/ 324 h 846"/>
                <a:gd name="T2" fmla="*/ 905 w 943"/>
                <a:gd name="T3" fmla="*/ 366 h 846"/>
                <a:gd name="T4" fmla="*/ 851 w 943"/>
                <a:gd name="T5" fmla="*/ 439 h 846"/>
                <a:gd name="T6" fmla="*/ 879 w 943"/>
                <a:gd name="T7" fmla="*/ 550 h 846"/>
                <a:gd name="T8" fmla="*/ 813 w 943"/>
                <a:gd name="T9" fmla="*/ 584 h 846"/>
                <a:gd name="T10" fmla="*/ 744 w 943"/>
                <a:gd name="T11" fmla="*/ 600 h 846"/>
                <a:gd name="T12" fmla="*/ 669 w 943"/>
                <a:gd name="T13" fmla="*/ 607 h 846"/>
                <a:gd name="T14" fmla="*/ 610 w 943"/>
                <a:gd name="T15" fmla="*/ 600 h 846"/>
                <a:gd name="T16" fmla="*/ 702 w 943"/>
                <a:gd name="T17" fmla="*/ 718 h 846"/>
                <a:gd name="T18" fmla="*/ 631 w 943"/>
                <a:gd name="T19" fmla="*/ 780 h 846"/>
                <a:gd name="T20" fmla="*/ 560 w 943"/>
                <a:gd name="T21" fmla="*/ 824 h 846"/>
                <a:gd name="T22" fmla="*/ 527 w 943"/>
                <a:gd name="T23" fmla="*/ 824 h 846"/>
                <a:gd name="T24" fmla="*/ 430 w 943"/>
                <a:gd name="T25" fmla="*/ 718 h 846"/>
                <a:gd name="T26" fmla="*/ 400 w 943"/>
                <a:gd name="T27" fmla="*/ 612 h 846"/>
                <a:gd name="T28" fmla="*/ 414 w 943"/>
                <a:gd name="T29" fmla="*/ 456 h 846"/>
                <a:gd name="T30" fmla="*/ 296 w 943"/>
                <a:gd name="T31" fmla="*/ 439 h 846"/>
                <a:gd name="T32" fmla="*/ 215 w 943"/>
                <a:gd name="T33" fmla="*/ 385 h 846"/>
                <a:gd name="T34" fmla="*/ 81 w 943"/>
                <a:gd name="T35" fmla="*/ 362 h 846"/>
                <a:gd name="T36" fmla="*/ 43 w 943"/>
                <a:gd name="T37" fmla="*/ 267 h 846"/>
                <a:gd name="T38" fmla="*/ 22 w 943"/>
                <a:gd name="T39" fmla="*/ 184 h 846"/>
                <a:gd name="T40" fmla="*/ 144 w 943"/>
                <a:gd name="T41" fmla="*/ 28 h 846"/>
                <a:gd name="T42" fmla="*/ 81 w 943"/>
                <a:gd name="T43" fmla="*/ 177 h 846"/>
                <a:gd name="T44" fmla="*/ 161 w 943"/>
                <a:gd name="T45" fmla="*/ 213 h 846"/>
                <a:gd name="T46" fmla="*/ 199 w 943"/>
                <a:gd name="T47" fmla="*/ 73 h 846"/>
                <a:gd name="T48" fmla="*/ 241 w 943"/>
                <a:gd name="T49" fmla="*/ 45 h 846"/>
                <a:gd name="T50" fmla="*/ 241 w 943"/>
                <a:gd name="T51" fmla="*/ 12 h 846"/>
                <a:gd name="T52" fmla="*/ 362 w 943"/>
                <a:gd name="T53" fmla="*/ 99 h 846"/>
                <a:gd name="T54" fmla="*/ 506 w 943"/>
                <a:gd name="T55" fmla="*/ 123 h 846"/>
                <a:gd name="T56" fmla="*/ 636 w 943"/>
                <a:gd name="T57" fmla="*/ 128 h 846"/>
                <a:gd name="T58" fmla="*/ 685 w 943"/>
                <a:gd name="T59" fmla="*/ 123 h 846"/>
                <a:gd name="T60" fmla="*/ 770 w 943"/>
                <a:gd name="T61" fmla="*/ 128 h 846"/>
                <a:gd name="T62" fmla="*/ 723 w 943"/>
                <a:gd name="T63" fmla="*/ 139 h 846"/>
                <a:gd name="T64" fmla="*/ 754 w 943"/>
                <a:gd name="T65" fmla="*/ 156 h 846"/>
                <a:gd name="T66" fmla="*/ 770 w 943"/>
                <a:gd name="T67" fmla="*/ 184 h 846"/>
                <a:gd name="T68" fmla="*/ 792 w 943"/>
                <a:gd name="T69" fmla="*/ 177 h 846"/>
                <a:gd name="T70" fmla="*/ 808 w 943"/>
                <a:gd name="T71" fmla="*/ 177 h 846"/>
                <a:gd name="T72" fmla="*/ 879 w 943"/>
                <a:gd name="T73" fmla="*/ 213 h 846"/>
                <a:gd name="T74" fmla="*/ 851 w 943"/>
                <a:gd name="T75" fmla="*/ 267 h 846"/>
                <a:gd name="T76" fmla="*/ 863 w 943"/>
                <a:gd name="T77" fmla="*/ 279 h 846"/>
                <a:gd name="T78" fmla="*/ 938 w 943"/>
                <a:gd name="T79" fmla="*/ 272 h 846"/>
                <a:gd name="T80" fmla="*/ 506 w 943"/>
                <a:gd name="T81" fmla="*/ 33 h 846"/>
                <a:gd name="T82" fmla="*/ 648 w 943"/>
                <a:gd name="T83" fmla="*/ 99 h 846"/>
                <a:gd name="T84" fmla="*/ 664 w 943"/>
                <a:gd name="T85" fmla="*/ 83 h 846"/>
                <a:gd name="T86" fmla="*/ 565 w 943"/>
                <a:gd name="T87" fmla="*/ 99 h 846"/>
                <a:gd name="T88" fmla="*/ 565 w 943"/>
                <a:gd name="T89" fmla="*/ 99 h 846"/>
                <a:gd name="T90" fmla="*/ 879 w 943"/>
                <a:gd name="T91" fmla="*/ 234 h 846"/>
                <a:gd name="T92" fmla="*/ 867 w 943"/>
                <a:gd name="T93" fmla="*/ 250 h 846"/>
                <a:gd name="T94" fmla="*/ 879 w 943"/>
                <a:gd name="T95" fmla="*/ 250 h 846"/>
                <a:gd name="T96" fmla="*/ 867 w 943"/>
                <a:gd name="T97" fmla="*/ 267 h 846"/>
                <a:gd name="T98" fmla="*/ 867 w 943"/>
                <a:gd name="T99" fmla="*/ 267 h 846"/>
                <a:gd name="T100" fmla="*/ 863 w 943"/>
                <a:gd name="T101" fmla="*/ 267 h 846"/>
                <a:gd name="T102" fmla="*/ 851 w 943"/>
                <a:gd name="T103" fmla="*/ 272 h 846"/>
                <a:gd name="T104" fmla="*/ 867 w 943"/>
                <a:gd name="T105" fmla="*/ 267 h 846"/>
                <a:gd name="T106" fmla="*/ 825 w 943"/>
                <a:gd name="T107" fmla="*/ 272 h 846"/>
                <a:gd name="T108" fmla="*/ 846 w 943"/>
                <a:gd name="T109" fmla="*/ 272 h 8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943" h="846">
                  <a:moveTo>
                    <a:pt x="938" y="272"/>
                  </a:moveTo>
                  <a:lnTo>
                    <a:pt x="943" y="295"/>
                  </a:lnTo>
                  <a:lnTo>
                    <a:pt x="938" y="295"/>
                  </a:lnTo>
                  <a:lnTo>
                    <a:pt x="933" y="307"/>
                  </a:lnTo>
                  <a:lnTo>
                    <a:pt x="900" y="324"/>
                  </a:lnTo>
                  <a:lnTo>
                    <a:pt x="884" y="345"/>
                  </a:lnTo>
                  <a:lnTo>
                    <a:pt x="889" y="362"/>
                  </a:lnTo>
                  <a:lnTo>
                    <a:pt x="889" y="366"/>
                  </a:lnTo>
                  <a:lnTo>
                    <a:pt x="900" y="378"/>
                  </a:lnTo>
                  <a:lnTo>
                    <a:pt x="905" y="366"/>
                  </a:lnTo>
                  <a:lnTo>
                    <a:pt x="917" y="378"/>
                  </a:lnTo>
                  <a:lnTo>
                    <a:pt x="884" y="402"/>
                  </a:lnTo>
                  <a:lnTo>
                    <a:pt x="851" y="402"/>
                  </a:lnTo>
                  <a:lnTo>
                    <a:pt x="851" y="418"/>
                  </a:lnTo>
                  <a:lnTo>
                    <a:pt x="851" y="439"/>
                  </a:lnTo>
                  <a:lnTo>
                    <a:pt x="837" y="463"/>
                  </a:lnTo>
                  <a:lnTo>
                    <a:pt x="884" y="513"/>
                  </a:lnTo>
                  <a:lnTo>
                    <a:pt x="889" y="517"/>
                  </a:lnTo>
                  <a:lnTo>
                    <a:pt x="889" y="534"/>
                  </a:lnTo>
                  <a:lnTo>
                    <a:pt x="879" y="550"/>
                  </a:lnTo>
                  <a:lnTo>
                    <a:pt x="867" y="558"/>
                  </a:lnTo>
                  <a:lnTo>
                    <a:pt x="846" y="567"/>
                  </a:lnTo>
                  <a:lnTo>
                    <a:pt x="830" y="574"/>
                  </a:lnTo>
                  <a:lnTo>
                    <a:pt x="825" y="584"/>
                  </a:lnTo>
                  <a:lnTo>
                    <a:pt x="813" y="584"/>
                  </a:lnTo>
                  <a:lnTo>
                    <a:pt x="808" y="591"/>
                  </a:lnTo>
                  <a:lnTo>
                    <a:pt x="782" y="591"/>
                  </a:lnTo>
                  <a:lnTo>
                    <a:pt x="761" y="591"/>
                  </a:lnTo>
                  <a:lnTo>
                    <a:pt x="754" y="600"/>
                  </a:lnTo>
                  <a:lnTo>
                    <a:pt x="744" y="600"/>
                  </a:lnTo>
                  <a:lnTo>
                    <a:pt x="744" y="624"/>
                  </a:lnTo>
                  <a:lnTo>
                    <a:pt x="728" y="628"/>
                  </a:lnTo>
                  <a:lnTo>
                    <a:pt x="702" y="607"/>
                  </a:lnTo>
                  <a:lnTo>
                    <a:pt x="690" y="612"/>
                  </a:lnTo>
                  <a:lnTo>
                    <a:pt x="669" y="607"/>
                  </a:lnTo>
                  <a:lnTo>
                    <a:pt x="652" y="607"/>
                  </a:lnTo>
                  <a:lnTo>
                    <a:pt x="648" y="591"/>
                  </a:lnTo>
                  <a:lnTo>
                    <a:pt x="615" y="591"/>
                  </a:lnTo>
                  <a:lnTo>
                    <a:pt x="598" y="584"/>
                  </a:lnTo>
                  <a:lnTo>
                    <a:pt x="610" y="600"/>
                  </a:lnTo>
                  <a:lnTo>
                    <a:pt x="636" y="628"/>
                  </a:lnTo>
                  <a:lnTo>
                    <a:pt x="636" y="662"/>
                  </a:lnTo>
                  <a:lnTo>
                    <a:pt x="652" y="695"/>
                  </a:lnTo>
                  <a:lnTo>
                    <a:pt x="652" y="711"/>
                  </a:lnTo>
                  <a:lnTo>
                    <a:pt x="702" y="718"/>
                  </a:lnTo>
                  <a:lnTo>
                    <a:pt x="702" y="735"/>
                  </a:lnTo>
                  <a:lnTo>
                    <a:pt x="652" y="751"/>
                  </a:lnTo>
                  <a:lnTo>
                    <a:pt x="648" y="773"/>
                  </a:lnTo>
                  <a:lnTo>
                    <a:pt x="636" y="780"/>
                  </a:lnTo>
                  <a:lnTo>
                    <a:pt x="631" y="780"/>
                  </a:lnTo>
                  <a:lnTo>
                    <a:pt x="610" y="796"/>
                  </a:lnTo>
                  <a:lnTo>
                    <a:pt x="598" y="796"/>
                  </a:lnTo>
                  <a:lnTo>
                    <a:pt x="577" y="806"/>
                  </a:lnTo>
                  <a:lnTo>
                    <a:pt x="565" y="824"/>
                  </a:lnTo>
                  <a:lnTo>
                    <a:pt x="560" y="824"/>
                  </a:lnTo>
                  <a:lnTo>
                    <a:pt x="544" y="846"/>
                  </a:lnTo>
                  <a:lnTo>
                    <a:pt x="544" y="841"/>
                  </a:lnTo>
                  <a:lnTo>
                    <a:pt x="544" y="824"/>
                  </a:lnTo>
                  <a:lnTo>
                    <a:pt x="544" y="824"/>
                  </a:lnTo>
                  <a:lnTo>
                    <a:pt x="527" y="824"/>
                  </a:lnTo>
                  <a:lnTo>
                    <a:pt x="506" y="841"/>
                  </a:lnTo>
                  <a:lnTo>
                    <a:pt x="489" y="841"/>
                  </a:lnTo>
                  <a:lnTo>
                    <a:pt x="452" y="806"/>
                  </a:lnTo>
                  <a:lnTo>
                    <a:pt x="430" y="723"/>
                  </a:lnTo>
                  <a:lnTo>
                    <a:pt x="430" y="718"/>
                  </a:lnTo>
                  <a:lnTo>
                    <a:pt x="400" y="685"/>
                  </a:lnTo>
                  <a:lnTo>
                    <a:pt x="383" y="685"/>
                  </a:lnTo>
                  <a:lnTo>
                    <a:pt x="421" y="645"/>
                  </a:lnTo>
                  <a:lnTo>
                    <a:pt x="404" y="624"/>
                  </a:lnTo>
                  <a:lnTo>
                    <a:pt x="400" y="612"/>
                  </a:lnTo>
                  <a:lnTo>
                    <a:pt x="383" y="558"/>
                  </a:lnTo>
                  <a:lnTo>
                    <a:pt x="383" y="501"/>
                  </a:lnTo>
                  <a:lnTo>
                    <a:pt x="400" y="489"/>
                  </a:lnTo>
                  <a:lnTo>
                    <a:pt x="400" y="473"/>
                  </a:lnTo>
                  <a:lnTo>
                    <a:pt x="414" y="456"/>
                  </a:lnTo>
                  <a:lnTo>
                    <a:pt x="414" y="439"/>
                  </a:lnTo>
                  <a:lnTo>
                    <a:pt x="383" y="435"/>
                  </a:lnTo>
                  <a:lnTo>
                    <a:pt x="378" y="439"/>
                  </a:lnTo>
                  <a:lnTo>
                    <a:pt x="329" y="444"/>
                  </a:lnTo>
                  <a:lnTo>
                    <a:pt x="296" y="439"/>
                  </a:lnTo>
                  <a:lnTo>
                    <a:pt x="291" y="444"/>
                  </a:lnTo>
                  <a:lnTo>
                    <a:pt x="279" y="444"/>
                  </a:lnTo>
                  <a:lnTo>
                    <a:pt x="274" y="444"/>
                  </a:lnTo>
                  <a:lnTo>
                    <a:pt x="227" y="385"/>
                  </a:lnTo>
                  <a:lnTo>
                    <a:pt x="215" y="385"/>
                  </a:lnTo>
                  <a:lnTo>
                    <a:pt x="182" y="378"/>
                  </a:lnTo>
                  <a:lnTo>
                    <a:pt x="152" y="385"/>
                  </a:lnTo>
                  <a:lnTo>
                    <a:pt x="119" y="378"/>
                  </a:lnTo>
                  <a:lnTo>
                    <a:pt x="90" y="385"/>
                  </a:lnTo>
                  <a:lnTo>
                    <a:pt x="81" y="362"/>
                  </a:lnTo>
                  <a:lnTo>
                    <a:pt x="59" y="345"/>
                  </a:lnTo>
                  <a:lnTo>
                    <a:pt x="59" y="312"/>
                  </a:lnTo>
                  <a:lnTo>
                    <a:pt x="64" y="307"/>
                  </a:lnTo>
                  <a:lnTo>
                    <a:pt x="64" y="279"/>
                  </a:lnTo>
                  <a:lnTo>
                    <a:pt x="43" y="267"/>
                  </a:lnTo>
                  <a:lnTo>
                    <a:pt x="38" y="234"/>
                  </a:lnTo>
                  <a:lnTo>
                    <a:pt x="26" y="222"/>
                  </a:lnTo>
                  <a:lnTo>
                    <a:pt x="22" y="217"/>
                  </a:lnTo>
                  <a:lnTo>
                    <a:pt x="0" y="222"/>
                  </a:lnTo>
                  <a:lnTo>
                    <a:pt x="22" y="184"/>
                  </a:lnTo>
                  <a:lnTo>
                    <a:pt x="26" y="128"/>
                  </a:lnTo>
                  <a:lnTo>
                    <a:pt x="59" y="83"/>
                  </a:lnTo>
                  <a:lnTo>
                    <a:pt x="81" y="73"/>
                  </a:lnTo>
                  <a:lnTo>
                    <a:pt x="97" y="45"/>
                  </a:lnTo>
                  <a:lnTo>
                    <a:pt x="144" y="28"/>
                  </a:lnTo>
                  <a:lnTo>
                    <a:pt x="135" y="33"/>
                  </a:lnTo>
                  <a:lnTo>
                    <a:pt x="97" y="50"/>
                  </a:lnTo>
                  <a:lnTo>
                    <a:pt x="119" y="111"/>
                  </a:lnTo>
                  <a:lnTo>
                    <a:pt x="119" y="128"/>
                  </a:lnTo>
                  <a:lnTo>
                    <a:pt x="81" y="177"/>
                  </a:lnTo>
                  <a:lnTo>
                    <a:pt x="114" y="213"/>
                  </a:lnTo>
                  <a:lnTo>
                    <a:pt x="114" y="222"/>
                  </a:lnTo>
                  <a:lnTo>
                    <a:pt x="119" y="234"/>
                  </a:lnTo>
                  <a:lnTo>
                    <a:pt x="144" y="222"/>
                  </a:lnTo>
                  <a:lnTo>
                    <a:pt x="161" y="213"/>
                  </a:lnTo>
                  <a:lnTo>
                    <a:pt x="161" y="177"/>
                  </a:lnTo>
                  <a:lnTo>
                    <a:pt x="128" y="123"/>
                  </a:lnTo>
                  <a:lnTo>
                    <a:pt x="128" y="106"/>
                  </a:lnTo>
                  <a:lnTo>
                    <a:pt x="128" y="99"/>
                  </a:lnTo>
                  <a:lnTo>
                    <a:pt x="199" y="73"/>
                  </a:lnTo>
                  <a:lnTo>
                    <a:pt x="227" y="57"/>
                  </a:lnTo>
                  <a:lnTo>
                    <a:pt x="227" y="50"/>
                  </a:lnTo>
                  <a:lnTo>
                    <a:pt x="241" y="57"/>
                  </a:lnTo>
                  <a:lnTo>
                    <a:pt x="253" y="57"/>
                  </a:lnTo>
                  <a:lnTo>
                    <a:pt x="241" y="45"/>
                  </a:lnTo>
                  <a:lnTo>
                    <a:pt x="215" y="45"/>
                  </a:lnTo>
                  <a:lnTo>
                    <a:pt x="215" y="28"/>
                  </a:lnTo>
                  <a:lnTo>
                    <a:pt x="220" y="12"/>
                  </a:lnTo>
                  <a:lnTo>
                    <a:pt x="237" y="0"/>
                  </a:lnTo>
                  <a:lnTo>
                    <a:pt x="241" y="12"/>
                  </a:lnTo>
                  <a:lnTo>
                    <a:pt x="258" y="57"/>
                  </a:lnTo>
                  <a:lnTo>
                    <a:pt x="279" y="50"/>
                  </a:lnTo>
                  <a:lnTo>
                    <a:pt x="312" y="57"/>
                  </a:lnTo>
                  <a:lnTo>
                    <a:pt x="345" y="83"/>
                  </a:lnTo>
                  <a:lnTo>
                    <a:pt x="362" y="99"/>
                  </a:lnTo>
                  <a:lnTo>
                    <a:pt x="350" y="106"/>
                  </a:lnTo>
                  <a:lnTo>
                    <a:pt x="350" y="123"/>
                  </a:lnTo>
                  <a:lnTo>
                    <a:pt x="367" y="128"/>
                  </a:lnTo>
                  <a:lnTo>
                    <a:pt x="501" y="123"/>
                  </a:lnTo>
                  <a:lnTo>
                    <a:pt x="506" y="123"/>
                  </a:lnTo>
                  <a:lnTo>
                    <a:pt x="506" y="128"/>
                  </a:lnTo>
                  <a:lnTo>
                    <a:pt x="527" y="144"/>
                  </a:lnTo>
                  <a:lnTo>
                    <a:pt x="577" y="161"/>
                  </a:lnTo>
                  <a:lnTo>
                    <a:pt x="598" y="161"/>
                  </a:lnTo>
                  <a:lnTo>
                    <a:pt x="636" y="128"/>
                  </a:lnTo>
                  <a:lnTo>
                    <a:pt x="674" y="128"/>
                  </a:lnTo>
                  <a:lnTo>
                    <a:pt x="652" y="123"/>
                  </a:lnTo>
                  <a:lnTo>
                    <a:pt x="636" y="128"/>
                  </a:lnTo>
                  <a:lnTo>
                    <a:pt x="636" y="111"/>
                  </a:lnTo>
                  <a:lnTo>
                    <a:pt x="685" y="123"/>
                  </a:lnTo>
                  <a:lnTo>
                    <a:pt x="716" y="111"/>
                  </a:lnTo>
                  <a:lnTo>
                    <a:pt x="799" y="111"/>
                  </a:lnTo>
                  <a:lnTo>
                    <a:pt x="799" y="111"/>
                  </a:lnTo>
                  <a:lnTo>
                    <a:pt x="778" y="123"/>
                  </a:lnTo>
                  <a:lnTo>
                    <a:pt x="770" y="128"/>
                  </a:lnTo>
                  <a:lnTo>
                    <a:pt x="728" y="128"/>
                  </a:lnTo>
                  <a:lnTo>
                    <a:pt x="723" y="128"/>
                  </a:lnTo>
                  <a:lnTo>
                    <a:pt x="740" y="128"/>
                  </a:lnTo>
                  <a:lnTo>
                    <a:pt x="740" y="139"/>
                  </a:lnTo>
                  <a:lnTo>
                    <a:pt x="723" y="139"/>
                  </a:lnTo>
                  <a:lnTo>
                    <a:pt x="723" y="144"/>
                  </a:lnTo>
                  <a:lnTo>
                    <a:pt x="728" y="144"/>
                  </a:lnTo>
                  <a:lnTo>
                    <a:pt x="728" y="139"/>
                  </a:lnTo>
                  <a:lnTo>
                    <a:pt x="740" y="139"/>
                  </a:lnTo>
                  <a:lnTo>
                    <a:pt x="754" y="156"/>
                  </a:lnTo>
                  <a:lnTo>
                    <a:pt x="723" y="161"/>
                  </a:lnTo>
                  <a:lnTo>
                    <a:pt x="740" y="161"/>
                  </a:lnTo>
                  <a:lnTo>
                    <a:pt x="754" y="161"/>
                  </a:lnTo>
                  <a:lnTo>
                    <a:pt x="754" y="144"/>
                  </a:lnTo>
                  <a:lnTo>
                    <a:pt x="770" y="184"/>
                  </a:lnTo>
                  <a:lnTo>
                    <a:pt x="778" y="168"/>
                  </a:lnTo>
                  <a:lnTo>
                    <a:pt x="778" y="168"/>
                  </a:lnTo>
                  <a:lnTo>
                    <a:pt x="778" y="194"/>
                  </a:lnTo>
                  <a:lnTo>
                    <a:pt x="782" y="177"/>
                  </a:lnTo>
                  <a:lnTo>
                    <a:pt x="792" y="177"/>
                  </a:lnTo>
                  <a:lnTo>
                    <a:pt x="778" y="168"/>
                  </a:lnTo>
                  <a:lnTo>
                    <a:pt x="782" y="161"/>
                  </a:lnTo>
                  <a:lnTo>
                    <a:pt x="799" y="168"/>
                  </a:lnTo>
                  <a:lnTo>
                    <a:pt x="813" y="194"/>
                  </a:lnTo>
                  <a:lnTo>
                    <a:pt x="808" y="177"/>
                  </a:lnTo>
                  <a:lnTo>
                    <a:pt x="825" y="177"/>
                  </a:lnTo>
                  <a:lnTo>
                    <a:pt x="825" y="168"/>
                  </a:lnTo>
                  <a:lnTo>
                    <a:pt x="846" y="194"/>
                  </a:lnTo>
                  <a:lnTo>
                    <a:pt x="863" y="194"/>
                  </a:lnTo>
                  <a:lnTo>
                    <a:pt x="879" y="213"/>
                  </a:lnTo>
                  <a:lnTo>
                    <a:pt x="879" y="217"/>
                  </a:lnTo>
                  <a:lnTo>
                    <a:pt x="863" y="234"/>
                  </a:lnTo>
                  <a:lnTo>
                    <a:pt x="863" y="234"/>
                  </a:lnTo>
                  <a:lnTo>
                    <a:pt x="867" y="222"/>
                  </a:lnTo>
                  <a:lnTo>
                    <a:pt x="851" y="267"/>
                  </a:lnTo>
                  <a:lnTo>
                    <a:pt x="825" y="267"/>
                  </a:lnTo>
                  <a:lnTo>
                    <a:pt x="825" y="272"/>
                  </a:lnTo>
                  <a:lnTo>
                    <a:pt x="837" y="279"/>
                  </a:lnTo>
                  <a:lnTo>
                    <a:pt x="863" y="272"/>
                  </a:lnTo>
                  <a:lnTo>
                    <a:pt x="863" y="279"/>
                  </a:lnTo>
                  <a:lnTo>
                    <a:pt x="867" y="267"/>
                  </a:lnTo>
                  <a:lnTo>
                    <a:pt x="900" y="272"/>
                  </a:lnTo>
                  <a:lnTo>
                    <a:pt x="905" y="267"/>
                  </a:lnTo>
                  <a:lnTo>
                    <a:pt x="917" y="267"/>
                  </a:lnTo>
                  <a:lnTo>
                    <a:pt x="938" y="272"/>
                  </a:lnTo>
                  <a:lnTo>
                    <a:pt x="938" y="272"/>
                  </a:lnTo>
                  <a:lnTo>
                    <a:pt x="938" y="272"/>
                  </a:lnTo>
                  <a:close/>
                  <a:moveTo>
                    <a:pt x="506" y="33"/>
                  </a:moveTo>
                  <a:lnTo>
                    <a:pt x="501" y="33"/>
                  </a:lnTo>
                  <a:lnTo>
                    <a:pt x="506" y="33"/>
                  </a:lnTo>
                  <a:lnTo>
                    <a:pt x="506" y="33"/>
                  </a:lnTo>
                  <a:lnTo>
                    <a:pt x="506" y="33"/>
                  </a:lnTo>
                  <a:lnTo>
                    <a:pt x="506" y="33"/>
                  </a:lnTo>
                  <a:close/>
                  <a:moveTo>
                    <a:pt x="652" y="106"/>
                  </a:moveTo>
                  <a:lnTo>
                    <a:pt x="648" y="99"/>
                  </a:lnTo>
                  <a:lnTo>
                    <a:pt x="631" y="99"/>
                  </a:lnTo>
                  <a:lnTo>
                    <a:pt x="631" y="90"/>
                  </a:lnTo>
                  <a:lnTo>
                    <a:pt x="636" y="83"/>
                  </a:lnTo>
                  <a:lnTo>
                    <a:pt x="652" y="90"/>
                  </a:lnTo>
                  <a:lnTo>
                    <a:pt x="664" y="83"/>
                  </a:lnTo>
                  <a:lnTo>
                    <a:pt x="669" y="90"/>
                  </a:lnTo>
                  <a:lnTo>
                    <a:pt x="652" y="106"/>
                  </a:lnTo>
                  <a:lnTo>
                    <a:pt x="652" y="106"/>
                  </a:lnTo>
                  <a:lnTo>
                    <a:pt x="652" y="106"/>
                  </a:lnTo>
                  <a:close/>
                  <a:moveTo>
                    <a:pt x="565" y="99"/>
                  </a:moveTo>
                  <a:lnTo>
                    <a:pt x="556" y="99"/>
                  </a:lnTo>
                  <a:lnTo>
                    <a:pt x="565" y="99"/>
                  </a:lnTo>
                  <a:lnTo>
                    <a:pt x="565" y="99"/>
                  </a:lnTo>
                  <a:lnTo>
                    <a:pt x="565" y="99"/>
                  </a:lnTo>
                  <a:lnTo>
                    <a:pt x="565" y="99"/>
                  </a:lnTo>
                  <a:close/>
                  <a:moveTo>
                    <a:pt x="879" y="234"/>
                  </a:moveTo>
                  <a:lnTo>
                    <a:pt x="867" y="234"/>
                  </a:lnTo>
                  <a:lnTo>
                    <a:pt x="879" y="222"/>
                  </a:lnTo>
                  <a:lnTo>
                    <a:pt x="879" y="234"/>
                  </a:lnTo>
                  <a:lnTo>
                    <a:pt x="879" y="234"/>
                  </a:lnTo>
                  <a:lnTo>
                    <a:pt x="879" y="234"/>
                  </a:lnTo>
                  <a:close/>
                  <a:moveTo>
                    <a:pt x="867" y="250"/>
                  </a:moveTo>
                  <a:lnTo>
                    <a:pt x="863" y="250"/>
                  </a:lnTo>
                  <a:lnTo>
                    <a:pt x="879" y="234"/>
                  </a:lnTo>
                  <a:lnTo>
                    <a:pt x="867" y="250"/>
                  </a:lnTo>
                  <a:lnTo>
                    <a:pt x="867" y="250"/>
                  </a:lnTo>
                  <a:lnTo>
                    <a:pt x="867" y="250"/>
                  </a:lnTo>
                  <a:close/>
                  <a:moveTo>
                    <a:pt x="851" y="255"/>
                  </a:moveTo>
                  <a:lnTo>
                    <a:pt x="863" y="250"/>
                  </a:lnTo>
                  <a:lnTo>
                    <a:pt x="879" y="250"/>
                  </a:lnTo>
                  <a:lnTo>
                    <a:pt x="867" y="255"/>
                  </a:lnTo>
                  <a:lnTo>
                    <a:pt x="851" y="255"/>
                  </a:lnTo>
                  <a:lnTo>
                    <a:pt x="851" y="255"/>
                  </a:lnTo>
                  <a:lnTo>
                    <a:pt x="851" y="255"/>
                  </a:lnTo>
                  <a:close/>
                  <a:moveTo>
                    <a:pt x="867" y="267"/>
                  </a:moveTo>
                  <a:lnTo>
                    <a:pt x="867" y="267"/>
                  </a:lnTo>
                  <a:lnTo>
                    <a:pt x="879" y="255"/>
                  </a:lnTo>
                  <a:lnTo>
                    <a:pt x="867" y="267"/>
                  </a:lnTo>
                  <a:lnTo>
                    <a:pt x="867" y="267"/>
                  </a:lnTo>
                  <a:lnTo>
                    <a:pt x="867" y="267"/>
                  </a:lnTo>
                  <a:close/>
                  <a:moveTo>
                    <a:pt x="863" y="267"/>
                  </a:moveTo>
                  <a:lnTo>
                    <a:pt x="851" y="267"/>
                  </a:lnTo>
                  <a:lnTo>
                    <a:pt x="867" y="255"/>
                  </a:lnTo>
                  <a:lnTo>
                    <a:pt x="863" y="267"/>
                  </a:lnTo>
                  <a:lnTo>
                    <a:pt x="863" y="267"/>
                  </a:lnTo>
                  <a:lnTo>
                    <a:pt x="863" y="267"/>
                  </a:lnTo>
                  <a:close/>
                  <a:moveTo>
                    <a:pt x="851" y="272"/>
                  </a:moveTo>
                  <a:lnTo>
                    <a:pt x="851" y="267"/>
                  </a:lnTo>
                  <a:lnTo>
                    <a:pt x="863" y="267"/>
                  </a:lnTo>
                  <a:lnTo>
                    <a:pt x="851" y="272"/>
                  </a:lnTo>
                  <a:lnTo>
                    <a:pt x="851" y="272"/>
                  </a:lnTo>
                  <a:lnTo>
                    <a:pt x="851" y="272"/>
                  </a:lnTo>
                  <a:close/>
                  <a:moveTo>
                    <a:pt x="851" y="272"/>
                  </a:moveTo>
                  <a:lnTo>
                    <a:pt x="846" y="272"/>
                  </a:lnTo>
                  <a:lnTo>
                    <a:pt x="867" y="267"/>
                  </a:lnTo>
                  <a:lnTo>
                    <a:pt x="851" y="272"/>
                  </a:lnTo>
                  <a:lnTo>
                    <a:pt x="851" y="272"/>
                  </a:lnTo>
                  <a:lnTo>
                    <a:pt x="851" y="272"/>
                  </a:lnTo>
                  <a:close/>
                  <a:moveTo>
                    <a:pt x="846" y="272"/>
                  </a:moveTo>
                  <a:lnTo>
                    <a:pt x="825" y="272"/>
                  </a:lnTo>
                  <a:lnTo>
                    <a:pt x="846" y="272"/>
                  </a:lnTo>
                  <a:lnTo>
                    <a:pt x="851" y="272"/>
                  </a:lnTo>
                  <a:lnTo>
                    <a:pt x="846" y="272"/>
                  </a:lnTo>
                  <a:lnTo>
                    <a:pt x="846" y="272"/>
                  </a:lnTo>
                  <a:lnTo>
                    <a:pt x="846" y="272"/>
                  </a:lnTo>
                  <a:close/>
                </a:path>
              </a:pathLst>
            </a:custGeom>
            <a:solidFill>
              <a:schemeClr val="bg2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43" name="Freeform 588">
              <a:extLst>
                <a:ext uri="{FF2B5EF4-FFF2-40B4-BE49-F238E27FC236}">
                  <a16:creationId xmlns:a16="http://schemas.microsoft.com/office/drawing/2014/main" id="{2F98BD44-AC97-498E-AD67-6635261CB1F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260961" y="2480242"/>
              <a:ext cx="79040" cy="166846"/>
            </a:xfrm>
            <a:custGeom>
              <a:avLst/>
              <a:gdLst>
                <a:gd name="T0" fmla="*/ 374 w 515"/>
                <a:gd name="T1" fmla="*/ 615 h 1087"/>
                <a:gd name="T2" fmla="*/ 364 w 515"/>
                <a:gd name="T3" fmla="*/ 556 h 1087"/>
                <a:gd name="T4" fmla="*/ 340 w 515"/>
                <a:gd name="T5" fmla="*/ 522 h 1087"/>
                <a:gd name="T6" fmla="*/ 310 w 515"/>
                <a:gd name="T7" fmla="*/ 499 h 1087"/>
                <a:gd name="T8" fmla="*/ 248 w 515"/>
                <a:gd name="T9" fmla="*/ 421 h 1087"/>
                <a:gd name="T10" fmla="*/ 211 w 515"/>
                <a:gd name="T11" fmla="*/ 367 h 1087"/>
                <a:gd name="T12" fmla="*/ 118 w 515"/>
                <a:gd name="T13" fmla="*/ 300 h 1087"/>
                <a:gd name="T14" fmla="*/ 185 w 515"/>
                <a:gd name="T15" fmla="*/ 260 h 1087"/>
                <a:gd name="T16" fmla="*/ 173 w 515"/>
                <a:gd name="T17" fmla="*/ 211 h 1087"/>
                <a:gd name="T18" fmla="*/ 118 w 515"/>
                <a:gd name="T19" fmla="*/ 182 h 1087"/>
                <a:gd name="T20" fmla="*/ 55 w 515"/>
                <a:gd name="T21" fmla="*/ 116 h 1087"/>
                <a:gd name="T22" fmla="*/ 22 w 515"/>
                <a:gd name="T23" fmla="*/ 41 h 1087"/>
                <a:gd name="T24" fmla="*/ 102 w 515"/>
                <a:gd name="T25" fmla="*/ 41 h 1087"/>
                <a:gd name="T26" fmla="*/ 147 w 515"/>
                <a:gd name="T27" fmla="*/ 41 h 1087"/>
                <a:gd name="T28" fmla="*/ 194 w 515"/>
                <a:gd name="T29" fmla="*/ 5 h 1087"/>
                <a:gd name="T30" fmla="*/ 281 w 515"/>
                <a:gd name="T31" fmla="*/ 22 h 1087"/>
                <a:gd name="T32" fmla="*/ 326 w 515"/>
                <a:gd name="T33" fmla="*/ 41 h 1087"/>
                <a:gd name="T34" fmla="*/ 340 w 515"/>
                <a:gd name="T35" fmla="*/ 100 h 1087"/>
                <a:gd name="T36" fmla="*/ 395 w 515"/>
                <a:gd name="T37" fmla="*/ 128 h 1087"/>
                <a:gd name="T38" fmla="*/ 395 w 515"/>
                <a:gd name="T39" fmla="*/ 133 h 1087"/>
                <a:gd name="T40" fmla="*/ 348 w 515"/>
                <a:gd name="T41" fmla="*/ 182 h 1087"/>
                <a:gd name="T42" fmla="*/ 336 w 515"/>
                <a:gd name="T43" fmla="*/ 173 h 1087"/>
                <a:gd name="T44" fmla="*/ 310 w 515"/>
                <a:gd name="T45" fmla="*/ 173 h 1087"/>
                <a:gd name="T46" fmla="*/ 310 w 515"/>
                <a:gd name="T47" fmla="*/ 201 h 1087"/>
                <a:gd name="T48" fmla="*/ 265 w 515"/>
                <a:gd name="T49" fmla="*/ 256 h 1087"/>
                <a:gd name="T50" fmla="*/ 265 w 515"/>
                <a:gd name="T51" fmla="*/ 367 h 1087"/>
                <a:gd name="T52" fmla="*/ 348 w 515"/>
                <a:gd name="T53" fmla="*/ 466 h 1087"/>
                <a:gd name="T54" fmla="*/ 390 w 515"/>
                <a:gd name="T55" fmla="*/ 504 h 1087"/>
                <a:gd name="T56" fmla="*/ 418 w 515"/>
                <a:gd name="T57" fmla="*/ 539 h 1087"/>
                <a:gd name="T58" fmla="*/ 428 w 515"/>
                <a:gd name="T59" fmla="*/ 539 h 1087"/>
                <a:gd name="T60" fmla="*/ 503 w 515"/>
                <a:gd name="T61" fmla="*/ 704 h 1087"/>
                <a:gd name="T62" fmla="*/ 499 w 515"/>
                <a:gd name="T63" fmla="*/ 737 h 1087"/>
                <a:gd name="T64" fmla="*/ 487 w 515"/>
                <a:gd name="T65" fmla="*/ 808 h 1087"/>
                <a:gd name="T66" fmla="*/ 487 w 515"/>
                <a:gd name="T67" fmla="*/ 848 h 1087"/>
                <a:gd name="T68" fmla="*/ 482 w 515"/>
                <a:gd name="T69" fmla="*/ 886 h 1087"/>
                <a:gd name="T70" fmla="*/ 395 w 515"/>
                <a:gd name="T71" fmla="*/ 931 h 1087"/>
                <a:gd name="T72" fmla="*/ 336 w 515"/>
                <a:gd name="T73" fmla="*/ 948 h 1087"/>
                <a:gd name="T74" fmla="*/ 310 w 515"/>
                <a:gd name="T75" fmla="*/ 948 h 1087"/>
                <a:gd name="T76" fmla="*/ 326 w 515"/>
                <a:gd name="T77" fmla="*/ 976 h 1087"/>
                <a:gd name="T78" fmla="*/ 319 w 515"/>
                <a:gd name="T79" fmla="*/ 988 h 1087"/>
                <a:gd name="T80" fmla="*/ 310 w 515"/>
                <a:gd name="T81" fmla="*/ 1014 h 1087"/>
                <a:gd name="T82" fmla="*/ 281 w 515"/>
                <a:gd name="T83" fmla="*/ 1030 h 1087"/>
                <a:gd name="T84" fmla="*/ 180 w 515"/>
                <a:gd name="T85" fmla="*/ 1087 h 1087"/>
                <a:gd name="T86" fmla="*/ 201 w 515"/>
                <a:gd name="T87" fmla="*/ 988 h 1087"/>
                <a:gd name="T88" fmla="*/ 173 w 515"/>
                <a:gd name="T89" fmla="*/ 976 h 1087"/>
                <a:gd name="T90" fmla="*/ 201 w 515"/>
                <a:gd name="T91" fmla="*/ 931 h 1087"/>
                <a:gd name="T92" fmla="*/ 234 w 515"/>
                <a:gd name="T93" fmla="*/ 919 h 1087"/>
                <a:gd name="T94" fmla="*/ 255 w 515"/>
                <a:gd name="T95" fmla="*/ 893 h 1087"/>
                <a:gd name="T96" fmla="*/ 303 w 515"/>
                <a:gd name="T97" fmla="*/ 865 h 1087"/>
                <a:gd name="T98" fmla="*/ 364 w 515"/>
                <a:gd name="T99" fmla="*/ 815 h 1087"/>
                <a:gd name="T100" fmla="*/ 374 w 515"/>
                <a:gd name="T101" fmla="*/ 766 h 1087"/>
                <a:gd name="T102" fmla="*/ 374 w 515"/>
                <a:gd name="T103" fmla="*/ 700 h 1087"/>
                <a:gd name="T104" fmla="*/ 364 w 515"/>
                <a:gd name="T105" fmla="*/ 166 h 1087"/>
                <a:gd name="T106" fmla="*/ 378 w 515"/>
                <a:gd name="T107" fmla="*/ 173 h 1087"/>
                <a:gd name="T108" fmla="*/ 378 w 515"/>
                <a:gd name="T109" fmla="*/ 173 h 1087"/>
                <a:gd name="T110" fmla="*/ 336 w 515"/>
                <a:gd name="T111" fmla="*/ 189 h 1087"/>
                <a:gd name="T112" fmla="*/ 336 w 515"/>
                <a:gd name="T113" fmla="*/ 182 h 1087"/>
                <a:gd name="T114" fmla="*/ 336 w 515"/>
                <a:gd name="T115" fmla="*/ 182 h 1087"/>
                <a:gd name="T116" fmla="*/ 326 w 515"/>
                <a:gd name="T117" fmla="*/ 959 h 1087"/>
                <a:gd name="T118" fmla="*/ 326 w 515"/>
                <a:gd name="T119" fmla="*/ 931 h 1087"/>
                <a:gd name="T120" fmla="*/ 336 w 515"/>
                <a:gd name="T121" fmla="*/ 948 h 1087"/>
                <a:gd name="T122" fmla="*/ 130 w 515"/>
                <a:gd name="T123" fmla="*/ 959 h 1087"/>
                <a:gd name="T124" fmla="*/ 130 w 515"/>
                <a:gd name="T125" fmla="*/ 948 h 10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515" h="1087">
                  <a:moveTo>
                    <a:pt x="374" y="700"/>
                  </a:moveTo>
                  <a:lnTo>
                    <a:pt x="364" y="683"/>
                  </a:lnTo>
                  <a:lnTo>
                    <a:pt x="378" y="643"/>
                  </a:lnTo>
                  <a:lnTo>
                    <a:pt x="374" y="615"/>
                  </a:lnTo>
                  <a:lnTo>
                    <a:pt x="378" y="615"/>
                  </a:lnTo>
                  <a:lnTo>
                    <a:pt x="390" y="598"/>
                  </a:lnTo>
                  <a:lnTo>
                    <a:pt x="348" y="560"/>
                  </a:lnTo>
                  <a:lnTo>
                    <a:pt x="364" y="556"/>
                  </a:lnTo>
                  <a:lnTo>
                    <a:pt x="374" y="539"/>
                  </a:lnTo>
                  <a:lnTo>
                    <a:pt x="364" y="539"/>
                  </a:lnTo>
                  <a:lnTo>
                    <a:pt x="348" y="522"/>
                  </a:lnTo>
                  <a:lnTo>
                    <a:pt x="340" y="522"/>
                  </a:lnTo>
                  <a:lnTo>
                    <a:pt x="336" y="504"/>
                  </a:lnTo>
                  <a:lnTo>
                    <a:pt x="326" y="515"/>
                  </a:lnTo>
                  <a:lnTo>
                    <a:pt x="319" y="515"/>
                  </a:lnTo>
                  <a:lnTo>
                    <a:pt x="310" y="499"/>
                  </a:lnTo>
                  <a:lnTo>
                    <a:pt x="310" y="478"/>
                  </a:lnTo>
                  <a:lnTo>
                    <a:pt x="303" y="478"/>
                  </a:lnTo>
                  <a:lnTo>
                    <a:pt x="293" y="461"/>
                  </a:lnTo>
                  <a:lnTo>
                    <a:pt x="248" y="421"/>
                  </a:lnTo>
                  <a:lnTo>
                    <a:pt x="234" y="388"/>
                  </a:lnTo>
                  <a:lnTo>
                    <a:pt x="227" y="388"/>
                  </a:lnTo>
                  <a:lnTo>
                    <a:pt x="211" y="371"/>
                  </a:lnTo>
                  <a:lnTo>
                    <a:pt x="211" y="367"/>
                  </a:lnTo>
                  <a:lnTo>
                    <a:pt x="211" y="350"/>
                  </a:lnTo>
                  <a:lnTo>
                    <a:pt x="180" y="338"/>
                  </a:lnTo>
                  <a:lnTo>
                    <a:pt x="140" y="310"/>
                  </a:lnTo>
                  <a:lnTo>
                    <a:pt x="118" y="300"/>
                  </a:lnTo>
                  <a:lnTo>
                    <a:pt x="130" y="284"/>
                  </a:lnTo>
                  <a:lnTo>
                    <a:pt x="130" y="267"/>
                  </a:lnTo>
                  <a:lnTo>
                    <a:pt x="173" y="277"/>
                  </a:lnTo>
                  <a:lnTo>
                    <a:pt x="185" y="260"/>
                  </a:lnTo>
                  <a:lnTo>
                    <a:pt x="185" y="256"/>
                  </a:lnTo>
                  <a:lnTo>
                    <a:pt x="194" y="244"/>
                  </a:lnTo>
                  <a:lnTo>
                    <a:pt x="194" y="239"/>
                  </a:lnTo>
                  <a:lnTo>
                    <a:pt x="173" y="211"/>
                  </a:lnTo>
                  <a:lnTo>
                    <a:pt x="156" y="211"/>
                  </a:lnTo>
                  <a:lnTo>
                    <a:pt x="173" y="201"/>
                  </a:lnTo>
                  <a:lnTo>
                    <a:pt x="130" y="173"/>
                  </a:lnTo>
                  <a:lnTo>
                    <a:pt x="118" y="182"/>
                  </a:lnTo>
                  <a:lnTo>
                    <a:pt x="109" y="201"/>
                  </a:lnTo>
                  <a:lnTo>
                    <a:pt x="71" y="182"/>
                  </a:lnTo>
                  <a:lnTo>
                    <a:pt x="48" y="149"/>
                  </a:lnTo>
                  <a:lnTo>
                    <a:pt x="55" y="116"/>
                  </a:lnTo>
                  <a:lnTo>
                    <a:pt x="33" y="128"/>
                  </a:lnTo>
                  <a:lnTo>
                    <a:pt x="33" y="100"/>
                  </a:lnTo>
                  <a:lnTo>
                    <a:pt x="0" y="74"/>
                  </a:lnTo>
                  <a:lnTo>
                    <a:pt x="22" y="41"/>
                  </a:lnTo>
                  <a:lnTo>
                    <a:pt x="64" y="62"/>
                  </a:lnTo>
                  <a:lnTo>
                    <a:pt x="76" y="41"/>
                  </a:lnTo>
                  <a:lnTo>
                    <a:pt x="92" y="57"/>
                  </a:lnTo>
                  <a:lnTo>
                    <a:pt x="102" y="41"/>
                  </a:lnTo>
                  <a:lnTo>
                    <a:pt x="126" y="62"/>
                  </a:lnTo>
                  <a:lnTo>
                    <a:pt x="130" y="41"/>
                  </a:lnTo>
                  <a:lnTo>
                    <a:pt x="147" y="29"/>
                  </a:lnTo>
                  <a:lnTo>
                    <a:pt x="147" y="41"/>
                  </a:lnTo>
                  <a:lnTo>
                    <a:pt x="156" y="45"/>
                  </a:lnTo>
                  <a:lnTo>
                    <a:pt x="173" y="29"/>
                  </a:lnTo>
                  <a:lnTo>
                    <a:pt x="180" y="41"/>
                  </a:lnTo>
                  <a:lnTo>
                    <a:pt x="194" y="5"/>
                  </a:lnTo>
                  <a:lnTo>
                    <a:pt x="227" y="0"/>
                  </a:lnTo>
                  <a:lnTo>
                    <a:pt x="239" y="17"/>
                  </a:lnTo>
                  <a:lnTo>
                    <a:pt x="255" y="29"/>
                  </a:lnTo>
                  <a:lnTo>
                    <a:pt x="281" y="22"/>
                  </a:lnTo>
                  <a:lnTo>
                    <a:pt x="286" y="29"/>
                  </a:lnTo>
                  <a:lnTo>
                    <a:pt x="303" y="22"/>
                  </a:lnTo>
                  <a:lnTo>
                    <a:pt x="319" y="29"/>
                  </a:lnTo>
                  <a:lnTo>
                    <a:pt x="326" y="41"/>
                  </a:lnTo>
                  <a:lnTo>
                    <a:pt x="310" y="62"/>
                  </a:lnTo>
                  <a:lnTo>
                    <a:pt x="319" y="78"/>
                  </a:lnTo>
                  <a:lnTo>
                    <a:pt x="319" y="95"/>
                  </a:lnTo>
                  <a:lnTo>
                    <a:pt x="340" y="100"/>
                  </a:lnTo>
                  <a:lnTo>
                    <a:pt x="340" y="111"/>
                  </a:lnTo>
                  <a:lnTo>
                    <a:pt x="357" y="116"/>
                  </a:lnTo>
                  <a:lnTo>
                    <a:pt x="364" y="128"/>
                  </a:lnTo>
                  <a:lnTo>
                    <a:pt x="395" y="128"/>
                  </a:lnTo>
                  <a:lnTo>
                    <a:pt x="411" y="133"/>
                  </a:lnTo>
                  <a:lnTo>
                    <a:pt x="411" y="133"/>
                  </a:lnTo>
                  <a:lnTo>
                    <a:pt x="407" y="145"/>
                  </a:lnTo>
                  <a:lnTo>
                    <a:pt x="395" y="133"/>
                  </a:lnTo>
                  <a:lnTo>
                    <a:pt x="378" y="149"/>
                  </a:lnTo>
                  <a:lnTo>
                    <a:pt x="374" y="149"/>
                  </a:lnTo>
                  <a:lnTo>
                    <a:pt x="364" y="173"/>
                  </a:lnTo>
                  <a:lnTo>
                    <a:pt x="348" y="182"/>
                  </a:lnTo>
                  <a:lnTo>
                    <a:pt x="340" y="173"/>
                  </a:lnTo>
                  <a:lnTo>
                    <a:pt x="348" y="173"/>
                  </a:lnTo>
                  <a:lnTo>
                    <a:pt x="340" y="173"/>
                  </a:lnTo>
                  <a:lnTo>
                    <a:pt x="336" y="173"/>
                  </a:lnTo>
                  <a:lnTo>
                    <a:pt x="336" y="182"/>
                  </a:lnTo>
                  <a:lnTo>
                    <a:pt x="326" y="182"/>
                  </a:lnTo>
                  <a:lnTo>
                    <a:pt x="326" y="173"/>
                  </a:lnTo>
                  <a:lnTo>
                    <a:pt x="310" y="173"/>
                  </a:lnTo>
                  <a:lnTo>
                    <a:pt x="326" y="182"/>
                  </a:lnTo>
                  <a:lnTo>
                    <a:pt x="319" y="182"/>
                  </a:lnTo>
                  <a:lnTo>
                    <a:pt x="326" y="201"/>
                  </a:lnTo>
                  <a:lnTo>
                    <a:pt x="310" y="201"/>
                  </a:lnTo>
                  <a:lnTo>
                    <a:pt x="310" y="227"/>
                  </a:lnTo>
                  <a:lnTo>
                    <a:pt x="303" y="227"/>
                  </a:lnTo>
                  <a:lnTo>
                    <a:pt x="310" y="227"/>
                  </a:lnTo>
                  <a:lnTo>
                    <a:pt x="265" y="256"/>
                  </a:lnTo>
                  <a:lnTo>
                    <a:pt x="255" y="277"/>
                  </a:lnTo>
                  <a:lnTo>
                    <a:pt x="255" y="300"/>
                  </a:lnTo>
                  <a:lnTo>
                    <a:pt x="239" y="322"/>
                  </a:lnTo>
                  <a:lnTo>
                    <a:pt x="265" y="367"/>
                  </a:lnTo>
                  <a:lnTo>
                    <a:pt x="303" y="404"/>
                  </a:lnTo>
                  <a:lnTo>
                    <a:pt x="293" y="421"/>
                  </a:lnTo>
                  <a:lnTo>
                    <a:pt x="319" y="445"/>
                  </a:lnTo>
                  <a:lnTo>
                    <a:pt x="348" y="466"/>
                  </a:lnTo>
                  <a:lnTo>
                    <a:pt x="348" y="482"/>
                  </a:lnTo>
                  <a:lnTo>
                    <a:pt x="378" y="499"/>
                  </a:lnTo>
                  <a:lnTo>
                    <a:pt x="374" y="499"/>
                  </a:lnTo>
                  <a:lnTo>
                    <a:pt x="390" y="504"/>
                  </a:lnTo>
                  <a:lnTo>
                    <a:pt x="395" y="522"/>
                  </a:lnTo>
                  <a:lnTo>
                    <a:pt x="411" y="522"/>
                  </a:lnTo>
                  <a:lnTo>
                    <a:pt x="428" y="532"/>
                  </a:lnTo>
                  <a:lnTo>
                    <a:pt x="418" y="539"/>
                  </a:lnTo>
                  <a:lnTo>
                    <a:pt x="428" y="544"/>
                  </a:lnTo>
                  <a:lnTo>
                    <a:pt x="428" y="532"/>
                  </a:lnTo>
                  <a:lnTo>
                    <a:pt x="433" y="539"/>
                  </a:lnTo>
                  <a:lnTo>
                    <a:pt x="428" y="539"/>
                  </a:lnTo>
                  <a:lnTo>
                    <a:pt x="433" y="544"/>
                  </a:lnTo>
                  <a:lnTo>
                    <a:pt x="461" y="589"/>
                  </a:lnTo>
                  <a:lnTo>
                    <a:pt x="466" y="589"/>
                  </a:lnTo>
                  <a:lnTo>
                    <a:pt x="503" y="704"/>
                  </a:lnTo>
                  <a:lnTo>
                    <a:pt x="503" y="709"/>
                  </a:lnTo>
                  <a:lnTo>
                    <a:pt x="499" y="704"/>
                  </a:lnTo>
                  <a:lnTo>
                    <a:pt x="499" y="704"/>
                  </a:lnTo>
                  <a:lnTo>
                    <a:pt x="499" y="737"/>
                  </a:lnTo>
                  <a:lnTo>
                    <a:pt x="515" y="775"/>
                  </a:lnTo>
                  <a:lnTo>
                    <a:pt x="499" y="792"/>
                  </a:lnTo>
                  <a:lnTo>
                    <a:pt x="503" y="815"/>
                  </a:lnTo>
                  <a:lnTo>
                    <a:pt x="487" y="808"/>
                  </a:lnTo>
                  <a:lnTo>
                    <a:pt x="499" y="848"/>
                  </a:lnTo>
                  <a:lnTo>
                    <a:pt x="499" y="832"/>
                  </a:lnTo>
                  <a:lnTo>
                    <a:pt x="499" y="837"/>
                  </a:lnTo>
                  <a:lnTo>
                    <a:pt x="487" y="848"/>
                  </a:lnTo>
                  <a:lnTo>
                    <a:pt x="499" y="853"/>
                  </a:lnTo>
                  <a:lnTo>
                    <a:pt x="487" y="870"/>
                  </a:lnTo>
                  <a:lnTo>
                    <a:pt x="482" y="870"/>
                  </a:lnTo>
                  <a:lnTo>
                    <a:pt x="482" y="886"/>
                  </a:lnTo>
                  <a:lnTo>
                    <a:pt x="466" y="886"/>
                  </a:lnTo>
                  <a:lnTo>
                    <a:pt x="418" y="919"/>
                  </a:lnTo>
                  <a:lnTo>
                    <a:pt x="411" y="931"/>
                  </a:lnTo>
                  <a:lnTo>
                    <a:pt x="395" y="931"/>
                  </a:lnTo>
                  <a:lnTo>
                    <a:pt x="357" y="959"/>
                  </a:lnTo>
                  <a:lnTo>
                    <a:pt x="340" y="948"/>
                  </a:lnTo>
                  <a:lnTo>
                    <a:pt x="340" y="931"/>
                  </a:lnTo>
                  <a:lnTo>
                    <a:pt x="336" y="948"/>
                  </a:lnTo>
                  <a:lnTo>
                    <a:pt x="336" y="943"/>
                  </a:lnTo>
                  <a:lnTo>
                    <a:pt x="319" y="931"/>
                  </a:lnTo>
                  <a:lnTo>
                    <a:pt x="319" y="948"/>
                  </a:lnTo>
                  <a:lnTo>
                    <a:pt x="310" y="948"/>
                  </a:lnTo>
                  <a:lnTo>
                    <a:pt x="319" y="948"/>
                  </a:lnTo>
                  <a:lnTo>
                    <a:pt x="326" y="964"/>
                  </a:lnTo>
                  <a:lnTo>
                    <a:pt x="293" y="964"/>
                  </a:lnTo>
                  <a:lnTo>
                    <a:pt x="326" y="976"/>
                  </a:lnTo>
                  <a:lnTo>
                    <a:pt x="326" y="981"/>
                  </a:lnTo>
                  <a:lnTo>
                    <a:pt x="310" y="988"/>
                  </a:lnTo>
                  <a:lnTo>
                    <a:pt x="286" y="964"/>
                  </a:lnTo>
                  <a:lnTo>
                    <a:pt x="319" y="988"/>
                  </a:lnTo>
                  <a:lnTo>
                    <a:pt x="310" y="997"/>
                  </a:lnTo>
                  <a:lnTo>
                    <a:pt x="281" y="964"/>
                  </a:lnTo>
                  <a:lnTo>
                    <a:pt x="310" y="1004"/>
                  </a:lnTo>
                  <a:lnTo>
                    <a:pt x="310" y="1014"/>
                  </a:lnTo>
                  <a:lnTo>
                    <a:pt x="293" y="1021"/>
                  </a:lnTo>
                  <a:lnTo>
                    <a:pt x="255" y="981"/>
                  </a:lnTo>
                  <a:lnTo>
                    <a:pt x="281" y="1014"/>
                  </a:lnTo>
                  <a:lnTo>
                    <a:pt x="281" y="1030"/>
                  </a:lnTo>
                  <a:lnTo>
                    <a:pt x="234" y="1042"/>
                  </a:lnTo>
                  <a:lnTo>
                    <a:pt x="218" y="1075"/>
                  </a:lnTo>
                  <a:lnTo>
                    <a:pt x="201" y="1087"/>
                  </a:lnTo>
                  <a:lnTo>
                    <a:pt x="180" y="1087"/>
                  </a:lnTo>
                  <a:lnTo>
                    <a:pt x="194" y="1075"/>
                  </a:lnTo>
                  <a:lnTo>
                    <a:pt x="185" y="1070"/>
                  </a:lnTo>
                  <a:lnTo>
                    <a:pt x="185" y="1004"/>
                  </a:lnTo>
                  <a:lnTo>
                    <a:pt x="201" y="988"/>
                  </a:lnTo>
                  <a:lnTo>
                    <a:pt x="211" y="997"/>
                  </a:lnTo>
                  <a:lnTo>
                    <a:pt x="211" y="988"/>
                  </a:lnTo>
                  <a:lnTo>
                    <a:pt x="185" y="964"/>
                  </a:lnTo>
                  <a:lnTo>
                    <a:pt x="173" y="976"/>
                  </a:lnTo>
                  <a:lnTo>
                    <a:pt x="163" y="959"/>
                  </a:lnTo>
                  <a:lnTo>
                    <a:pt x="173" y="948"/>
                  </a:lnTo>
                  <a:lnTo>
                    <a:pt x="194" y="943"/>
                  </a:lnTo>
                  <a:lnTo>
                    <a:pt x="201" y="931"/>
                  </a:lnTo>
                  <a:lnTo>
                    <a:pt x="201" y="919"/>
                  </a:lnTo>
                  <a:lnTo>
                    <a:pt x="211" y="919"/>
                  </a:lnTo>
                  <a:lnTo>
                    <a:pt x="227" y="919"/>
                  </a:lnTo>
                  <a:lnTo>
                    <a:pt x="234" y="919"/>
                  </a:lnTo>
                  <a:lnTo>
                    <a:pt x="255" y="910"/>
                  </a:lnTo>
                  <a:lnTo>
                    <a:pt x="281" y="926"/>
                  </a:lnTo>
                  <a:lnTo>
                    <a:pt x="281" y="910"/>
                  </a:lnTo>
                  <a:lnTo>
                    <a:pt x="255" y="893"/>
                  </a:lnTo>
                  <a:lnTo>
                    <a:pt x="255" y="870"/>
                  </a:lnTo>
                  <a:lnTo>
                    <a:pt x="265" y="865"/>
                  </a:lnTo>
                  <a:lnTo>
                    <a:pt x="272" y="853"/>
                  </a:lnTo>
                  <a:lnTo>
                    <a:pt x="303" y="865"/>
                  </a:lnTo>
                  <a:lnTo>
                    <a:pt x="293" y="837"/>
                  </a:lnTo>
                  <a:lnTo>
                    <a:pt x="319" y="837"/>
                  </a:lnTo>
                  <a:lnTo>
                    <a:pt x="348" y="815"/>
                  </a:lnTo>
                  <a:lnTo>
                    <a:pt x="364" y="815"/>
                  </a:lnTo>
                  <a:lnTo>
                    <a:pt x="374" y="820"/>
                  </a:lnTo>
                  <a:lnTo>
                    <a:pt x="378" y="815"/>
                  </a:lnTo>
                  <a:lnTo>
                    <a:pt x="378" y="792"/>
                  </a:lnTo>
                  <a:lnTo>
                    <a:pt x="374" y="766"/>
                  </a:lnTo>
                  <a:lnTo>
                    <a:pt x="378" y="726"/>
                  </a:lnTo>
                  <a:lnTo>
                    <a:pt x="374" y="704"/>
                  </a:lnTo>
                  <a:lnTo>
                    <a:pt x="374" y="700"/>
                  </a:lnTo>
                  <a:lnTo>
                    <a:pt x="374" y="700"/>
                  </a:lnTo>
                  <a:lnTo>
                    <a:pt x="374" y="700"/>
                  </a:lnTo>
                  <a:close/>
                  <a:moveTo>
                    <a:pt x="374" y="149"/>
                  </a:moveTo>
                  <a:lnTo>
                    <a:pt x="378" y="156"/>
                  </a:lnTo>
                  <a:lnTo>
                    <a:pt x="364" y="166"/>
                  </a:lnTo>
                  <a:lnTo>
                    <a:pt x="374" y="149"/>
                  </a:lnTo>
                  <a:lnTo>
                    <a:pt x="374" y="149"/>
                  </a:lnTo>
                  <a:lnTo>
                    <a:pt x="374" y="149"/>
                  </a:lnTo>
                  <a:close/>
                  <a:moveTo>
                    <a:pt x="378" y="173"/>
                  </a:moveTo>
                  <a:lnTo>
                    <a:pt x="374" y="182"/>
                  </a:lnTo>
                  <a:lnTo>
                    <a:pt x="364" y="182"/>
                  </a:lnTo>
                  <a:lnTo>
                    <a:pt x="378" y="173"/>
                  </a:lnTo>
                  <a:lnTo>
                    <a:pt x="378" y="173"/>
                  </a:lnTo>
                  <a:lnTo>
                    <a:pt x="378" y="173"/>
                  </a:lnTo>
                  <a:close/>
                  <a:moveTo>
                    <a:pt x="326" y="182"/>
                  </a:moveTo>
                  <a:lnTo>
                    <a:pt x="326" y="182"/>
                  </a:lnTo>
                  <a:lnTo>
                    <a:pt x="336" y="189"/>
                  </a:lnTo>
                  <a:lnTo>
                    <a:pt x="326" y="182"/>
                  </a:lnTo>
                  <a:lnTo>
                    <a:pt x="326" y="182"/>
                  </a:lnTo>
                  <a:lnTo>
                    <a:pt x="326" y="182"/>
                  </a:lnTo>
                  <a:close/>
                  <a:moveTo>
                    <a:pt x="336" y="182"/>
                  </a:moveTo>
                  <a:lnTo>
                    <a:pt x="348" y="189"/>
                  </a:lnTo>
                  <a:lnTo>
                    <a:pt x="340" y="201"/>
                  </a:lnTo>
                  <a:lnTo>
                    <a:pt x="336" y="182"/>
                  </a:lnTo>
                  <a:lnTo>
                    <a:pt x="336" y="182"/>
                  </a:lnTo>
                  <a:lnTo>
                    <a:pt x="336" y="182"/>
                  </a:lnTo>
                  <a:close/>
                  <a:moveTo>
                    <a:pt x="326" y="931"/>
                  </a:moveTo>
                  <a:lnTo>
                    <a:pt x="326" y="943"/>
                  </a:lnTo>
                  <a:lnTo>
                    <a:pt x="326" y="959"/>
                  </a:lnTo>
                  <a:lnTo>
                    <a:pt x="326" y="948"/>
                  </a:lnTo>
                  <a:lnTo>
                    <a:pt x="326" y="931"/>
                  </a:lnTo>
                  <a:lnTo>
                    <a:pt x="326" y="931"/>
                  </a:lnTo>
                  <a:lnTo>
                    <a:pt x="326" y="931"/>
                  </a:lnTo>
                  <a:close/>
                  <a:moveTo>
                    <a:pt x="336" y="948"/>
                  </a:moveTo>
                  <a:lnTo>
                    <a:pt x="340" y="959"/>
                  </a:lnTo>
                  <a:lnTo>
                    <a:pt x="336" y="959"/>
                  </a:lnTo>
                  <a:lnTo>
                    <a:pt x="336" y="948"/>
                  </a:lnTo>
                  <a:lnTo>
                    <a:pt x="336" y="948"/>
                  </a:lnTo>
                  <a:lnTo>
                    <a:pt x="336" y="948"/>
                  </a:lnTo>
                  <a:close/>
                  <a:moveTo>
                    <a:pt x="130" y="948"/>
                  </a:moveTo>
                  <a:lnTo>
                    <a:pt x="130" y="959"/>
                  </a:lnTo>
                  <a:lnTo>
                    <a:pt x="130" y="981"/>
                  </a:lnTo>
                  <a:lnTo>
                    <a:pt x="118" y="959"/>
                  </a:lnTo>
                  <a:lnTo>
                    <a:pt x="130" y="948"/>
                  </a:lnTo>
                  <a:lnTo>
                    <a:pt x="130" y="948"/>
                  </a:lnTo>
                  <a:lnTo>
                    <a:pt x="130" y="948"/>
                  </a:lnTo>
                  <a:close/>
                </a:path>
              </a:pathLst>
            </a:custGeom>
            <a:solidFill>
              <a:schemeClr val="bg2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44" name="Freeform 589">
              <a:extLst>
                <a:ext uri="{FF2B5EF4-FFF2-40B4-BE49-F238E27FC236}">
                  <a16:creationId xmlns:a16="http://schemas.microsoft.com/office/drawing/2014/main" id="{AE79F87F-CCD4-49B2-960B-0037F458B95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462849" y="2536881"/>
              <a:ext cx="3223" cy="7981"/>
            </a:xfrm>
            <a:custGeom>
              <a:avLst/>
              <a:gdLst>
                <a:gd name="T0" fmla="*/ 16 w 21"/>
                <a:gd name="T1" fmla="*/ 0 h 52"/>
                <a:gd name="T2" fmla="*/ 7 w 21"/>
                <a:gd name="T3" fmla="*/ 0 h 52"/>
                <a:gd name="T4" fmla="*/ 16 w 21"/>
                <a:gd name="T5" fmla="*/ 0 h 52"/>
                <a:gd name="T6" fmla="*/ 16 w 21"/>
                <a:gd name="T7" fmla="*/ 0 h 52"/>
                <a:gd name="T8" fmla="*/ 16 w 21"/>
                <a:gd name="T9" fmla="*/ 0 h 52"/>
                <a:gd name="T10" fmla="*/ 16 w 21"/>
                <a:gd name="T11" fmla="*/ 0 h 52"/>
                <a:gd name="T12" fmla="*/ 0 w 21"/>
                <a:gd name="T13" fmla="*/ 52 h 52"/>
                <a:gd name="T14" fmla="*/ 0 w 21"/>
                <a:gd name="T15" fmla="*/ 40 h 52"/>
                <a:gd name="T16" fmla="*/ 21 w 21"/>
                <a:gd name="T17" fmla="*/ 52 h 52"/>
                <a:gd name="T18" fmla="*/ 0 w 21"/>
                <a:gd name="T19" fmla="*/ 52 h 52"/>
                <a:gd name="T20" fmla="*/ 0 w 21"/>
                <a:gd name="T21" fmla="*/ 52 h 52"/>
                <a:gd name="T22" fmla="*/ 0 w 21"/>
                <a:gd name="T23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1" h="52">
                  <a:moveTo>
                    <a:pt x="16" y="0"/>
                  </a:moveTo>
                  <a:lnTo>
                    <a:pt x="7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close/>
                  <a:moveTo>
                    <a:pt x="0" y="52"/>
                  </a:moveTo>
                  <a:lnTo>
                    <a:pt x="0" y="40"/>
                  </a:lnTo>
                  <a:lnTo>
                    <a:pt x="21" y="52"/>
                  </a:lnTo>
                  <a:lnTo>
                    <a:pt x="0" y="52"/>
                  </a:lnTo>
                  <a:lnTo>
                    <a:pt x="0" y="52"/>
                  </a:lnTo>
                  <a:lnTo>
                    <a:pt x="0" y="52"/>
                  </a:lnTo>
                  <a:close/>
                </a:path>
              </a:pathLst>
            </a:custGeom>
            <a:solidFill>
              <a:schemeClr val="bg2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45" name="Freeform 590">
              <a:extLst>
                <a:ext uri="{FF2B5EF4-FFF2-40B4-BE49-F238E27FC236}">
                  <a16:creationId xmlns:a16="http://schemas.microsoft.com/office/drawing/2014/main" id="{473293BB-ACE2-4350-BD1A-3E79B9E81DF1}"/>
                </a:ext>
              </a:extLst>
            </p:cNvPr>
            <p:cNvSpPr>
              <a:spLocks/>
            </p:cNvSpPr>
            <p:nvPr/>
          </p:nvSpPr>
          <p:spPr bwMode="gray">
            <a:xfrm>
              <a:off x="6288391" y="2931662"/>
              <a:ext cx="144573" cy="139678"/>
            </a:xfrm>
            <a:custGeom>
              <a:avLst/>
              <a:gdLst>
                <a:gd name="T0" fmla="*/ 21 w 942"/>
                <a:gd name="T1" fmla="*/ 17 h 910"/>
                <a:gd name="T2" fmla="*/ 96 w 942"/>
                <a:gd name="T3" fmla="*/ 0 h 910"/>
                <a:gd name="T4" fmla="*/ 151 w 942"/>
                <a:gd name="T5" fmla="*/ 38 h 910"/>
                <a:gd name="T6" fmla="*/ 474 w 942"/>
                <a:gd name="T7" fmla="*/ 55 h 910"/>
                <a:gd name="T8" fmla="*/ 597 w 942"/>
                <a:gd name="T9" fmla="*/ 71 h 910"/>
                <a:gd name="T10" fmla="*/ 635 w 942"/>
                <a:gd name="T11" fmla="*/ 76 h 910"/>
                <a:gd name="T12" fmla="*/ 668 w 942"/>
                <a:gd name="T13" fmla="*/ 76 h 910"/>
                <a:gd name="T14" fmla="*/ 867 w 942"/>
                <a:gd name="T15" fmla="*/ 38 h 910"/>
                <a:gd name="T16" fmla="*/ 921 w 942"/>
                <a:gd name="T17" fmla="*/ 50 h 910"/>
                <a:gd name="T18" fmla="*/ 916 w 942"/>
                <a:gd name="T19" fmla="*/ 59 h 910"/>
                <a:gd name="T20" fmla="*/ 878 w 942"/>
                <a:gd name="T21" fmla="*/ 76 h 910"/>
                <a:gd name="T22" fmla="*/ 807 w 942"/>
                <a:gd name="T23" fmla="*/ 76 h 910"/>
                <a:gd name="T24" fmla="*/ 647 w 942"/>
                <a:gd name="T25" fmla="*/ 383 h 910"/>
                <a:gd name="T26" fmla="*/ 576 w 942"/>
                <a:gd name="T27" fmla="*/ 586 h 910"/>
                <a:gd name="T28" fmla="*/ 543 w 942"/>
                <a:gd name="T29" fmla="*/ 881 h 910"/>
                <a:gd name="T30" fmla="*/ 522 w 942"/>
                <a:gd name="T31" fmla="*/ 898 h 910"/>
                <a:gd name="T32" fmla="*/ 512 w 942"/>
                <a:gd name="T33" fmla="*/ 910 h 910"/>
                <a:gd name="T34" fmla="*/ 441 w 942"/>
                <a:gd name="T35" fmla="*/ 910 h 910"/>
                <a:gd name="T36" fmla="*/ 404 w 942"/>
                <a:gd name="T37" fmla="*/ 903 h 910"/>
                <a:gd name="T38" fmla="*/ 387 w 942"/>
                <a:gd name="T39" fmla="*/ 898 h 910"/>
                <a:gd name="T40" fmla="*/ 382 w 942"/>
                <a:gd name="T41" fmla="*/ 853 h 910"/>
                <a:gd name="T42" fmla="*/ 349 w 942"/>
                <a:gd name="T43" fmla="*/ 848 h 910"/>
                <a:gd name="T44" fmla="*/ 328 w 942"/>
                <a:gd name="T45" fmla="*/ 886 h 910"/>
                <a:gd name="T46" fmla="*/ 274 w 942"/>
                <a:gd name="T47" fmla="*/ 841 h 910"/>
                <a:gd name="T48" fmla="*/ 236 w 942"/>
                <a:gd name="T49" fmla="*/ 759 h 910"/>
                <a:gd name="T50" fmla="*/ 236 w 942"/>
                <a:gd name="T51" fmla="*/ 730 h 910"/>
                <a:gd name="T52" fmla="*/ 219 w 942"/>
                <a:gd name="T53" fmla="*/ 714 h 910"/>
                <a:gd name="T54" fmla="*/ 215 w 942"/>
                <a:gd name="T55" fmla="*/ 664 h 910"/>
                <a:gd name="T56" fmla="*/ 181 w 942"/>
                <a:gd name="T57" fmla="*/ 537 h 910"/>
                <a:gd name="T58" fmla="*/ 203 w 942"/>
                <a:gd name="T59" fmla="*/ 466 h 910"/>
                <a:gd name="T60" fmla="*/ 189 w 942"/>
                <a:gd name="T61" fmla="*/ 425 h 910"/>
                <a:gd name="T62" fmla="*/ 151 w 942"/>
                <a:gd name="T63" fmla="*/ 366 h 910"/>
                <a:gd name="T64" fmla="*/ 113 w 942"/>
                <a:gd name="T65" fmla="*/ 293 h 910"/>
                <a:gd name="T66" fmla="*/ 42 w 942"/>
                <a:gd name="T67" fmla="*/ 149 h 910"/>
                <a:gd name="T68" fmla="*/ 0 w 942"/>
                <a:gd name="T69" fmla="*/ 88 h 910"/>
                <a:gd name="T70" fmla="*/ 0 w 942"/>
                <a:gd name="T71" fmla="*/ 22 h 910"/>
                <a:gd name="T72" fmla="*/ 0 w 942"/>
                <a:gd name="T73" fmla="*/ 22 h 9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942" h="910">
                  <a:moveTo>
                    <a:pt x="0" y="22"/>
                  </a:moveTo>
                  <a:lnTo>
                    <a:pt x="21" y="17"/>
                  </a:lnTo>
                  <a:lnTo>
                    <a:pt x="52" y="22"/>
                  </a:lnTo>
                  <a:lnTo>
                    <a:pt x="96" y="0"/>
                  </a:lnTo>
                  <a:lnTo>
                    <a:pt x="118" y="5"/>
                  </a:lnTo>
                  <a:lnTo>
                    <a:pt x="151" y="38"/>
                  </a:lnTo>
                  <a:lnTo>
                    <a:pt x="467" y="33"/>
                  </a:lnTo>
                  <a:lnTo>
                    <a:pt x="474" y="55"/>
                  </a:lnTo>
                  <a:lnTo>
                    <a:pt x="496" y="59"/>
                  </a:lnTo>
                  <a:lnTo>
                    <a:pt x="597" y="71"/>
                  </a:lnTo>
                  <a:lnTo>
                    <a:pt x="614" y="76"/>
                  </a:lnTo>
                  <a:lnTo>
                    <a:pt x="635" y="76"/>
                  </a:lnTo>
                  <a:lnTo>
                    <a:pt x="652" y="71"/>
                  </a:lnTo>
                  <a:lnTo>
                    <a:pt x="668" y="76"/>
                  </a:lnTo>
                  <a:lnTo>
                    <a:pt x="812" y="55"/>
                  </a:lnTo>
                  <a:lnTo>
                    <a:pt x="867" y="38"/>
                  </a:lnTo>
                  <a:lnTo>
                    <a:pt x="900" y="38"/>
                  </a:lnTo>
                  <a:lnTo>
                    <a:pt x="921" y="50"/>
                  </a:lnTo>
                  <a:lnTo>
                    <a:pt x="942" y="59"/>
                  </a:lnTo>
                  <a:lnTo>
                    <a:pt x="916" y="59"/>
                  </a:lnTo>
                  <a:lnTo>
                    <a:pt x="888" y="88"/>
                  </a:lnTo>
                  <a:lnTo>
                    <a:pt x="878" y="76"/>
                  </a:lnTo>
                  <a:lnTo>
                    <a:pt x="829" y="116"/>
                  </a:lnTo>
                  <a:lnTo>
                    <a:pt x="807" y="76"/>
                  </a:lnTo>
                  <a:lnTo>
                    <a:pt x="647" y="104"/>
                  </a:lnTo>
                  <a:lnTo>
                    <a:pt x="647" y="383"/>
                  </a:lnTo>
                  <a:lnTo>
                    <a:pt x="576" y="383"/>
                  </a:lnTo>
                  <a:lnTo>
                    <a:pt x="576" y="586"/>
                  </a:lnTo>
                  <a:lnTo>
                    <a:pt x="576" y="870"/>
                  </a:lnTo>
                  <a:lnTo>
                    <a:pt x="543" y="881"/>
                  </a:lnTo>
                  <a:lnTo>
                    <a:pt x="538" y="898"/>
                  </a:lnTo>
                  <a:lnTo>
                    <a:pt x="522" y="898"/>
                  </a:lnTo>
                  <a:lnTo>
                    <a:pt x="522" y="910"/>
                  </a:lnTo>
                  <a:lnTo>
                    <a:pt x="512" y="910"/>
                  </a:lnTo>
                  <a:lnTo>
                    <a:pt x="484" y="903"/>
                  </a:lnTo>
                  <a:lnTo>
                    <a:pt x="441" y="910"/>
                  </a:lnTo>
                  <a:lnTo>
                    <a:pt x="430" y="903"/>
                  </a:lnTo>
                  <a:lnTo>
                    <a:pt x="404" y="903"/>
                  </a:lnTo>
                  <a:lnTo>
                    <a:pt x="404" y="898"/>
                  </a:lnTo>
                  <a:lnTo>
                    <a:pt x="387" y="898"/>
                  </a:lnTo>
                  <a:lnTo>
                    <a:pt x="387" y="853"/>
                  </a:lnTo>
                  <a:lnTo>
                    <a:pt x="382" y="853"/>
                  </a:lnTo>
                  <a:lnTo>
                    <a:pt x="366" y="841"/>
                  </a:lnTo>
                  <a:lnTo>
                    <a:pt x="349" y="848"/>
                  </a:lnTo>
                  <a:lnTo>
                    <a:pt x="344" y="881"/>
                  </a:lnTo>
                  <a:lnTo>
                    <a:pt x="328" y="886"/>
                  </a:lnTo>
                  <a:lnTo>
                    <a:pt x="323" y="881"/>
                  </a:lnTo>
                  <a:lnTo>
                    <a:pt x="274" y="841"/>
                  </a:lnTo>
                  <a:lnTo>
                    <a:pt x="241" y="787"/>
                  </a:lnTo>
                  <a:lnTo>
                    <a:pt x="236" y="759"/>
                  </a:lnTo>
                  <a:lnTo>
                    <a:pt x="226" y="737"/>
                  </a:lnTo>
                  <a:lnTo>
                    <a:pt x="236" y="730"/>
                  </a:lnTo>
                  <a:lnTo>
                    <a:pt x="226" y="714"/>
                  </a:lnTo>
                  <a:lnTo>
                    <a:pt x="219" y="714"/>
                  </a:lnTo>
                  <a:lnTo>
                    <a:pt x="219" y="688"/>
                  </a:lnTo>
                  <a:lnTo>
                    <a:pt x="215" y="664"/>
                  </a:lnTo>
                  <a:lnTo>
                    <a:pt x="215" y="610"/>
                  </a:lnTo>
                  <a:lnTo>
                    <a:pt x="181" y="537"/>
                  </a:lnTo>
                  <a:lnTo>
                    <a:pt x="181" y="466"/>
                  </a:lnTo>
                  <a:lnTo>
                    <a:pt x="203" y="466"/>
                  </a:lnTo>
                  <a:lnTo>
                    <a:pt x="198" y="425"/>
                  </a:lnTo>
                  <a:lnTo>
                    <a:pt x="189" y="425"/>
                  </a:lnTo>
                  <a:lnTo>
                    <a:pt x="181" y="404"/>
                  </a:lnTo>
                  <a:lnTo>
                    <a:pt x="151" y="366"/>
                  </a:lnTo>
                  <a:lnTo>
                    <a:pt x="144" y="343"/>
                  </a:lnTo>
                  <a:lnTo>
                    <a:pt x="113" y="293"/>
                  </a:lnTo>
                  <a:lnTo>
                    <a:pt x="96" y="244"/>
                  </a:lnTo>
                  <a:lnTo>
                    <a:pt x="42" y="149"/>
                  </a:lnTo>
                  <a:lnTo>
                    <a:pt x="9" y="109"/>
                  </a:lnTo>
                  <a:lnTo>
                    <a:pt x="0" y="88"/>
                  </a:lnTo>
                  <a:lnTo>
                    <a:pt x="0" y="50"/>
                  </a:lnTo>
                  <a:lnTo>
                    <a:pt x="0" y="22"/>
                  </a:lnTo>
                  <a:lnTo>
                    <a:pt x="0" y="22"/>
                  </a:lnTo>
                  <a:lnTo>
                    <a:pt x="0" y="22"/>
                  </a:lnTo>
                  <a:close/>
                </a:path>
              </a:pathLst>
            </a:custGeom>
            <a:solidFill>
              <a:schemeClr val="bg2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46" name="Freeform 591">
              <a:extLst>
                <a:ext uri="{FF2B5EF4-FFF2-40B4-BE49-F238E27FC236}">
                  <a16:creationId xmlns:a16="http://schemas.microsoft.com/office/drawing/2014/main" id="{4F42B37F-40B3-4249-8ADB-C68A86F363BB}"/>
                </a:ext>
              </a:extLst>
            </p:cNvPr>
            <p:cNvSpPr>
              <a:spLocks/>
            </p:cNvSpPr>
            <p:nvPr/>
          </p:nvSpPr>
          <p:spPr bwMode="gray">
            <a:xfrm>
              <a:off x="6537020" y="2369728"/>
              <a:ext cx="6600" cy="14428"/>
            </a:xfrm>
            <a:custGeom>
              <a:avLst/>
              <a:gdLst>
                <a:gd name="T0" fmla="*/ 43 w 43"/>
                <a:gd name="T1" fmla="*/ 21 h 94"/>
                <a:gd name="T2" fmla="*/ 43 w 43"/>
                <a:gd name="T3" fmla="*/ 83 h 94"/>
                <a:gd name="T4" fmla="*/ 17 w 43"/>
                <a:gd name="T5" fmla="*/ 94 h 94"/>
                <a:gd name="T6" fmla="*/ 0 w 43"/>
                <a:gd name="T7" fmla="*/ 94 h 94"/>
                <a:gd name="T8" fmla="*/ 7 w 43"/>
                <a:gd name="T9" fmla="*/ 71 h 94"/>
                <a:gd name="T10" fmla="*/ 21 w 43"/>
                <a:gd name="T11" fmla="*/ 61 h 94"/>
                <a:gd name="T12" fmla="*/ 7 w 43"/>
                <a:gd name="T13" fmla="*/ 54 h 94"/>
                <a:gd name="T14" fmla="*/ 17 w 43"/>
                <a:gd name="T15" fmla="*/ 5 h 94"/>
                <a:gd name="T16" fmla="*/ 21 w 43"/>
                <a:gd name="T17" fmla="*/ 0 h 94"/>
                <a:gd name="T18" fmla="*/ 43 w 43"/>
                <a:gd name="T19" fmla="*/ 17 h 94"/>
                <a:gd name="T20" fmla="*/ 43 w 43"/>
                <a:gd name="T21" fmla="*/ 21 h 94"/>
                <a:gd name="T22" fmla="*/ 43 w 43"/>
                <a:gd name="T23" fmla="*/ 21 h 94"/>
                <a:gd name="T24" fmla="*/ 43 w 43"/>
                <a:gd name="T25" fmla="*/ 21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94">
                  <a:moveTo>
                    <a:pt x="43" y="21"/>
                  </a:moveTo>
                  <a:lnTo>
                    <a:pt x="43" y="83"/>
                  </a:lnTo>
                  <a:lnTo>
                    <a:pt x="17" y="94"/>
                  </a:lnTo>
                  <a:lnTo>
                    <a:pt x="0" y="94"/>
                  </a:lnTo>
                  <a:lnTo>
                    <a:pt x="7" y="71"/>
                  </a:lnTo>
                  <a:lnTo>
                    <a:pt x="21" y="61"/>
                  </a:lnTo>
                  <a:lnTo>
                    <a:pt x="7" y="54"/>
                  </a:lnTo>
                  <a:lnTo>
                    <a:pt x="17" y="5"/>
                  </a:lnTo>
                  <a:lnTo>
                    <a:pt x="21" y="0"/>
                  </a:lnTo>
                  <a:lnTo>
                    <a:pt x="43" y="17"/>
                  </a:lnTo>
                  <a:lnTo>
                    <a:pt x="43" y="21"/>
                  </a:lnTo>
                  <a:lnTo>
                    <a:pt x="43" y="21"/>
                  </a:lnTo>
                  <a:lnTo>
                    <a:pt x="43" y="21"/>
                  </a:lnTo>
                  <a:close/>
                </a:path>
              </a:pathLst>
            </a:custGeom>
            <a:solidFill>
              <a:schemeClr val="bg2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47" name="Freeform 592">
              <a:extLst>
                <a:ext uri="{FF2B5EF4-FFF2-40B4-BE49-F238E27FC236}">
                  <a16:creationId xmlns:a16="http://schemas.microsoft.com/office/drawing/2014/main" id="{8068195B-BC1F-4089-BDCB-4E53D24B4D33}"/>
                </a:ext>
              </a:extLst>
            </p:cNvPr>
            <p:cNvSpPr>
              <a:spLocks/>
            </p:cNvSpPr>
            <p:nvPr/>
          </p:nvSpPr>
          <p:spPr bwMode="gray">
            <a:xfrm>
              <a:off x="5977297" y="2428822"/>
              <a:ext cx="91011" cy="80430"/>
            </a:xfrm>
            <a:custGeom>
              <a:avLst/>
              <a:gdLst>
                <a:gd name="T0" fmla="*/ 196 w 593"/>
                <a:gd name="T1" fmla="*/ 487 h 524"/>
                <a:gd name="T2" fmla="*/ 12 w 593"/>
                <a:gd name="T3" fmla="*/ 487 h 524"/>
                <a:gd name="T4" fmla="*/ 0 w 593"/>
                <a:gd name="T5" fmla="*/ 524 h 524"/>
                <a:gd name="T6" fmla="*/ 0 w 593"/>
                <a:gd name="T7" fmla="*/ 508 h 524"/>
                <a:gd name="T8" fmla="*/ 12 w 593"/>
                <a:gd name="T9" fmla="*/ 435 h 524"/>
                <a:gd name="T10" fmla="*/ 28 w 593"/>
                <a:gd name="T11" fmla="*/ 413 h 524"/>
                <a:gd name="T12" fmla="*/ 38 w 593"/>
                <a:gd name="T13" fmla="*/ 409 h 524"/>
                <a:gd name="T14" fmla="*/ 71 w 593"/>
                <a:gd name="T15" fmla="*/ 335 h 524"/>
                <a:gd name="T16" fmla="*/ 92 w 593"/>
                <a:gd name="T17" fmla="*/ 295 h 524"/>
                <a:gd name="T18" fmla="*/ 92 w 593"/>
                <a:gd name="T19" fmla="*/ 286 h 524"/>
                <a:gd name="T20" fmla="*/ 71 w 593"/>
                <a:gd name="T21" fmla="*/ 302 h 524"/>
                <a:gd name="T22" fmla="*/ 158 w 593"/>
                <a:gd name="T23" fmla="*/ 229 h 524"/>
                <a:gd name="T24" fmla="*/ 163 w 593"/>
                <a:gd name="T25" fmla="*/ 168 h 524"/>
                <a:gd name="T26" fmla="*/ 179 w 593"/>
                <a:gd name="T27" fmla="*/ 135 h 524"/>
                <a:gd name="T28" fmla="*/ 179 w 593"/>
                <a:gd name="T29" fmla="*/ 113 h 524"/>
                <a:gd name="T30" fmla="*/ 250 w 593"/>
                <a:gd name="T31" fmla="*/ 73 h 524"/>
                <a:gd name="T32" fmla="*/ 272 w 593"/>
                <a:gd name="T33" fmla="*/ 0 h 524"/>
                <a:gd name="T34" fmla="*/ 593 w 593"/>
                <a:gd name="T35" fmla="*/ 0 h 524"/>
                <a:gd name="T36" fmla="*/ 593 w 593"/>
                <a:gd name="T37" fmla="*/ 24 h 524"/>
                <a:gd name="T38" fmla="*/ 593 w 593"/>
                <a:gd name="T39" fmla="*/ 130 h 524"/>
                <a:gd name="T40" fmla="*/ 359 w 593"/>
                <a:gd name="T41" fmla="*/ 130 h 524"/>
                <a:gd name="T42" fmla="*/ 359 w 593"/>
                <a:gd name="T43" fmla="*/ 324 h 524"/>
                <a:gd name="T44" fmla="*/ 321 w 593"/>
                <a:gd name="T45" fmla="*/ 335 h 524"/>
                <a:gd name="T46" fmla="*/ 283 w 593"/>
                <a:gd name="T47" fmla="*/ 364 h 524"/>
                <a:gd name="T48" fmla="*/ 288 w 593"/>
                <a:gd name="T49" fmla="*/ 487 h 524"/>
                <a:gd name="T50" fmla="*/ 196 w 593"/>
                <a:gd name="T51" fmla="*/ 487 h 524"/>
                <a:gd name="T52" fmla="*/ 196 w 593"/>
                <a:gd name="T53" fmla="*/ 487 h 524"/>
                <a:gd name="T54" fmla="*/ 196 w 593"/>
                <a:gd name="T55" fmla="*/ 487 h 5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593" h="524">
                  <a:moveTo>
                    <a:pt x="196" y="487"/>
                  </a:moveTo>
                  <a:lnTo>
                    <a:pt x="12" y="487"/>
                  </a:lnTo>
                  <a:lnTo>
                    <a:pt x="0" y="524"/>
                  </a:lnTo>
                  <a:lnTo>
                    <a:pt x="0" y="508"/>
                  </a:lnTo>
                  <a:lnTo>
                    <a:pt x="12" y="435"/>
                  </a:lnTo>
                  <a:lnTo>
                    <a:pt x="28" y="413"/>
                  </a:lnTo>
                  <a:lnTo>
                    <a:pt x="38" y="409"/>
                  </a:lnTo>
                  <a:lnTo>
                    <a:pt x="71" y="335"/>
                  </a:lnTo>
                  <a:lnTo>
                    <a:pt x="92" y="295"/>
                  </a:lnTo>
                  <a:lnTo>
                    <a:pt x="92" y="286"/>
                  </a:lnTo>
                  <a:lnTo>
                    <a:pt x="71" y="302"/>
                  </a:lnTo>
                  <a:lnTo>
                    <a:pt x="158" y="229"/>
                  </a:lnTo>
                  <a:lnTo>
                    <a:pt x="163" y="168"/>
                  </a:lnTo>
                  <a:lnTo>
                    <a:pt x="179" y="135"/>
                  </a:lnTo>
                  <a:lnTo>
                    <a:pt x="179" y="113"/>
                  </a:lnTo>
                  <a:lnTo>
                    <a:pt x="250" y="73"/>
                  </a:lnTo>
                  <a:lnTo>
                    <a:pt x="272" y="0"/>
                  </a:lnTo>
                  <a:lnTo>
                    <a:pt x="593" y="0"/>
                  </a:lnTo>
                  <a:lnTo>
                    <a:pt x="593" y="24"/>
                  </a:lnTo>
                  <a:lnTo>
                    <a:pt x="593" y="130"/>
                  </a:lnTo>
                  <a:lnTo>
                    <a:pt x="359" y="130"/>
                  </a:lnTo>
                  <a:lnTo>
                    <a:pt x="359" y="324"/>
                  </a:lnTo>
                  <a:lnTo>
                    <a:pt x="321" y="335"/>
                  </a:lnTo>
                  <a:lnTo>
                    <a:pt x="283" y="364"/>
                  </a:lnTo>
                  <a:lnTo>
                    <a:pt x="288" y="487"/>
                  </a:lnTo>
                  <a:lnTo>
                    <a:pt x="196" y="487"/>
                  </a:lnTo>
                  <a:lnTo>
                    <a:pt x="196" y="487"/>
                  </a:lnTo>
                  <a:lnTo>
                    <a:pt x="196" y="487"/>
                  </a:lnTo>
                  <a:close/>
                </a:path>
              </a:pathLst>
            </a:custGeom>
            <a:solidFill>
              <a:schemeClr val="bg2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48" name="Freeform 593">
              <a:extLst>
                <a:ext uri="{FF2B5EF4-FFF2-40B4-BE49-F238E27FC236}">
                  <a16:creationId xmlns:a16="http://schemas.microsoft.com/office/drawing/2014/main" id="{37066AD0-C546-47C5-A463-607ABFC2A59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301352" y="2892215"/>
              <a:ext cx="13659" cy="5833"/>
            </a:xfrm>
            <a:custGeom>
              <a:avLst/>
              <a:gdLst>
                <a:gd name="T0" fmla="*/ 14 w 89"/>
                <a:gd name="T1" fmla="*/ 0 h 38"/>
                <a:gd name="T2" fmla="*/ 35 w 89"/>
                <a:gd name="T3" fmla="*/ 0 h 38"/>
                <a:gd name="T4" fmla="*/ 42 w 89"/>
                <a:gd name="T5" fmla="*/ 16 h 38"/>
                <a:gd name="T6" fmla="*/ 35 w 89"/>
                <a:gd name="T7" fmla="*/ 26 h 38"/>
                <a:gd name="T8" fmla="*/ 14 w 89"/>
                <a:gd name="T9" fmla="*/ 26 h 38"/>
                <a:gd name="T10" fmla="*/ 0 w 89"/>
                <a:gd name="T11" fmla="*/ 0 h 38"/>
                <a:gd name="T12" fmla="*/ 14 w 89"/>
                <a:gd name="T13" fmla="*/ 0 h 38"/>
                <a:gd name="T14" fmla="*/ 14 w 89"/>
                <a:gd name="T15" fmla="*/ 0 h 38"/>
                <a:gd name="T16" fmla="*/ 14 w 89"/>
                <a:gd name="T17" fmla="*/ 0 h 38"/>
                <a:gd name="T18" fmla="*/ 89 w 89"/>
                <a:gd name="T19" fmla="*/ 38 h 38"/>
                <a:gd name="T20" fmla="*/ 56 w 89"/>
                <a:gd name="T21" fmla="*/ 38 h 38"/>
                <a:gd name="T22" fmla="*/ 52 w 89"/>
                <a:gd name="T23" fmla="*/ 33 h 38"/>
                <a:gd name="T24" fmla="*/ 68 w 89"/>
                <a:gd name="T25" fmla="*/ 26 h 38"/>
                <a:gd name="T26" fmla="*/ 89 w 89"/>
                <a:gd name="T27" fmla="*/ 38 h 38"/>
                <a:gd name="T28" fmla="*/ 89 w 89"/>
                <a:gd name="T29" fmla="*/ 38 h 38"/>
                <a:gd name="T30" fmla="*/ 89 w 89"/>
                <a:gd name="T31" fmla="*/ 38 h 38"/>
                <a:gd name="T32" fmla="*/ 89 w 89"/>
                <a:gd name="T33" fmla="*/ 38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9" h="38">
                  <a:moveTo>
                    <a:pt x="14" y="0"/>
                  </a:moveTo>
                  <a:lnTo>
                    <a:pt x="35" y="0"/>
                  </a:lnTo>
                  <a:lnTo>
                    <a:pt x="42" y="16"/>
                  </a:lnTo>
                  <a:lnTo>
                    <a:pt x="35" y="26"/>
                  </a:lnTo>
                  <a:lnTo>
                    <a:pt x="14" y="26"/>
                  </a:lnTo>
                  <a:lnTo>
                    <a:pt x="0" y="0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14" y="0"/>
                  </a:lnTo>
                  <a:close/>
                  <a:moveTo>
                    <a:pt x="89" y="38"/>
                  </a:moveTo>
                  <a:lnTo>
                    <a:pt x="56" y="38"/>
                  </a:lnTo>
                  <a:lnTo>
                    <a:pt x="52" y="33"/>
                  </a:lnTo>
                  <a:lnTo>
                    <a:pt x="68" y="26"/>
                  </a:lnTo>
                  <a:lnTo>
                    <a:pt x="89" y="38"/>
                  </a:lnTo>
                  <a:lnTo>
                    <a:pt x="89" y="38"/>
                  </a:lnTo>
                  <a:lnTo>
                    <a:pt x="89" y="38"/>
                  </a:lnTo>
                  <a:lnTo>
                    <a:pt x="89" y="38"/>
                  </a:lnTo>
                  <a:close/>
                </a:path>
              </a:pathLst>
            </a:custGeom>
            <a:solidFill>
              <a:schemeClr val="bg2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49" name="Freeform 594">
              <a:extLst>
                <a:ext uri="{FF2B5EF4-FFF2-40B4-BE49-F238E27FC236}">
                  <a16:creationId xmlns:a16="http://schemas.microsoft.com/office/drawing/2014/main" id="{A3F176EB-DFBE-4903-8EFF-57FD758A42BA}"/>
                </a:ext>
              </a:extLst>
            </p:cNvPr>
            <p:cNvSpPr>
              <a:spLocks/>
            </p:cNvSpPr>
            <p:nvPr/>
          </p:nvSpPr>
          <p:spPr bwMode="gray">
            <a:xfrm>
              <a:off x="6493127" y="3033581"/>
              <a:ext cx="13813" cy="18573"/>
            </a:xfrm>
            <a:custGeom>
              <a:avLst/>
              <a:gdLst>
                <a:gd name="T0" fmla="*/ 5 w 90"/>
                <a:gd name="T1" fmla="*/ 76 h 121"/>
                <a:gd name="T2" fmla="*/ 0 w 90"/>
                <a:gd name="T3" fmla="*/ 76 h 121"/>
                <a:gd name="T4" fmla="*/ 0 w 90"/>
                <a:gd name="T5" fmla="*/ 50 h 121"/>
                <a:gd name="T6" fmla="*/ 21 w 90"/>
                <a:gd name="T7" fmla="*/ 17 h 121"/>
                <a:gd name="T8" fmla="*/ 36 w 90"/>
                <a:gd name="T9" fmla="*/ 0 h 121"/>
                <a:gd name="T10" fmla="*/ 43 w 90"/>
                <a:gd name="T11" fmla="*/ 0 h 121"/>
                <a:gd name="T12" fmla="*/ 73 w 90"/>
                <a:gd name="T13" fmla="*/ 17 h 121"/>
                <a:gd name="T14" fmla="*/ 85 w 90"/>
                <a:gd name="T15" fmla="*/ 17 h 121"/>
                <a:gd name="T16" fmla="*/ 90 w 90"/>
                <a:gd name="T17" fmla="*/ 33 h 121"/>
                <a:gd name="T18" fmla="*/ 90 w 90"/>
                <a:gd name="T19" fmla="*/ 87 h 121"/>
                <a:gd name="T20" fmla="*/ 85 w 90"/>
                <a:gd name="T21" fmla="*/ 76 h 121"/>
                <a:gd name="T22" fmla="*/ 85 w 90"/>
                <a:gd name="T23" fmla="*/ 121 h 121"/>
                <a:gd name="T24" fmla="*/ 52 w 90"/>
                <a:gd name="T25" fmla="*/ 121 h 121"/>
                <a:gd name="T26" fmla="*/ 21 w 90"/>
                <a:gd name="T27" fmla="*/ 109 h 121"/>
                <a:gd name="T28" fmla="*/ 5 w 90"/>
                <a:gd name="T29" fmla="*/ 76 h 121"/>
                <a:gd name="T30" fmla="*/ 5 w 90"/>
                <a:gd name="T31" fmla="*/ 76 h 121"/>
                <a:gd name="T32" fmla="*/ 5 w 90"/>
                <a:gd name="T33" fmla="*/ 76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0" h="121">
                  <a:moveTo>
                    <a:pt x="5" y="76"/>
                  </a:moveTo>
                  <a:lnTo>
                    <a:pt x="0" y="76"/>
                  </a:lnTo>
                  <a:lnTo>
                    <a:pt x="0" y="50"/>
                  </a:lnTo>
                  <a:lnTo>
                    <a:pt x="21" y="17"/>
                  </a:lnTo>
                  <a:lnTo>
                    <a:pt x="36" y="0"/>
                  </a:lnTo>
                  <a:lnTo>
                    <a:pt x="43" y="0"/>
                  </a:lnTo>
                  <a:lnTo>
                    <a:pt x="73" y="17"/>
                  </a:lnTo>
                  <a:lnTo>
                    <a:pt x="85" y="17"/>
                  </a:lnTo>
                  <a:lnTo>
                    <a:pt x="90" y="33"/>
                  </a:lnTo>
                  <a:lnTo>
                    <a:pt x="90" y="87"/>
                  </a:lnTo>
                  <a:lnTo>
                    <a:pt x="85" y="76"/>
                  </a:lnTo>
                  <a:lnTo>
                    <a:pt x="85" y="121"/>
                  </a:lnTo>
                  <a:lnTo>
                    <a:pt x="52" y="121"/>
                  </a:lnTo>
                  <a:lnTo>
                    <a:pt x="21" y="109"/>
                  </a:lnTo>
                  <a:lnTo>
                    <a:pt x="5" y="76"/>
                  </a:lnTo>
                  <a:lnTo>
                    <a:pt x="5" y="76"/>
                  </a:lnTo>
                  <a:lnTo>
                    <a:pt x="5" y="76"/>
                  </a:lnTo>
                  <a:close/>
                </a:path>
              </a:pathLst>
            </a:custGeom>
            <a:solidFill>
              <a:schemeClr val="bg2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50" name="Freeform 595">
              <a:extLst>
                <a:ext uri="{FF2B5EF4-FFF2-40B4-BE49-F238E27FC236}">
                  <a16:creationId xmlns:a16="http://schemas.microsoft.com/office/drawing/2014/main" id="{E0681527-2E6B-4E03-8860-07BF591C328E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620818" y="2529667"/>
              <a:ext cx="126463" cy="78588"/>
            </a:xfrm>
            <a:custGeom>
              <a:avLst/>
              <a:gdLst>
                <a:gd name="T0" fmla="*/ 21 w 824"/>
                <a:gd name="T1" fmla="*/ 184 h 512"/>
                <a:gd name="T2" fmla="*/ 38 w 824"/>
                <a:gd name="T3" fmla="*/ 179 h 512"/>
                <a:gd name="T4" fmla="*/ 38 w 824"/>
                <a:gd name="T5" fmla="*/ 123 h 512"/>
                <a:gd name="T6" fmla="*/ 63 w 824"/>
                <a:gd name="T7" fmla="*/ 111 h 512"/>
                <a:gd name="T8" fmla="*/ 123 w 824"/>
                <a:gd name="T9" fmla="*/ 123 h 512"/>
                <a:gd name="T10" fmla="*/ 252 w 824"/>
                <a:gd name="T11" fmla="*/ 250 h 512"/>
                <a:gd name="T12" fmla="*/ 656 w 824"/>
                <a:gd name="T13" fmla="*/ 0 h 512"/>
                <a:gd name="T14" fmla="*/ 694 w 824"/>
                <a:gd name="T15" fmla="*/ 196 h 512"/>
                <a:gd name="T16" fmla="*/ 661 w 824"/>
                <a:gd name="T17" fmla="*/ 222 h 512"/>
                <a:gd name="T18" fmla="*/ 602 w 824"/>
                <a:gd name="T19" fmla="*/ 278 h 512"/>
                <a:gd name="T20" fmla="*/ 522 w 824"/>
                <a:gd name="T21" fmla="*/ 311 h 512"/>
                <a:gd name="T22" fmla="*/ 446 w 824"/>
                <a:gd name="T23" fmla="*/ 333 h 512"/>
                <a:gd name="T24" fmla="*/ 425 w 824"/>
                <a:gd name="T25" fmla="*/ 366 h 512"/>
                <a:gd name="T26" fmla="*/ 371 w 824"/>
                <a:gd name="T27" fmla="*/ 366 h 512"/>
                <a:gd name="T28" fmla="*/ 281 w 824"/>
                <a:gd name="T29" fmla="*/ 418 h 512"/>
                <a:gd name="T30" fmla="*/ 193 w 824"/>
                <a:gd name="T31" fmla="*/ 439 h 512"/>
                <a:gd name="T32" fmla="*/ 172 w 824"/>
                <a:gd name="T33" fmla="*/ 460 h 512"/>
                <a:gd name="T34" fmla="*/ 160 w 824"/>
                <a:gd name="T35" fmla="*/ 456 h 512"/>
                <a:gd name="T36" fmla="*/ 156 w 824"/>
                <a:gd name="T37" fmla="*/ 460 h 512"/>
                <a:gd name="T38" fmla="*/ 118 w 824"/>
                <a:gd name="T39" fmla="*/ 472 h 512"/>
                <a:gd name="T40" fmla="*/ 63 w 824"/>
                <a:gd name="T41" fmla="*/ 460 h 512"/>
                <a:gd name="T42" fmla="*/ 54 w 824"/>
                <a:gd name="T43" fmla="*/ 456 h 512"/>
                <a:gd name="T44" fmla="*/ 38 w 824"/>
                <a:gd name="T45" fmla="*/ 389 h 512"/>
                <a:gd name="T46" fmla="*/ 16 w 824"/>
                <a:gd name="T47" fmla="*/ 307 h 512"/>
                <a:gd name="T48" fmla="*/ 0 w 824"/>
                <a:gd name="T49" fmla="*/ 278 h 512"/>
                <a:gd name="T50" fmla="*/ 12 w 824"/>
                <a:gd name="T51" fmla="*/ 278 h 512"/>
                <a:gd name="T52" fmla="*/ 12 w 824"/>
                <a:gd name="T53" fmla="*/ 234 h 512"/>
                <a:gd name="T54" fmla="*/ 12 w 824"/>
                <a:gd name="T55" fmla="*/ 196 h 512"/>
                <a:gd name="T56" fmla="*/ 12 w 824"/>
                <a:gd name="T57" fmla="*/ 378 h 512"/>
                <a:gd name="T58" fmla="*/ 12 w 824"/>
                <a:gd name="T59" fmla="*/ 366 h 512"/>
                <a:gd name="T60" fmla="*/ 12 w 824"/>
                <a:gd name="T61" fmla="*/ 378 h 512"/>
                <a:gd name="T62" fmla="*/ 808 w 824"/>
                <a:gd name="T63" fmla="*/ 472 h 512"/>
                <a:gd name="T64" fmla="*/ 803 w 824"/>
                <a:gd name="T65" fmla="*/ 493 h 512"/>
                <a:gd name="T66" fmla="*/ 749 w 824"/>
                <a:gd name="T67" fmla="*/ 477 h 512"/>
                <a:gd name="T68" fmla="*/ 775 w 824"/>
                <a:gd name="T69" fmla="*/ 472 h 512"/>
                <a:gd name="T70" fmla="*/ 808 w 824"/>
                <a:gd name="T71" fmla="*/ 472 h 512"/>
                <a:gd name="T72" fmla="*/ 808 w 824"/>
                <a:gd name="T73" fmla="*/ 472 h 512"/>
                <a:gd name="T74" fmla="*/ 656 w 824"/>
                <a:gd name="T75" fmla="*/ 500 h 512"/>
                <a:gd name="T76" fmla="*/ 678 w 824"/>
                <a:gd name="T77" fmla="*/ 512 h 512"/>
                <a:gd name="T78" fmla="*/ 678 w 824"/>
                <a:gd name="T79" fmla="*/ 512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824" h="512">
                  <a:moveTo>
                    <a:pt x="12" y="196"/>
                  </a:moveTo>
                  <a:lnTo>
                    <a:pt x="21" y="184"/>
                  </a:lnTo>
                  <a:lnTo>
                    <a:pt x="33" y="179"/>
                  </a:lnTo>
                  <a:lnTo>
                    <a:pt x="38" y="179"/>
                  </a:lnTo>
                  <a:lnTo>
                    <a:pt x="33" y="156"/>
                  </a:lnTo>
                  <a:lnTo>
                    <a:pt x="38" y="123"/>
                  </a:lnTo>
                  <a:lnTo>
                    <a:pt x="49" y="111"/>
                  </a:lnTo>
                  <a:lnTo>
                    <a:pt x="63" y="111"/>
                  </a:lnTo>
                  <a:lnTo>
                    <a:pt x="87" y="127"/>
                  </a:lnTo>
                  <a:lnTo>
                    <a:pt x="123" y="123"/>
                  </a:lnTo>
                  <a:lnTo>
                    <a:pt x="252" y="179"/>
                  </a:lnTo>
                  <a:lnTo>
                    <a:pt x="252" y="250"/>
                  </a:lnTo>
                  <a:lnTo>
                    <a:pt x="425" y="56"/>
                  </a:lnTo>
                  <a:lnTo>
                    <a:pt x="656" y="0"/>
                  </a:lnTo>
                  <a:lnTo>
                    <a:pt x="732" y="179"/>
                  </a:lnTo>
                  <a:lnTo>
                    <a:pt x="694" y="196"/>
                  </a:lnTo>
                  <a:lnTo>
                    <a:pt x="668" y="200"/>
                  </a:lnTo>
                  <a:lnTo>
                    <a:pt x="661" y="222"/>
                  </a:lnTo>
                  <a:lnTo>
                    <a:pt x="661" y="255"/>
                  </a:lnTo>
                  <a:lnTo>
                    <a:pt x="602" y="278"/>
                  </a:lnTo>
                  <a:lnTo>
                    <a:pt x="550" y="295"/>
                  </a:lnTo>
                  <a:lnTo>
                    <a:pt x="522" y="311"/>
                  </a:lnTo>
                  <a:lnTo>
                    <a:pt x="505" y="311"/>
                  </a:lnTo>
                  <a:lnTo>
                    <a:pt x="446" y="333"/>
                  </a:lnTo>
                  <a:lnTo>
                    <a:pt x="441" y="349"/>
                  </a:lnTo>
                  <a:lnTo>
                    <a:pt x="425" y="366"/>
                  </a:lnTo>
                  <a:lnTo>
                    <a:pt x="392" y="378"/>
                  </a:lnTo>
                  <a:lnTo>
                    <a:pt x="371" y="366"/>
                  </a:lnTo>
                  <a:lnTo>
                    <a:pt x="333" y="401"/>
                  </a:lnTo>
                  <a:lnTo>
                    <a:pt x="281" y="418"/>
                  </a:lnTo>
                  <a:lnTo>
                    <a:pt x="210" y="423"/>
                  </a:lnTo>
                  <a:lnTo>
                    <a:pt x="193" y="439"/>
                  </a:lnTo>
                  <a:lnTo>
                    <a:pt x="172" y="444"/>
                  </a:lnTo>
                  <a:lnTo>
                    <a:pt x="172" y="460"/>
                  </a:lnTo>
                  <a:lnTo>
                    <a:pt x="160" y="460"/>
                  </a:lnTo>
                  <a:lnTo>
                    <a:pt x="160" y="456"/>
                  </a:lnTo>
                  <a:lnTo>
                    <a:pt x="156" y="460"/>
                  </a:lnTo>
                  <a:lnTo>
                    <a:pt x="156" y="460"/>
                  </a:lnTo>
                  <a:lnTo>
                    <a:pt x="130" y="456"/>
                  </a:lnTo>
                  <a:lnTo>
                    <a:pt x="118" y="472"/>
                  </a:lnTo>
                  <a:lnTo>
                    <a:pt x="92" y="477"/>
                  </a:lnTo>
                  <a:lnTo>
                    <a:pt x="63" y="460"/>
                  </a:lnTo>
                  <a:lnTo>
                    <a:pt x="54" y="472"/>
                  </a:lnTo>
                  <a:lnTo>
                    <a:pt x="54" y="456"/>
                  </a:lnTo>
                  <a:lnTo>
                    <a:pt x="38" y="434"/>
                  </a:lnTo>
                  <a:lnTo>
                    <a:pt x="38" y="389"/>
                  </a:lnTo>
                  <a:lnTo>
                    <a:pt x="33" y="378"/>
                  </a:lnTo>
                  <a:lnTo>
                    <a:pt x="16" y="307"/>
                  </a:lnTo>
                  <a:lnTo>
                    <a:pt x="16" y="290"/>
                  </a:lnTo>
                  <a:lnTo>
                    <a:pt x="0" y="278"/>
                  </a:lnTo>
                  <a:lnTo>
                    <a:pt x="0" y="271"/>
                  </a:lnTo>
                  <a:lnTo>
                    <a:pt x="12" y="278"/>
                  </a:lnTo>
                  <a:lnTo>
                    <a:pt x="0" y="250"/>
                  </a:lnTo>
                  <a:lnTo>
                    <a:pt x="12" y="234"/>
                  </a:lnTo>
                  <a:lnTo>
                    <a:pt x="12" y="196"/>
                  </a:lnTo>
                  <a:lnTo>
                    <a:pt x="12" y="196"/>
                  </a:lnTo>
                  <a:lnTo>
                    <a:pt x="12" y="196"/>
                  </a:lnTo>
                  <a:close/>
                  <a:moveTo>
                    <a:pt x="12" y="378"/>
                  </a:moveTo>
                  <a:lnTo>
                    <a:pt x="0" y="366"/>
                  </a:lnTo>
                  <a:lnTo>
                    <a:pt x="12" y="366"/>
                  </a:lnTo>
                  <a:lnTo>
                    <a:pt x="12" y="378"/>
                  </a:lnTo>
                  <a:lnTo>
                    <a:pt x="12" y="378"/>
                  </a:lnTo>
                  <a:lnTo>
                    <a:pt x="12" y="378"/>
                  </a:lnTo>
                  <a:close/>
                  <a:moveTo>
                    <a:pt x="808" y="472"/>
                  </a:moveTo>
                  <a:lnTo>
                    <a:pt x="824" y="477"/>
                  </a:lnTo>
                  <a:lnTo>
                    <a:pt x="803" y="493"/>
                  </a:lnTo>
                  <a:lnTo>
                    <a:pt x="770" y="493"/>
                  </a:lnTo>
                  <a:lnTo>
                    <a:pt x="749" y="477"/>
                  </a:lnTo>
                  <a:lnTo>
                    <a:pt x="753" y="460"/>
                  </a:lnTo>
                  <a:lnTo>
                    <a:pt x="775" y="472"/>
                  </a:lnTo>
                  <a:lnTo>
                    <a:pt x="803" y="472"/>
                  </a:lnTo>
                  <a:lnTo>
                    <a:pt x="808" y="472"/>
                  </a:lnTo>
                  <a:lnTo>
                    <a:pt x="808" y="472"/>
                  </a:lnTo>
                  <a:lnTo>
                    <a:pt x="808" y="472"/>
                  </a:lnTo>
                  <a:close/>
                  <a:moveTo>
                    <a:pt x="678" y="512"/>
                  </a:moveTo>
                  <a:lnTo>
                    <a:pt x="656" y="500"/>
                  </a:lnTo>
                  <a:lnTo>
                    <a:pt x="678" y="500"/>
                  </a:lnTo>
                  <a:lnTo>
                    <a:pt x="678" y="512"/>
                  </a:lnTo>
                  <a:lnTo>
                    <a:pt x="678" y="512"/>
                  </a:lnTo>
                  <a:lnTo>
                    <a:pt x="678" y="512"/>
                  </a:lnTo>
                  <a:close/>
                </a:path>
              </a:pathLst>
            </a:custGeom>
            <a:solidFill>
              <a:schemeClr val="bg2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51" name="Freeform 596">
              <a:extLst>
                <a:ext uri="{FF2B5EF4-FFF2-40B4-BE49-F238E27FC236}">
                  <a16:creationId xmlns:a16="http://schemas.microsoft.com/office/drawing/2014/main" id="{7939C8B6-5924-4B98-918B-3436FC9B7AA6}"/>
                </a:ext>
              </a:extLst>
            </p:cNvPr>
            <p:cNvSpPr>
              <a:spLocks/>
            </p:cNvSpPr>
            <p:nvPr/>
          </p:nvSpPr>
          <p:spPr bwMode="gray">
            <a:xfrm>
              <a:off x="6398893" y="2832660"/>
              <a:ext cx="125082" cy="112049"/>
            </a:xfrm>
            <a:custGeom>
              <a:avLst/>
              <a:gdLst>
                <a:gd name="T0" fmla="*/ 593 w 815"/>
                <a:gd name="T1" fmla="*/ 548 h 730"/>
                <a:gd name="T2" fmla="*/ 487 w 815"/>
                <a:gd name="T3" fmla="*/ 570 h 730"/>
                <a:gd name="T4" fmla="*/ 404 w 815"/>
                <a:gd name="T5" fmla="*/ 641 h 730"/>
                <a:gd name="T6" fmla="*/ 350 w 815"/>
                <a:gd name="T7" fmla="*/ 719 h 730"/>
                <a:gd name="T8" fmla="*/ 291 w 815"/>
                <a:gd name="T9" fmla="*/ 714 h 730"/>
                <a:gd name="T10" fmla="*/ 260 w 815"/>
                <a:gd name="T11" fmla="*/ 702 h 730"/>
                <a:gd name="T12" fmla="*/ 227 w 815"/>
                <a:gd name="T13" fmla="*/ 702 h 730"/>
                <a:gd name="T14" fmla="*/ 184 w 815"/>
                <a:gd name="T15" fmla="*/ 681 h 730"/>
                <a:gd name="T16" fmla="*/ 97 w 815"/>
                <a:gd name="T17" fmla="*/ 697 h 730"/>
                <a:gd name="T18" fmla="*/ 5 w 815"/>
                <a:gd name="T19" fmla="*/ 608 h 730"/>
                <a:gd name="T20" fmla="*/ 0 w 815"/>
                <a:gd name="T21" fmla="*/ 348 h 730"/>
                <a:gd name="T22" fmla="*/ 130 w 815"/>
                <a:gd name="T23" fmla="*/ 331 h 730"/>
                <a:gd name="T24" fmla="*/ 135 w 815"/>
                <a:gd name="T25" fmla="*/ 293 h 730"/>
                <a:gd name="T26" fmla="*/ 147 w 815"/>
                <a:gd name="T27" fmla="*/ 239 h 730"/>
                <a:gd name="T28" fmla="*/ 168 w 815"/>
                <a:gd name="T29" fmla="*/ 215 h 730"/>
                <a:gd name="T30" fmla="*/ 168 w 815"/>
                <a:gd name="T31" fmla="*/ 239 h 730"/>
                <a:gd name="T32" fmla="*/ 227 w 815"/>
                <a:gd name="T33" fmla="*/ 222 h 730"/>
                <a:gd name="T34" fmla="*/ 236 w 815"/>
                <a:gd name="T35" fmla="*/ 256 h 730"/>
                <a:gd name="T36" fmla="*/ 335 w 815"/>
                <a:gd name="T37" fmla="*/ 277 h 730"/>
                <a:gd name="T38" fmla="*/ 350 w 815"/>
                <a:gd name="T39" fmla="*/ 256 h 730"/>
                <a:gd name="T40" fmla="*/ 366 w 815"/>
                <a:gd name="T41" fmla="*/ 260 h 730"/>
                <a:gd name="T42" fmla="*/ 387 w 815"/>
                <a:gd name="T43" fmla="*/ 305 h 730"/>
                <a:gd name="T44" fmla="*/ 454 w 815"/>
                <a:gd name="T45" fmla="*/ 315 h 730"/>
                <a:gd name="T46" fmla="*/ 470 w 815"/>
                <a:gd name="T47" fmla="*/ 348 h 730"/>
                <a:gd name="T48" fmla="*/ 496 w 815"/>
                <a:gd name="T49" fmla="*/ 381 h 730"/>
                <a:gd name="T50" fmla="*/ 539 w 815"/>
                <a:gd name="T51" fmla="*/ 371 h 730"/>
                <a:gd name="T52" fmla="*/ 546 w 815"/>
                <a:gd name="T53" fmla="*/ 388 h 730"/>
                <a:gd name="T54" fmla="*/ 524 w 815"/>
                <a:gd name="T55" fmla="*/ 293 h 730"/>
                <a:gd name="T56" fmla="*/ 508 w 815"/>
                <a:gd name="T57" fmla="*/ 310 h 730"/>
                <a:gd name="T58" fmla="*/ 475 w 815"/>
                <a:gd name="T59" fmla="*/ 289 h 730"/>
                <a:gd name="T60" fmla="*/ 442 w 815"/>
                <a:gd name="T61" fmla="*/ 248 h 730"/>
                <a:gd name="T62" fmla="*/ 470 w 815"/>
                <a:gd name="T63" fmla="*/ 182 h 730"/>
                <a:gd name="T64" fmla="*/ 470 w 815"/>
                <a:gd name="T65" fmla="*/ 121 h 730"/>
                <a:gd name="T66" fmla="*/ 442 w 815"/>
                <a:gd name="T67" fmla="*/ 83 h 730"/>
                <a:gd name="T68" fmla="*/ 487 w 815"/>
                <a:gd name="T69" fmla="*/ 38 h 730"/>
                <a:gd name="T70" fmla="*/ 614 w 815"/>
                <a:gd name="T71" fmla="*/ 0 h 730"/>
                <a:gd name="T72" fmla="*/ 659 w 815"/>
                <a:gd name="T73" fmla="*/ 34 h 730"/>
                <a:gd name="T74" fmla="*/ 702 w 815"/>
                <a:gd name="T75" fmla="*/ 55 h 730"/>
                <a:gd name="T76" fmla="*/ 728 w 815"/>
                <a:gd name="T77" fmla="*/ 71 h 730"/>
                <a:gd name="T78" fmla="*/ 761 w 815"/>
                <a:gd name="T79" fmla="*/ 88 h 730"/>
                <a:gd name="T80" fmla="*/ 782 w 815"/>
                <a:gd name="T81" fmla="*/ 104 h 730"/>
                <a:gd name="T82" fmla="*/ 794 w 815"/>
                <a:gd name="T83" fmla="*/ 140 h 730"/>
                <a:gd name="T84" fmla="*/ 810 w 815"/>
                <a:gd name="T85" fmla="*/ 161 h 730"/>
                <a:gd name="T86" fmla="*/ 810 w 815"/>
                <a:gd name="T87" fmla="*/ 194 h 730"/>
                <a:gd name="T88" fmla="*/ 798 w 815"/>
                <a:gd name="T89" fmla="*/ 215 h 730"/>
                <a:gd name="T90" fmla="*/ 794 w 815"/>
                <a:gd name="T91" fmla="*/ 260 h 730"/>
                <a:gd name="T92" fmla="*/ 794 w 815"/>
                <a:gd name="T93" fmla="*/ 305 h 730"/>
                <a:gd name="T94" fmla="*/ 794 w 815"/>
                <a:gd name="T95" fmla="*/ 315 h 730"/>
                <a:gd name="T96" fmla="*/ 765 w 815"/>
                <a:gd name="T97" fmla="*/ 331 h 730"/>
                <a:gd name="T98" fmla="*/ 761 w 815"/>
                <a:gd name="T99" fmla="*/ 381 h 730"/>
                <a:gd name="T100" fmla="*/ 765 w 815"/>
                <a:gd name="T101" fmla="*/ 421 h 730"/>
                <a:gd name="T102" fmla="*/ 777 w 815"/>
                <a:gd name="T103" fmla="*/ 421 h 730"/>
                <a:gd name="T104" fmla="*/ 576 w 815"/>
                <a:gd name="T105" fmla="*/ 499 h 730"/>
                <a:gd name="T106" fmla="*/ 576 w 815"/>
                <a:gd name="T107" fmla="*/ 499 h 7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815" h="730">
                  <a:moveTo>
                    <a:pt x="576" y="499"/>
                  </a:moveTo>
                  <a:lnTo>
                    <a:pt x="593" y="548"/>
                  </a:lnTo>
                  <a:lnTo>
                    <a:pt x="529" y="548"/>
                  </a:lnTo>
                  <a:lnTo>
                    <a:pt x="487" y="570"/>
                  </a:lnTo>
                  <a:lnTo>
                    <a:pt x="470" y="608"/>
                  </a:lnTo>
                  <a:lnTo>
                    <a:pt x="404" y="641"/>
                  </a:lnTo>
                  <a:lnTo>
                    <a:pt x="387" y="674"/>
                  </a:lnTo>
                  <a:lnTo>
                    <a:pt x="350" y="719"/>
                  </a:lnTo>
                  <a:lnTo>
                    <a:pt x="328" y="730"/>
                  </a:lnTo>
                  <a:lnTo>
                    <a:pt x="291" y="714"/>
                  </a:lnTo>
                  <a:lnTo>
                    <a:pt x="274" y="719"/>
                  </a:lnTo>
                  <a:lnTo>
                    <a:pt x="260" y="702"/>
                  </a:lnTo>
                  <a:lnTo>
                    <a:pt x="243" y="714"/>
                  </a:lnTo>
                  <a:lnTo>
                    <a:pt x="227" y="702"/>
                  </a:lnTo>
                  <a:lnTo>
                    <a:pt x="206" y="690"/>
                  </a:lnTo>
                  <a:lnTo>
                    <a:pt x="184" y="681"/>
                  </a:lnTo>
                  <a:lnTo>
                    <a:pt x="151" y="681"/>
                  </a:lnTo>
                  <a:lnTo>
                    <a:pt x="97" y="697"/>
                  </a:lnTo>
                  <a:lnTo>
                    <a:pt x="80" y="681"/>
                  </a:lnTo>
                  <a:lnTo>
                    <a:pt x="5" y="608"/>
                  </a:lnTo>
                  <a:lnTo>
                    <a:pt x="0" y="586"/>
                  </a:lnTo>
                  <a:lnTo>
                    <a:pt x="0" y="348"/>
                  </a:lnTo>
                  <a:lnTo>
                    <a:pt x="135" y="359"/>
                  </a:lnTo>
                  <a:lnTo>
                    <a:pt x="130" y="331"/>
                  </a:lnTo>
                  <a:lnTo>
                    <a:pt x="147" y="310"/>
                  </a:lnTo>
                  <a:lnTo>
                    <a:pt x="135" y="293"/>
                  </a:lnTo>
                  <a:lnTo>
                    <a:pt x="135" y="256"/>
                  </a:lnTo>
                  <a:lnTo>
                    <a:pt x="147" y="239"/>
                  </a:lnTo>
                  <a:lnTo>
                    <a:pt x="135" y="199"/>
                  </a:lnTo>
                  <a:lnTo>
                    <a:pt x="168" y="215"/>
                  </a:lnTo>
                  <a:lnTo>
                    <a:pt x="161" y="232"/>
                  </a:lnTo>
                  <a:lnTo>
                    <a:pt x="168" y="239"/>
                  </a:lnTo>
                  <a:lnTo>
                    <a:pt x="189" y="232"/>
                  </a:lnTo>
                  <a:lnTo>
                    <a:pt x="227" y="222"/>
                  </a:lnTo>
                  <a:lnTo>
                    <a:pt x="227" y="232"/>
                  </a:lnTo>
                  <a:lnTo>
                    <a:pt x="236" y="256"/>
                  </a:lnTo>
                  <a:lnTo>
                    <a:pt x="274" y="272"/>
                  </a:lnTo>
                  <a:lnTo>
                    <a:pt x="335" y="277"/>
                  </a:lnTo>
                  <a:lnTo>
                    <a:pt x="345" y="272"/>
                  </a:lnTo>
                  <a:lnTo>
                    <a:pt x="350" y="256"/>
                  </a:lnTo>
                  <a:lnTo>
                    <a:pt x="361" y="248"/>
                  </a:lnTo>
                  <a:lnTo>
                    <a:pt x="366" y="260"/>
                  </a:lnTo>
                  <a:lnTo>
                    <a:pt x="383" y="277"/>
                  </a:lnTo>
                  <a:lnTo>
                    <a:pt x="387" y="305"/>
                  </a:lnTo>
                  <a:lnTo>
                    <a:pt x="404" y="305"/>
                  </a:lnTo>
                  <a:lnTo>
                    <a:pt x="454" y="315"/>
                  </a:lnTo>
                  <a:lnTo>
                    <a:pt x="458" y="343"/>
                  </a:lnTo>
                  <a:lnTo>
                    <a:pt x="470" y="348"/>
                  </a:lnTo>
                  <a:lnTo>
                    <a:pt x="491" y="381"/>
                  </a:lnTo>
                  <a:lnTo>
                    <a:pt x="496" y="381"/>
                  </a:lnTo>
                  <a:lnTo>
                    <a:pt x="529" y="371"/>
                  </a:lnTo>
                  <a:lnTo>
                    <a:pt x="539" y="371"/>
                  </a:lnTo>
                  <a:lnTo>
                    <a:pt x="529" y="381"/>
                  </a:lnTo>
                  <a:lnTo>
                    <a:pt x="546" y="388"/>
                  </a:lnTo>
                  <a:lnTo>
                    <a:pt x="546" y="293"/>
                  </a:lnTo>
                  <a:lnTo>
                    <a:pt x="524" y="293"/>
                  </a:lnTo>
                  <a:lnTo>
                    <a:pt x="524" y="310"/>
                  </a:lnTo>
                  <a:lnTo>
                    <a:pt x="508" y="310"/>
                  </a:lnTo>
                  <a:lnTo>
                    <a:pt x="491" y="310"/>
                  </a:lnTo>
                  <a:lnTo>
                    <a:pt x="475" y="289"/>
                  </a:lnTo>
                  <a:lnTo>
                    <a:pt x="454" y="272"/>
                  </a:lnTo>
                  <a:lnTo>
                    <a:pt x="442" y="248"/>
                  </a:lnTo>
                  <a:lnTo>
                    <a:pt x="458" y="199"/>
                  </a:lnTo>
                  <a:lnTo>
                    <a:pt x="470" y="182"/>
                  </a:lnTo>
                  <a:lnTo>
                    <a:pt x="458" y="149"/>
                  </a:lnTo>
                  <a:lnTo>
                    <a:pt x="470" y="121"/>
                  </a:lnTo>
                  <a:lnTo>
                    <a:pt x="454" y="88"/>
                  </a:lnTo>
                  <a:lnTo>
                    <a:pt x="442" y="83"/>
                  </a:lnTo>
                  <a:lnTo>
                    <a:pt x="475" y="50"/>
                  </a:lnTo>
                  <a:lnTo>
                    <a:pt x="487" y="38"/>
                  </a:lnTo>
                  <a:lnTo>
                    <a:pt x="487" y="29"/>
                  </a:lnTo>
                  <a:lnTo>
                    <a:pt x="614" y="0"/>
                  </a:lnTo>
                  <a:lnTo>
                    <a:pt x="631" y="34"/>
                  </a:lnTo>
                  <a:lnTo>
                    <a:pt x="659" y="34"/>
                  </a:lnTo>
                  <a:lnTo>
                    <a:pt x="676" y="55"/>
                  </a:lnTo>
                  <a:lnTo>
                    <a:pt x="702" y="55"/>
                  </a:lnTo>
                  <a:lnTo>
                    <a:pt x="702" y="67"/>
                  </a:lnTo>
                  <a:lnTo>
                    <a:pt x="728" y="71"/>
                  </a:lnTo>
                  <a:lnTo>
                    <a:pt x="739" y="83"/>
                  </a:lnTo>
                  <a:lnTo>
                    <a:pt x="761" y="88"/>
                  </a:lnTo>
                  <a:lnTo>
                    <a:pt x="765" y="104"/>
                  </a:lnTo>
                  <a:lnTo>
                    <a:pt x="782" y="104"/>
                  </a:lnTo>
                  <a:lnTo>
                    <a:pt x="794" y="128"/>
                  </a:lnTo>
                  <a:lnTo>
                    <a:pt x="794" y="140"/>
                  </a:lnTo>
                  <a:lnTo>
                    <a:pt x="810" y="149"/>
                  </a:lnTo>
                  <a:lnTo>
                    <a:pt x="810" y="161"/>
                  </a:lnTo>
                  <a:lnTo>
                    <a:pt x="815" y="178"/>
                  </a:lnTo>
                  <a:lnTo>
                    <a:pt x="810" y="194"/>
                  </a:lnTo>
                  <a:lnTo>
                    <a:pt x="782" y="199"/>
                  </a:lnTo>
                  <a:lnTo>
                    <a:pt x="798" y="215"/>
                  </a:lnTo>
                  <a:lnTo>
                    <a:pt x="782" y="239"/>
                  </a:lnTo>
                  <a:lnTo>
                    <a:pt x="794" y="260"/>
                  </a:lnTo>
                  <a:lnTo>
                    <a:pt x="782" y="293"/>
                  </a:lnTo>
                  <a:lnTo>
                    <a:pt x="794" y="305"/>
                  </a:lnTo>
                  <a:lnTo>
                    <a:pt x="810" y="310"/>
                  </a:lnTo>
                  <a:lnTo>
                    <a:pt x="794" y="315"/>
                  </a:lnTo>
                  <a:lnTo>
                    <a:pt x="765" y="326"/>
                  </a:lnTo>
                  <a:lnTo>
                    <a:pt x="765" y="331"/>
                  </a:lnTo>
                  <a:lnTo>
                    <a:pt x="765" y="348"/>
                  </a:lnTo>
                  <a:lnTo>
                    <a:pt x="761" y="381"/>
                  </a:lnTo>
                  <a:lnTo>
                    <a:pt x="744" y="397"/>
                  </a:lnTo>
                  <a:lnTo>
                    <a:pt x="765" y="421"/>
                  </a:lnTo>
                  <a:lnTo>
                    <a:pt x="777" y="426"/>
                  </a:lnTo>
                  <a:lnTo>
                    <a:pt x="777" y="421"/>
                  </a:lnTo>
                  <a:lnTo>
                    <a:pt x="782" y="426"/>
                  </a:lnTo>
                  <a:lnTo>
                    <a:pt x="576" y="499"/>
                  </a:lnTo>
                  <a:lnTo>
                    <a:pt x="576" y="499"/>
                  </a:lnTo>
                  <a:lnTo>
                    <a:pt x="576" y="499"/>
                  </a:lnTo>
                  <a:close/>
                </a:path>
              </a:pathLst>
            </a:custGeom>
            <a:solidFill>
              <a:schemeClr val="bg2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52" name="Freeform 597">
              <a:extLst>
                <a:ext uri="{FF2B5EF4-FFF2-40B4-BE49-F238E27FC236}">
                  <a16:creationId xmlns:a16="http://schemas.microsoft.com/office/drawing/2014/main" id="{70D87B71-E7AB-4723-985B-6D6F09BC9E51}"/>
                </a:ext>
              </a:extLst>
            </p:cNvPr>
            <p:cNvSpPr>
              <a:spLocks/>
            </p:cNvSpPr>
            <p:nvPr/>
          </p:nvSpPr>
          <p:spPr bwMode="gray">
            <a:xfrm>
              <a:off x="6432964" y="2917234"/>
              <a:ext cx="85179" cy="76900"/>
            </a:xfrm>
            <a:custGeom>
              <a:avLst/>
              <a:gdLst>
                <a:gd name="T0" fmla="*/ 506 w 555"/>
                <a:gd name="T1" fmla="*/ 418 h 501"/>
                <a:gd name="T2" fmla="*/ 397 w 555"/>
                <a:gd name="T3" fmla="*/ 496 h 501"/>
                <a:gd name="T4" fmla="*/ 317 w 555"/>
                <a:gd name="T5" fmla="*/ 479 h 501"/>
                <a:gd name="T6" fmla="*/ 284 w 555"/>
                <a:gd name="T7" fmla="*/ 472 h 501"/>
                <a:gd name="T8" fmla="*/ 267 w 555"/>
                <a:gd name="T9" fmla="*/ 456 h 501"/>
                <a:gd name="T10" fmla="*/ 196 w 555"/>
                <a:gd name="T11" fmla="*/ 439 h 501"/>
                <a:gd name="T12" fmla="*/ 175 w 555"/>
                <a:gd name="T13" fmla="*/ 364 h 501"/>
                <a:gd name="T14" fmla="*/ 137 w 555"/>
                <a:gd name="T15" fmla="*/ 331 h 501"/>
                <a:gd name="T16" fmla="*/ 66 w 555"/>
                <a:gd name="T17" fmla="*/ 281 h 501"/>
                <a:gd name="T18" fmla="*/ 50 w 555"/>
                <a:gd name="T19" fmla="*/ 241 h 501"/>
                <a:gd name="T20" fmla="*/ 0 w 555"/>
                <a:gd name="T21" fmla="*/ 153 h 501"/>
                <a:gd name="T22" fmla="*/ 33 w 555"/>
                <a:gd name="T23" fmla="*/ 153 h 501"/>
                <a:gd name="T24" fmla="*/ 66 w 555"/>
                <a:gd name="T25" fmla="*/ 165 h 501"/>
                <a:gd name="T26" fmla="*/ 125 w 555"/>
                <a:gd name="T27" fmla="*/ 170 h 501"/>
                <a:gd name="T28" fmla="*/ 180 w 555"/>
                <a:gd name="T29" fmla="*/ 92 h 501"/>
                <a:gd name="T30" fmla="*/ 262 w 555"/>
                <a:gd name="T31" fmla="*/ 21 h 501"/>
                <a:gd name="T32" fmla="*/ 371 w 555"/>
                <a:gd name="T33" fmla="*/ 0 h 501"/>
                <a:gd name="T34" fmla="*/ 423 w 555"/>
                <a:gd name="T35" fmla="*/ 21 h 501"/>
                <a:gd name="T36" fmla="*/ 451 w 555"/>
                <a:gd name="T37" fmla="*/ 38 h 501"/>
                <a:gd name="T38" fmla="*/ 501 w 555"/>
                <a:gd name="T39" fmla="*/ 59 h 501"/>
                <a:gd name="T40" fmla="*/ 532 w 555"/>
                <a:gd name="T41" fmla="*/ 75 h 501"/>
                <a:gd name="T42" fmla="*/ 539 w 555"/>
                <a:gd name="T43" fmla="*/ 92 h 501"/>
                <a:gd name="T44" fmla="*/ 543 w 555"/>
                <a:gd name="T45" fmla="*/ 132 h 501"/>
                <a:gd name="T46" fmla="*/ 539 w 555"/>
                <a:gd name="T47" fmla="*/ 170 h 501"/>
                <a:gd name="T48" fmla="*/ 555 w 555"/>
                <a:gd name="T49" fmla="*/ 198 h 501"/>
                <a:gd name="T50" fmla="*/ 539 w 555"/>
                <a:gd name="T51" fmla="*/ 224 h 501"/>
                <a:gd name="T52" fmla="*/ 522 w 555"/>
                <a:gd name="T53" fmla="*/ 241 h 501"/>
                <a:gd name="T54" fmla="*/ 532 w 555"/>
                <a:gd name="T55" fmla="*/ 281 h 501"/>
                <a:gd name="T56" fmla="*/ 539 w 555"/>
                <a:gd name="T57" fmla="*/ 347 h 501"/>
                <a:gd name="T58" fmla="*/ 506 w 555"/>
                <a:gd name="T59" fmla="*/ 368 h 501"/>
                <a:gd name="T60" fmla="*/ 501 w 555"/>
                <a:gd name="T61" fmla="*/ 406 h 501"/>
                <a:gd name="T62" fmla="*/ 506 w 555"/>
                <a:gd name="T63" fmla="*/ 423 h 5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555" h="501">
                  <a:moveTo>
                    <a:pt x="506" y="423"/>
                  </a:moveTo>
                  <a:lnTo>
                    <a:pt x="506" y="418"/>
                  </a:lnTo>
                  <a:lnTo>
                    <a:pt x="430" y="501"/>
                  </a:lnTo>
                  <a:lnTo>
                    <a:pt x="397" y="496"/>
                  </a:lnTo>
                  <a:lnTo>
                    <a:pt x="359" y="496"/>
                  </a:lnTo>
                  <a:lnTo>
                    <a:pt x="317" y="479"/>
                  </a:lnTo>
                  <a:lnTo>
                    <a:pt x="288" y="489"/>
                  </a:lnTo>
                  <a:lnTo>
                    <a:pt x="284" y="472"/>
                  </a:lnTo>
                  <a:lnTo>
                    <a:pt x="267" y="472"/>
                  </a:lnTo>
                  <a:lnTo>
                    <a:pt x="267" y="456"/>
                  </a:lnTo>
                  <a:lnTo>
                    <a:pt x="234" y="439"/>
                  </a:lnTo>
                  <a:lnTo>
                    <a:pt x="196" y="439"/>
                  </a:lnTo>
                  <a:lnTo>
                    <a:pt x="175" y="401"/>
                  </a:lnTo>
                  <a:lnTo>
                    <a:pt x="175" y="364"/>
                  </a:lnTo>
                  <a:lnTo>
                    <a:pt x="142" y="364"/>
                  </a:lnTo>
                  <a:lnTo>
                    <a:pt x="137" y="331"/>
                  </a:lnTo>
                  <a:lnTo>
                    <a:pt x="104" y="314"/>
                  </a:lnTo>
                  <a:lnTo>
                    <a:pt x="66" y="281"/>
                  </a:lnTo>
                  <a:lnTo>
                    <a:pt x="50" y="253"/>
                  </a:lnTo>
                  <a:lnTo>
                    <a:pt x="50" y="241"/>
                  </a:lnTo>
                  <a:lnTo>
                    <a:pt x="0" y="182"/>
                  </a:lnTo>
                  <a:lnTo>
                    <a:pt x="0" y="153"/>
                  </a:lnTo>
                  <a:lnTo>
                    <a:pt x="17" y="165"/>
                  </a:lnTo>
                  <a:lnTo>
                    <a:pt x="33" y="153"/>
                  </a:lnTo>
                  <a:lnTo>
                    <a:pt x="50" y="170"/>
                  </a:lnTo>
                  <a:lnTo>
                    <a:pt x="66" y="165"/>
                  </a:lnTo>
                  <a:lnTo>
                    <a:pt x="104" y="182"/>
                  </a:lnTo>
                  <a:lnTo>
                    <a:pt x="125" y="170"/>
                  </a:lnTo>
                  <a:lnTo>
                    <a:pt x="163" y="125"/>
                  </a:lnTo>
                  <a:lnTo>
                    <a:pt x="180" y="92"/>
                  </a:lnTo>
                  <a:lnTo>
                    <a:pt x="246" y="59"/>
                  </a:lnTo>
                  <a:lnTo>
                    <a:pt x="262" y="21"/>
                  </a:lnTo>
                  <a:lnTo>
                    <a:pt x="305" y="0"/>
                  </a:lnTo>
                  <a:lnTo>
                    <a:pt x="371" y="0"/>
                  </a:lnTo>
                  <a:lnTo>
                    <a:pt x="371" y="21"/>
                  </a:lnTo>
                  <a:lnTo>
                    <a:pt x="423" y="21"/>
                  </a:lnTo>
                  <a:lnTo>
                    <a:pt x="435" y="38"/>
                  </a:lnTo>
                  <a:lnTo>
                    <a:pt x="451" y="38"/>
                  </a:lnTo>
                  <a:lnTo>
                    <a:pt x="468" y="54"/>
                  </a:lnTo>
                  <a:lnTo>
                    <a:pt x="501" y="59"/>
                  </a:lnTo>
                  <a:lnTo>
                    <a:pt x="522" y="71"/>
                  </a:lnTo>
                  <a:lnTo>
                    <a:pt x="532" y="75"/>
                  </a:lnTo>
                  <a:lnTo>
                    <a:pt x="543" y="75"/>
                  </a:lnTo>
                  <a:lnTo>
                    <a:pt x="539" y="92"/>
                  </a:lnTo>
                  <a:lnTo>
                    <a:pt x="543" y="125"/>
                  </a:lnTo>
                  <a:lnTo>
                    <a:pt x="543" y="132"/>
                  </a:lnTo>
                  <a:lnTo>
                    <a:pt x="543" y="142"/>
                  </a:lnTo>
                  <a:lnTo>
                    <a:pt x="539" y="170"/>
                  </a:lnTo>
                  <a:lnTo>
                    <a:pt x="543" y="186"/>
                  </a:lnTo>
                  <a:lnTo>
                    <a:pt x="555" y="198"/>
                  </a:lnTo>
                  <a:lnTo>
                    <a:pt x="539" y="208"/>
                  </a:lnTo>
                  <a:lnTo>
                    <a:pt x="539" y="224"/>
                  </a:lnTo>
                  <a:lnTo>
                    <a:pt x="522" y="236"/>
                  </a:lnTo>
                  <a:lnTo>
                    <a:pt x="522" y="241"/>
                  </a:lnTo>
                  <a:lnTo>
                    <a:pt x="539" y="253"/>
                  </a:lnTo>
                  <a:lnTo>
                    <a:pt x="532" y="281"/>
                  </a:lnTo>
                  <a:lnTo>
                    <a:pt x="555" y="307"/>
                  </a:lnTo>
                  <a:lnTo>
                    <a:pt x="539" y="347"/>
                  </a:lnTo>
                  <a:lnTo>
                    <a:pt x="522" y="364"/>
                  </a:lnTo>
                  <a:lnTo>
                    <a:pt x="506" y="368"/>
                  </a:lnTo>
                  <a:lnTo>
                    <a:pt x="517" y="385"/>
                  </a:lnTo>
                  <a:lnTo>
                    <a:pt x="501" y="406"/>
                  </a:lnTo>
                  <a:lnTo>
                    <a:pt x="506" y="423"/>
                  </a:lnTo>
                  <a:lnTo>
                    <a:pt x="506" y="423"/>
                  </a:lnTo>
                  <a:lnTo>
                    <a:pt x="506" y="423"/>
                  </a:lnTo>
                  <a:close/>
                </a:path>
              </a:pathLst>
            </a:custGeom>
            <a:solidFill>
              <a:schemeClr val="bg2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53" name="Freeform 598">
              <a:extLst>
                <a:ext uri="{FF2B5EF4-FFF2-40B4-BE49-F238E27FC236}">
                  <a16:creationId xmlns:a16="http://schemas.microsoft.com/office/drawing/2014/main" id="{51A6E18E-92C3-42FD-9BD7-C03BAD2BCBF8}"/>
                </a:ext>
              </a:extLst>
            </p:cNvPr>
            <p:cNvSpPr>
              <a:spLocks/>
            </p:cNvSpPr>
            <p:nvPr/>
          </p:nvSpPr>
          <p:spPr bwMode="gray">
            <a:xfrm>
              <a:off x="6396437" y="2492214"/>
              <a:ext cx="180179" cy="153492"/>
            </a:xfrm>
            <a:custGeom>
              <a:avLst/>
              <a:gdLst>
                <a:gd name="T0" fmla="*/ 67 w 497"/>
                <a:gd name="T1" fmla="*/ 423 h 423"/>
                <a:gd name="T2" fmla="*/ 119 w 497"/>
                <a:gd name="T3" fmla="*/ 370 h 423"/>
                <a:gd name="T4" fmla="*/ 186 w 497"/>
                <a:gd name="T5" fmla="*/ 384 h 423"/>
                <a:gd name="T6" fmla="*/ 210 w 497"/>
                <a:gd name="T7" fmla="*/ 395 h 423"/>
                <a:gd name="T8" fmla="*/ 238 w 497"/>
                <a:gd name="T9" fmla="*/ 384 h 423"/>
                <a:gd name="T10" fmla="*/ 257 w 497"/>
                <a:gd name="T11" fmla="*/ 363 h 423"/>
                <a:gd name="T12" fmla="*/ 289 w 497"/>
                <a:gd name="T13" fmla="*/ 384 h 423"/>
                <a:gd name="T14" fmla="*/ 325 w 497"/>
                <a:gd name="T15" fmla="*/ 314 h 423"/>
                <a:gd name="T16" fmla="*/ 337 w 497"/>
                <a:gd name="T17" fmla="*/ 311 h 423"/>
                <a:gd name="T18" fmla="*/ 352 w 497"/>
                <a:gd name="T19" fmla="*/ 297 h 423"/>
                <a:gd name="T20" fmla="*/ 372 w 497"/>
                <a:gd name="T21" fmla="*/ 363 h 423"/>
                <a:gd name="T22" fmla="*/ 375 w 497"/>
                <a:gd name="T23" fmla="*/ 363 h 423"/>
                <a:gd name="T24" fmla="*/ 388 w 497"/>
                <a:gd name="T25" fmla="*/ 362 h 423"/>
                <a:gd name="T26" fmla="*/ 390 w 497"/>
                <a:gd name="T27" fmla="*/ 345 h 423"/>
                <a:gd name="T28" fmla="*/ 395 w 497"/>
                <a:gd name="T29" fmla="*/ 329 h 423"/>
                <a:gd name="T30" fmla="*/ 413 w 497"/>
                <a:gd name="T31" fmla="*/ 303 h 423"/>
                <a:gd name="T32" fmla="*/ 427 w 497"/>
                <a:gd name="T33" fmla="*/ 289 h 423"/>
                <a:gd name="T34" fmla="*/ 433 w 497"/>
                <a:gd name="T35" fmla="*/ 263 h 423"/>
                <a:gd name="T36" fmla="*/ 433 w 497"/>
                <a:gd name="T37" fmla="*/ 225 h 423"/>
                <a:gd name="T38" fmla="*/ 445 w 497"/>
                <a:gd name="T39" fmla="*/ 181 h 423"/>
                <a:gd name="T40" fmla="*/ 449 w 497"/>
                <a:gd name="T41" fmla="*/ 164 h 423"/>
                <a:gd name="T42" fmla="*/ 465 w 497"/>
                <a:gd name="T43" fmla="*/ 157 h 423"/>
                <a:gd name="T44" fmla="*/ 488 w 497"/>
                <a:gd name="T45" fmla="*/ 150 h 423"/>
                <a:gd name="T46" fmla="*/ 495 w 497"/>
                <a:gd name="T47" fmla="*/ 131 h 423"/>
                <a:gd name="T48" fmla="*/ 472 w 497"/>
                <a:gd name="T49" fmla="*/ 115 h 423"/>
                <a:gd name="T50" fmla="*/ 463 w 497"/>
                <a:gd name="T51" fmla="*/ 108 h 423"/>
                <a:gd name="T52" fmla="*/ 456 w 497"/>
                <a:gd name="T53" fmla="*/ 63 h 423"/>
                <a:gd name="T54" fmla="*/ 452 w 497"/>
                <a:gd name="T55" fmla="*/ 33 h 423"/>
                <a:gd name="T56" fmla="*/ 458 w 497"/>
                <a:gd name="T57" fmla="*/ 40 h 423"/>
                <a:gd name="T58" fmla="*/ 449 w 497"/>
                <a:gd name="T59" fmla="*/ 21 h 423"/>
                <a:gd name="T60" fmla="*/ 285 w 497"/>
                <a:gd name="T61" fmla="*/ 7 h 423"/>
                <a:gd name="T62" fmla="*/ 285 w 497"/>
                <a:gd name="T63" fmla="*/ 0 h 423"/>
                <a:gd name="T64" fmla="*/ 93 w 497"/>
                <a:gd name="T65" fmla="*/ 7 h 423"/>
                <a:gd name="T66" fmla="*/ 63 w 497"/>
                <a:gd name="T67" fmla="*/ 70 h 423"/>
                <a:gd name="T68" fmla="*/ 63 w 497"/>
                <a:gd name="T69" fmla="*/ 209 h 423"/>
                <a:gd name="T70" fmla="*/ 34 w 497"/>
                <a:gd name="T71" fmla="*/ 211 h 423"/>
                <a:gd name="T72" fmla="*/ 34 w 497"/>
                <a:gd name="T73" fmla="*/ 225 h 423"/>
                <a:gd name="T74" fmla="*/ 25 w 497"/>
                <a:gd name="T75" fmla="*/ 239 h 423"/>
                <a:gd name="T76" fmla="*/ 22 w 497"/>
                <a:gd name="T77" fmla="*/ 256 h 423"/>
                <a:gd name="T78" fmla="*/ 9 w 497"/>
                <a:gd name="T79" fmla="*/ 268 h 423"/>
                <a:gd name="T80" fmla="*/ 6 w 497"/>
                <a:gd name="T81" fmla="*/ 289 h 423"/>
                <a:gd name="T82" fmla="*/ 6 w 497"/>
                <a:gd name="T83" fmla="*/ 303 h 423"/>
                <a:gd name="T84" fmla="*/ 11 w 497"/>
                <a:gd name="T85" fmla="*/ 298 h 423"/>
                <a:gd name="T86" fmla="*/ 18 w 497"/>
                <a:gd name="T87" fmla="*/ 310 h 423"/>
                <a:gd name="T88" fmla="*/ 22 w 497"/>
                <a:gd name="T89" fmla="*/ 336 h 423"/>
                <a:gd name="T90" fmla="*/ 32 w 497"/>
                <a:gd name="T91" fmla="*/ 338 h 423"/>
                <a:gd name="T92" fmla="*/ 32 w 497"/>
                <a:gd name="T93" fmla="*/ 357 h 423"/>
                <a:gd name="T94" fmla="*/ 54 w 497"/>
                <a:gd name="T95" fmla="*/ 390 h 423"/>
                <a:gd name="T96" fmla="*/ 52 w 497"/>
                <a:gd name="T97" fmla="*/ 409 h 423"/>
                <a:gd name="T98" fmla="*/ 52 w 497"/>
                <a:gd name="T99" fmla="*/ 416 h 423"/>
                <a:gd name="T100" fmla="*/ 67 w 497"/>
                <a:gd name="T101" fmla="*/ 423 h 4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497" h="423">
                  <a:moveTo>
                    <a:pt x="67" y="423"/>
                  </a:moveTo>
                  <a:cubicBezTo>
                    <a:pt x="67" y="423"/>
                    <a:pt x="67" y="423"/>
                    <a:pt x="67" y="423"/>
                  </a:cubicBezTo>
                  <a:cubicBezTo>
                    <a:pt x="67" y="423"/>
                    <a:pt x="67" y="423"/>
                    <a:pt x="95" y="367"/>
                  </a:cubicBezTo>
                  <a:cubicBezTo>
                    <a:pt x="95" y="367"/>
                    <a:pt x="95" y="367"/>
                    <a:pt x="119" y="370"/>
                  </a:cubicBezTo>
                  <a:cubicBezTo>
                    <a:pt x="119" y="370"/>
                    <a:pt x="119" y="370"/>
                    <a:pt x="135" y="391"/>
                  </a:cubicBezTo>
                  <a:cubicBezTo>
                    <a:pt x="135" y="391"/>
                    <a:pt x="135" y="391"/>
                    <a:pt x="186" y="384"/>
                  </a:cubicBezTo>
                  <a:cubicBezTo>
                    <a:pt x="186" y="384"/>
                    <a:pt x="186" y="384"/>
                    <a:pt x="186" y="395"/>
                  </a:cubicBezTo>
                  <a:cubicBezTo>
                    <a:pt x="186" y="395"/>
                    <a:pt x="186" y="395"/>
                    <a:pt x="210" y="395"/>
                  </a:cubicBezTo>
                  <a:cubicBezTo>
                    <a:pt x="210" y="395"/>
                    <a:pt x="210" y="395"/>
                    <a:pt x="222" y="384"/>
                  </a:cubicBezTo>
                  <a:cubicBezTo>
                    <a:pt x="222" y="384"/>
                    <a:pt x="222" y="384"/>
                    <a:pt x="238" y="384"/>
                  </a:cubicBezTo>
                  <a:cubicBezTo>
                    <a:pt x="238" y="384"/>
                    <a:pt x="238" y="384"/>
                    <a:pt x="238" y="370"/>
                  </a:cubicBezTo>
                  <a:cubicBezTo>
                    <a:pt x="238" y="370"/>
                    <a:pt x="238" y="370"/>
                    <a:pt x="257" y="363"/>
                  </a:cubicBezTo>
                  <a:cubicBezTo>
                    <a:pt x="257" y="363"/>
                    <a:pt x="257" y="363"/>
                    <a:pt x="281" y="384"/>
                  </a:cubicBezTo>
                  <a:cubicBezTo>
                    <a:pt x="281" y="384"/>
                    <a:pt x="281" y="384"/>
                    <a:pt x="289" y="384"/>
                  </a:cubicBezTo>
                  <a:cubicBezTo>
                    <a:pt x="289" y="384"/>
                    <a:pt x="289" y="384"/>
                    <a:pt x="325" y="342"/>
                  </a:cubicBezTo>
                  <a:cubicBezTo>
                    <a:pt x="325" y="342"/>
                    <a:pt x="325" y="342"/>
                    <a:pt x="325" y="314"/>
                  </a:cubicBezTo>
                  <a:cubicBezTo>
                    <a:pt x="325" y="314"/>
                    <a:pt x="325" y="314"/>
                    <a:pt x="321" y="314"/>
                  </a:cubicBezTo>
                  <a:cubicBezTo>
                    <a:pt x="321" y="314"/>
                    <a:pt x="321" y="314"/>
                    <a:pt x="337" y="311"/>
                  </a:cubicBezTo>
                  <a:cubicBezTo>
                    <a:pt x="337" y="311"/>
                    <a:pt x="337" y="311"/>
                    <a:pt x="337" y="297"/>
                  </a:cubicBezTo>
                  <a:cubicBezTo>
                    <a:pt x="337" y="297"/>
                    <a:pt x="337" y="297"/>
                    <a:pt x="352" y="297"/>
                  </a:cubicBezTo>
                  <a:cubicBezTo>
                    <a:pt x="352" y="297"/>
                    <a:pt x="352" y="297"/>
                    <a:pt x="352" y="360"/>
                  </a:cubicBezTo>
                  <a:cubicBezTo>
                    <a:pt x="372" y="363"/>
                    <a:pt x="372" y="363"/>
                    <a:pt x="372" y="363"/>
                  </a:cubicBezTo>
                  <a:cubicBezTo>
                    <a:pt x="372" y="363"/>
                    <a:pt x="372" y="363"/>
                    <a:pt x="372" y="364"/>
                  </a:cubicBezTo>
                  <a:cubicBezTo>
                    <a:pt x="375" y="363"/>
                    <a:pt x="375" y="363"/>
                    <a:pt x="375" y="363"/>
                  </a:cubicBezTo>
                  <a:cubicBezTo>
                    <a:pt x="381" y="357"/>
                    <a:pt x="381" y="357"/>
                    <a:pt x="381" y="357"/>
                  </a:cubicBezTo>
                  <a:cubicBezTo>
                    <a:pt x="388" y="362"/>
                    <a:pt x="388" y="362"/>
                    <a:pt x="388" y="362"/>
                  </a:cubicBezTo>
                  <a:cubicBezTo>
                    <a:pt x="390" y="357"/>
                    <a:pt x="390" y="357"/>
                    <a:pt x="390" y="357"/>
                  </a:cubicBezTo>
                  <a:cubicBezTo>
                    <a:pt x="390" y="345"/>
                    <a:pt x="390" y="345"/>
                    <a:pt x="390" y="345"/>
                  </a:cubicBezTo>
                  <a:cubicBezTo>
                    <a:pt x="395" y="336"/>
                    <a:pt x="395" y="336"/>
                    <a:pt x="395" y="336"/>
                  </a:cubicBezTo>
                  <a:cubicBezTo>
                    <a:pt x="395" y="329"/>
                    <a:pt x="395" y="329"/>
                    <a:pt x="395" y="329"/>
                  </a:cubicBezTo>
                  <a:cubicBezTo>
                    <a:pt x="399" y="326"/>
                    <a:pt x="399" y="326"/>
                    <a:pt x="399" y="326"/>
                  </a:cubicBezTo>
                  <a:cubicBezTo>
                    <a:pt x="413" y="303"/>
                    <a:pt x="413" y="303"/>
                    <a:pt x="413" y="303"/>
                  </a:cubicBezTo>
                  <a:cubicBezTo>
                    <a:pt x="427" y="298"/>
                    <a:pt x="427" y="298"/>
                    <a:pt x="427" y="298"/>
                  </a:cubicBezTo>
                  <a:cubicBezTo>
                    <a:pt x="427" y="289"/>
                    <a:pt x="427" y="289"/>
                    <a:pt x="427" y="289"/>
                  </a:cubicBezTo>
                  <a:cubicBezTo>
                    <a:pt x="436" y="265"/>
                    <a:pt x="436" y="265"/>
                    <a:pt x="436" y="265"/>
                  </a:cubicBezTo>
                  <a:cubicBezTo>
                    <a:pt x="433" y="263"/>
                    <a:pt x="433" y="263"/>
                    <a:pt x="433" y="263"/>
                  </a:cubicBezTo>
                  <a:cubicBezTo>
                    <a:pt x="436" y="251"/>
                    <a:pt x="436" y="251"/>
                    <a:pt x="436" y="251"/>
                  </a:cubicBezTo>
                  <a:cubicBezTo>
                    <a:pt x="433" y="225"/>
                    <a:pt x="433" y="225"/>
                    <a:pt x="433" y="225"/>
                  </a:cubicBezTo>
                  <a:cubicBezTo>
                    <a:pt x="449" y="188"/>
                    <a:pt x="449" y="188"/>
                    <a:pt x="449" y="188"/>
                  </a:cubicBezTo>
                  <a:cubicBezTo>
                    <a:pt x="445" y="181"/>
                    <a:pt x="445" y="181"/>
                    <a:pt x="445" y="181"/>
                  </a:cubicBezTo>
                  <a:cubicBezTo>
                    <a:pt x="449" y="174"/>
                    <a:pt x="449" y="174"/>
                    <a:pt x="449" y="174"/>
                  </a:cubicBezTo>
                  <a:cubicBezTo>
                    <a:pt x="449" y="164"/>
                    <a:pt x="449" y="164"/>
                    <a:pt x="449" y="164"/>
                  </a:cubicBezTo>
                  <a:cubicBezTo>
                    <a:pt x="463" y="164"/>
                    <a:pt x="463" y="164"/>
                    <a:pt x="463" y="164"/>
                  </a:cubicBezTo>
                  <a:cubicBezTo>
                    <a:pt x="465" y="157"/>
                    <a:pt x="465" y="157"/>
                    <a:pt x="465" y="157"/>
                  </a:cubicBezTo>
                  <a:cubicBezTo>
                    <a:pt x="481" y="148"/>
                    <a:pt x="481" y="148"/>
                    <a:pt x="481" y="148"/>
                  </a:cubicBezTo>
                  <a:cubicBezTo>
                    <a:pt x="488" y="150"/>
                    <a:pt x="488" y="150"/>
                    <a:pt x="488" y="150"/>
                  </a:cubicBezTo>
                  <a:cubicBezTo>
                    <a:pt x="497" y="134"/>
                    <a:pt x="497" y="134"/>
                    <a:pt x="497" y="134"/>
                  </a:cubicBezTo>
                  <a:cubicBezTo>
                    <a:pt x="495" y="131"/>
                    <a:pt x="495" y="131"/>
                    <a:pt x="495" y="131"/>
                  </a:cubicBezTo>
                  <a:cubicBezTo>
                    <a:pt x="481" y="124"/>
                    <a:pt x="481" y="124"/>
                    <a:pt x="481" y="124"/>
                  </a:cubicBezTo>
                  <a:cubicBezTo>
                    <a:pt x="472" y="115"/>
                    <a:pt x="472" y="115"/>
                    <a:pt x="472" y="115"/>
                  </a:cubicBezTo>
                  <a:cubicBezTo>
                    <a:pt x="465" y="110"/>
                    <a:pt x="465" y="110"/>
                    <a:pt x="465" y="110"/>
                  </a:cubicBezTo>
                  <a:cubicBezTo>
                    <a:pt x="463" y="108"/>
                    <a:pt x="463" y="108"/>
                    <a:pt x="463" y="108"/>
                  </a:cubicBezTo>
                  <a:cubicBezTo>
                    <a:pt x="458" y="84"/>
                    <a:pt x="458" y="84"/>
                    <a:pt x="458" y="84"/>
                  </a:cubicBezTo>
                  <a:cubicBezTo>
                    <a:pt x="456" y="63"/>
                    <a:pt x="456" y="63"/>
                    <a:pt x="456" y="63"/>
                  </a:cubicBezTo>
                  <a:cubicBezTo>
                    <a:pt x="456" y="54"/>
                    <a:pt x="456" y="54"/>
                    <a:pt x="456" y="54"/>
                  </a:cubicBezTo>
                  <a:cubicBezTo>
                    <a:pt x="452" y="33"/>
                    <a:pt x="452" y="33"/>
                    <a:pt x="452" y="33"/>
                  </a:cubicBezTo>
                  <a:cubicBezTo>
                    <a:pt x="456" y="37"/>
                    <a:pt x="456" y="37"/>
                    <a:pt x="456" y="37"/>
                  </a:cubicBezTo>
                  <a:cubicBezTo>
                    <a:pt x="458" y="40"/>
                    <a:pt x="458" y="40"/>
                    <a:pt x="458" y="40"/>
                  </a:cubicBezTo>
                  <a:cubicBezTo>
                    <a:pt x="458" y="37"/>
                    <a:pt x="458" y="37"/>
                    <a:pt x="458" y="37"/>
                  </a:cubicBezTo>
                  <a:cubicBezTo>
                    <a:pt x="449" y="21"/>
                    <a:pt x="449" y="21"/>
                    <a:pt x="449" y="21"/>
                  </a:cubicBezTo>
                  <a:cubicBezTo>
                    <a:pt x="445" y="7"/>
                    <a:pt x="445" y="7"/>
                    <a:pt x="445" y="7"/>
                  </a:cubicBezTo>
                  <a:cubicBezTo>
                    <a:pt x="285" y="7"/>
                    <a:pt x="285" y="7"/>
                    <a:pt x="285" y="7"/>
                  </a:cubicBezTo>
                  <a:cubicBezTo>
                    <a:pt x="290" y="4"/>
                    <a:pt x="290" y="4"/>
                    <a:pt x="290" y="4"/>
                  </a:cubicBezTo>
                  <a:cubicBezTo>
                    <a:pt x="285" y="0"/>
                    <a:pt x="285" y="0"/>
                    <a:pt x="285" y="0"/>
                  </a:cubicBezTo>
                  <a:cubicBezTo>
                    <a:pt x="280" y="7"/>
                    <a:pt x="280" y="7"/>
                    <a:pt x="280" y="7"/>
                  </a:cubicBezTo>
                  <a:cubicBezTo>
                    <a:pt x="93" y="7"/>
                    <a:pt x="93" y="7"/>
                    <a:pt x="93" y="7"/>
                  </a:cubicBezTo>
                  <a:cubicBezTo>
                    <a:pt x="93" y="70"/>
                    <a:pt x="93" y="70"/>
                    <a:pt x="93" y="70"/>
                  </a:cubicBezTo>
                  <a:cubicBezTo>
                    <a:pt x="63" y="70"/>
                    <a:pt x="63" y="70"/>
                    <a:pt x="63" y="70"/>
                  </a:cubicBezTo>
                  <a:cubicBezTo>
                    <a:pt x="63" y="87"/>
                    <a:pt x="63" y="87"/>
                    <a:pt x="63" y="87"/>
                  </a:cubicBezTo>
                  <a:cubicBezTo>
                    <a:pt x="63" y="209"/>
                    <a:pt x="63" y="209"/>
                    <a:pt x="63" y="209"/>
                  </a:cubicBezTo>
                  <a:cubicBezTo>
                    <a:pt x="38" y="209"/>
                    <a:pt x="38" y="209"/>
                    <a:pt x="38" y="209"/>
                  </a:cubicBezTo>
                  <a:cubicBezTo>
                    <a:pt x="34" y="211"/>
                    <a:pt x="34" y="211"/>
                    <a:pt x="34" y="211"/>
                  </a:cubicBezTo>
                  <a:cubicBezTo>
                    <a:pt x="34" y="218"/>
                    <a:pt x="34" y="218"/>
                    <a:pt x="34" y="218"/>
                  </a:cubicBezTo>
                  <a:cubicBezTo>
                    <a:pt x="34" y="225"/>
                    <a:pt x="34" y="225"/>
                    <a:pt x="34" y="225"/>
                  </a:cubicBezTo>
                  <a:cubicBezTo>
                    <a:pt x="25" y="235"/>
                    <a:pt x="25" y="235"/>
                    <a:pt x="25" y="235"/>
                  </a:cubicBezTo>
                  <a:cubicBezTo>
                    <a:pt x="25" y="239"/>
                    <a:pt x="25" y="239"/>
                    <a:pt x="25" y="239"/>
                  </a:cubicBezTo>
                  <a:cubicBezTo>
                    <a:pt x="18" y="242"/>
                    <a:pt x="18" y="242"/>
                    <a:pt x="18" y="242"/>
                  </a:cubicBezTo>
                  <a:cubicBezTo>
                    <a:pt x="22" y="256"/>
                    <a:pt x="22" y="256"/>
                    <a:pt x="22" y="256"/>
                  </a:cubicBezTo>
                  <a:cubicBezTo>
                    <a:pt x="11" y="263"/>
                    <a:pt x="11" y="263"/>
                    <a:pt x="11" y="263"/>
                  </a:cubicBezTo>
                  <a:cubicBezTo>
                    <a:pt x="9" y="268"/>
                    <a:pt x="9" y="268"/>
                    <a:pt x="9" y="268"/>
                  </a:cubicBezTo>
                  <a:cubicBezTo>
                    <a:pt x="16" y="279"/>
                    <a:pt x="16" y="279"/>
                    <a:pt x="16" y="279"/>
                  </a:cubicBezTo>
                  <a:cubicBezTo>
                    <a:pt x="6" y="289"/>
                    <a:pt x="6" y="289"/>
                    <a:pt x="6" y="289"/>
                  </a:cubicBezTo>
                  <a:cubicBezTo>
                    <a:pt x="0" y="298"/>
                    <a:pt x="0" y="298"/>
                    <a:pt x="0" y="298"/>
                  </a:cubicBezTo>
                  <a:cubicBezTo>
                    <a:pt x="6" y="303"/>
                    <a:pt x="6" y="303"/>
                    <a:pt x="6" y="303"/>
                  </a:cubicBezTo>
                  <a:cubicBezTo>
                    <a:pt x="9" y="303"/>
                    <a:pt x="9" y="303"/>
                    <a:pt x="9" y="303"/>
                  </a:cubicBezTo>
                  <a:cubicBezTo>
                    <a:pt x="11" y="298"/>
                    <a:pt x="11" y="298"/>
                    <a:pt x="11" y="298"/>
                  </a:cubicBezTo>
                  <a:cubicBezTo>
                    <a:pt x="18" y="303"/>
                    <a:pt x="18" y="303"/>
                    <a:pt x="18" y="303"/>
                  </a:cubicBezTo>
                  <a:cubicBezTo>
                    <a:pt x="18" y="310"/>
                    <a:pt x="18" y="310"/>
                    <a:pt x="18" y="310"/>
                  </a:cubicBezTo>
                  <a:cubicBezTo>
                    <a:pt x="25" y="322"/>
                    <a:pt x="25" y="322"/>
                    <a:pt x="25" y="322"/>
                  </a:cubicBezTo>
                  <a:cubicBezTo>
                    <a:pt x="22" y="336"/>
                    <a:pt x="22" y="336"/>
                    <a:pt x="22" y="336"/>
                  </a:cubicBezTo>
                  <a:cubicBezTo>
                    <a:pt x="29" y="338"/>
                    <a:pt x="29" y="338"/>
                    <a:pt x="29" y="338"/>
                  </a:cubicBezTo>
                  <a:cubicBezTo>
                    <a:pt x="32" y="338"/>
                    <a:pt x="32" y="338"/>
                    <a:pt x="32" y="338"/>
                  </a:cubicBezTo>
                  <a:cubicBezTo>
                    <a:pt x="34" y="345"/>
                    <a:pt x="34" y="345"/>
                    <a:pt x="34" y="345"/>
                  </a:cubicBezTo>
                  <a:cubicBezTo>
                    <a:pt x="32" y="357"/>
                    <a:pt x="32" y="357"/>
                    <a:pt x="32" y="357"/>
                  </a:cubicBezTo>
                  <a:cubicBezTo>
                    <a:pt x="45" y="369"/>
                    <a:pt x="45" y="369"/>
                    <a:pt x="45" y="369"/>
                  </a:cubicBezTo>
                  <a:cubicBezTo>
                    <a:pt x="54" y="390"/>
                    <a:pt x="54" y="390"/>
                    <a:pt x="54" y="390"/>
                  </a:cubicBezTo>
                  <a:cubicBezTo>
                    <a:pt x="54" y="406"/>
                    <a:pt x="54" y="406"/>
                    <a:pt x="54" y="406"/>
                  </a:cubicBezTo>
                  <a:cubicBezTo>
                    <a:pt x="52" y="409"/>
                    <a:pt x="52" y="409"/>
                    <a:pt x="52" y="409"/>
                  </a:cubicBezTo>
                  <a:cubicBezTo>
                    <a:pt x="47" y="413"/>
                    <a:pt x="47" y="413"/>
                    <a:pt x="47" y="413"/>
                  </a:cubicBezTo>
                  <a:cubicBezTo>
                    <a:pt x="52" y="416"/>
                    <a:pt x="52" y="416"/>
                    <a:pt x="52" y="416"/>
                  </a:cubicBezTo>
                  <a:cubicBezTo>
                    <a:pt x="52" y="423"/>
                    <a:pt x="52" y="423"/>
                    <a:pt x="52" y="423"/>
                  </a:cubicBezTo>
                  <a:lnTo>
                    <a:pt x="67" y="423"/>
                  </a:lnTo>
                  <a:close/>
                </a:path>
              </a:pathLst>
            </a:custGeom>
            <a:solidFill>
              <a:schemeClr val="bg2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54" name="Freeform 599">
              <a:extLst>
                <a:ext uri="{FF2B5EF4-FFF2-40B4-BE49-F238E27FC236}">
                  <a16:creationId xmlns:a16="http://schemas.microsoft.com/office/drawing/2014/main" id="{F61EB9A0-C4E6-4ACD-99F9-D6D21970CE15}"/>
                </a:ext>
              </a:extLst>
            </p:cNvPr>
            <p:cNvSpPr>
              <a:spLocks/>
            </p:cNvSpPr>
            <p:nvPr/>
          </p:nvSpPr>
          <p:spPr bwMode="gray">
            <a:xfrm>
              <a:off x="6420686" y="2599966"/>
              <a:ext cx="127998" cy="104375"/>
            </a:xfrm>
            <a:custGeom>
              <a:avLst/>
              <a:gdLst>
                <a:gd name="T0" fmla="*/ 339 w 353"/>
                <a:gd name="T1" fmla="*/ 227 h 288"/>
                <a:gd name="T2" fmla="*/ 332 w 353"/>
                <a:gd name="T3" fmla="*/ 227 h 288"/>
                <a:gd name="T4" fmla="*/ 323 w 353"/>
                <a:gd name="T5" fmla="*/ 210 h 288"/>
                <a:gd name="T6" fmla="*/ 309 w 353"/>
                <a:gd name="T7" fmla="*/ 187 h 288"/>
                <a:gd name="T8" fmla="*/ 300 w 353"/>
                <a:gd name="T9" fmla="*/ 180 h 288"/>
                <a:gd name="T10" fmla="*/ 277 w 353"/>
                <a:gd name="T11" fmla="*/ 156 h 288"/>
                <a:gd name="T12" fmla="*/ 264 w 353"/>
                <a:gd name="T13" fmla="*/ 149 h 288"/>
                <a:gd name="T14" fmla="*/ 270 w 353"/>
                <a:gd name="T15" fmla="*/ 135 h 288"/>
                <a:gd name="T16" fmla="*/ 286 w 353"/>
                <a:gd name="T17" fmla="*/ 135 h 288"/>
                <a:gd name="T18" fmla="*/ 298 w 353"/>
                <a:gd name="T19" fmla="*/ 102 h 288"/>
                <a:gd name="T20" fmla="*/ 305 w 353"/>
                <a:gd name="T21" fmla="*/ 69 h 288"/>
                <a:gd name="T22" fmla="*/ 305 w 353"/>
                <a:gd name="T23" fmla="*/ 67 h 288"/>
                <a:gd name="T24" fmla="*/ 285 w 353"/>
                <a:gd name="T25" fmla="*/ 63 h 288"/>
                <a:gd name="T26" fmla="*/ 270 w 353"/>
                <a:gd name="T27" fmla="*/ 0 h 288"/>
                <a:gd name="T28" fmla="*/ 254 w 353"/>
                <a:gd name="T29" fmla="*/ 17 h 288"/>
                <a:gd name="T30" fmla="*/ 258 w 353"/>
                <a:gd name="T31" fmla="*/ 45 h 288"/>
                <a:gd name="T32" fmla="*/ 214 w 353"/>
                <a:gd name="T33" fmla="*/ 87 h 288"/>
                <a:gd name="T34" fmla="*/ 171 w 353"/>
                <a:gd name="T35" fmla="*/ 73 h 288"/>
                <a:gd name="T36" fmla="*/ 155 w 353"/>
                <a:gd name="T37" fmla="*/ 87 h 288"/>
                <a:gd name="T38" fmla="*/ 119 w 353"/>
                <a:gd name="T39" fmla="*/ 98 h 288"/>
                <a:gd name="T40" fmla="*/ 68 w 353"/>
                <a:gd name="T41" fmla="*/ 94 h 288"/>
                <a:gd name="T42" fmla="*/ 28 w 353"/>
                <a:gd name="T43" fmla="*/ 70 h 288"/>
                <a:gd name="T44" fmla="*/ 0 w 353"/>
                <a:gd name="T45" fmla="*/ 126 h 288"/>
                <a:gd name="T46" fmla="*/ 8 w 353"/>
                <a:gd name="T47" fmla="*/ 130 h 288"/>
                <a:gd name="T48" fmla="*/ 3 w 353"/>
                <a:gd name="T49" fmla="*/ 140 h 288"/>
                <a:gd name="T50" fmla="*/ 31 w 353"/>
                <a:gd name="T51" fmla="*/ 154 h 288"/>
                <a:gd name="T52" fmla="*/ 35 w 353"/>
                <a:gd name="T53" fmla="*/ 159 h 288"/>
                <a:gd name="T54" fmla="*/ 56 w 353"/>
                <a:gd name="T55" fmla="*/ 180 h 288"/>
                <a:gd name="T56" fmla="*/ 70 w 353"/>
                <a:gd name="T57" fmla="*/ 189 h 288"/>
                <a:gd name="T58" fmla="*/ 72 w 353"/>
                <a:gd name="T59" fmla="*/ 203 h 288"/>
                <a:gd name="T60" fmla="*/ 81 w 353"/>
                <a:gd name="T61" fmla="*/ 210 h 288"/>
                <a:gd name="T62" fmla="*/ 95 w 353"/>
                <a:gd name="T63" fmla="*/ 224 h 288"/>
                <a:gd name="T64" fmla="*/ 102 w 353"/>
                <a:gd name="T65" fmla="*/ 241 h 288"/>
                <a:gd name="T66" fmla="*/ 111 w 353"/>
                <a:gd name="T67" fmla="*/ 253 h 288"/>
                <a:gd name="T68" fmla="*/ 140 w 353"/>
                <a:gd name="T69" fmla="*/ 253 h 288"/>
                <a:gd name="T70" fmla="*/ 161 w 353"/>
                <a:gd name="T71" fmla="*/ 250 h 288"/>
                <a:gd name="T72" fmla="*/ 170 w 353"/>
                <a:gd name="T73" fmla="*/ 253 h 288"/>
                <a:gd name="T74" fmla="*/ 179 w 353"/>
                <a:gd name="T75" fmla="*/ 267 h 288"/>
                <a:gd name="T76" fmla="*/ 193 w 353"/>
                <a:gd name="T77" fmla="*/ 274 h 288"/>
                <a:gd name="T78" fmla="*/ 200 w 353"/>
                <a:gd name="T79" fmla="*/ 281 h 288"/>
                <a:gd name="T80" fmla="*/ 207 w 353"/>
                <a:gd name="T81" fmla="*/ 281 h 288"/>
                <a:gd name="T82" fmla="*/ 223 w 353"/>
                <a:gd name="T83" fmla="*/ 281 h 288"/>
                <a:gd name="T84" fmla="*/ 232 w 353"/>
                <a:gd name="T85" fmla="*/ 283 h 288"/>
                <a:gd name="T86" fmla="*/ 241 w 353"/>
                <a:gd name="T87" fmla="*/ 283 h 288"/>
                <a:gd name="T88" fmla="*/ 254 w 353"/>
                <a:gd name="T89" fmla="*/ 276 h 288"/>
                <a:gd name="T90" fmla="*/ 270 w 353"/>
                <a:gd name="T91" fmla="*/ 276 h 288"/>
                <a:gd name="T92" fmla="*/ 293 w 353"/>
                <a:gd name="T93" fmla="*/ 264 h 288"/>
                <a:gd name="T94" fmla="*/ 353 w 353"/>
                <a:gd name="T95" fmla="*/ 253 h 288"/>
                <a:gd name="T96" fmla="*/ 350 w 353"/>
                <a:gd name="T97" fmla="*/ 229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53" h="288">
                  <a:moveTo>
                    <a:pt x="350" y="229"/>
                  </a:moveTo>
                  <a:cubicBezTo>
                    <a:pt x="339" y="227"/>
                    <a:pt x="339" y="227"/>
                    <a:pt x="339" y="227"/>
                  </a:cubicBezTo>
                  <a:cubicBezTo>
                    <a:pt x="332" y="229"/>
                    <a:pt x="332" y="229"/>
                    <a:pt x="332" y="229"/>
                  </a:cubicBezTo>
                  <a:cubicBezTo>
                    <a:pt x="332" y="227"/>
                    <a:pt x="332" y="227"/>
                    <a:pt x="332" y="227"/>
                  </a:cubicBezTo>
                  <a:cubicBezTo>
                    <a:pt x="328" y="220"/>
                    <a:pt x="328" y="220"/>
                    <a:pt x="328" y="220"/>
                  </a:cubicBezTo>
                  <a:cubicBezTo>
                    <a:pt x="323" y="210"/>
                    <a:pt x="323" y="210"/>
                    <a:pt x="323" y="210"/>
                  </a:cubicBezTo>
                  <a:cubicBezTo>
                    <a:pt x="316" y="189"/>
                    <a:pt x="316" y="189"/>
                    <a:pt x="316" y="189"/>
                  </a:cubicBezTo>
                  <a:cubicBezTo>
                    <a:pt x="309" y="187"/>
                    <a:pt x="309" y="187"/>
                    <a:pt x="309" y="187"/>
                  </a:cubicBezTo>
                  <a:cubicBezTo>
                    <a:pt x="307" y="182"/>
                    <a:pt x="307" y="182"/>
                    <a:pt x="307" y="182"/>
                  </a:cubicBezTo>
                  <a:cubicBezTo>
                    <a:pt x="300" y="180"/>
                    <a:pt x="300" y="180"/>
                    <a:pt x="300" y="180"/>
                  </a:cubicBezTo>
                  <a:cubicBezTo>
                    <a:pt x="291" y="163"/>
                    <a:pt x="291" y="163"/>
                    <a:pt x="291" y="163"/>
                  </a:cubicBezTo>
                  <a:cubicBezTo>
                    <a:pt x="277" y="156"/>
                    <a:pt x="277" y="156"/>
                    <a:pt x="277" y="156"/>
                  </a:cubicBezTo>
                  <a:cubicBezTo>
                    <a:pt x="264" y="156"/>
                    <a:pt x="264" y="156"/>
                    <a:pt x="264" y="156"/>
                  </a:cubicBezTo>
                  <a:cubicBezTo>
                    <a:pt x="264" y="149"/>
                    <a:pt x="264" y="149"/>
                    <a:pt x="264" y="149"/>
                  </a:cubicBezTo>
                  <a:cubicBezTo>
                    <a:pt x="270" y="142"/>
                    <a:pt x="270" y="142"/>
                    <a:pt x="270" y="142"/>
                  </a:cubicBezTo>
                  <a:cubicBezTo>
                    <a:pt x="270" y="135"/>
                    <a:pt x="270" y="135"/>
                    <a:pt x="270" y="135"/>
                  </a:cubicBezTo>
                  <a:cubicBezTo>
                    <a:pt x="284" y="133"/>
                    <a:pt x="284" y="133"/>
                    <a:pt x="284" y="133"/>
                  </a:cubicBezTo>
                  <a:cubicBezTo>
                    <a:pt x="286" y="135"/>
                    <a:pt x="286" y="135"/>
                    <a:pt x="286" y="135"/>
                  </a:cubicBezTo>
                  <a:cubicBezTo>
                    <a:pt x="298" y="130"/>
                    <a:pt x="298" y="130"/>
                    <a:pt x="298" y="130"/>
                  </a:cubicBezTo>
                  <a:cubicBezTo>
                    <a:pt x="298" y="102"/>
                    <a:pt x="298" y="102"/>
                    <a:pt x="298" y="102"/>
                  </a:cubicBezTo>
                  <a:cubicBezTo>
                    <a:pt x="305" y="79"/>
                    <a:pt x="305" y="79"/>
                    <a:pt x="305" y="79"/>
                  </a:cubicBezTo>
                  <a:cubicBezTo>
                    <a:pt x="305" y="69"/>
                    <a:pt x="305" y="69"/>
                    <a:pt x="305" y="69"/>
                  </a:cubicBezTo>
                  <a:cubicBezTo>
                    <a:pt x="308" y="66"/>
                    <a:pt x="308" y="66"/>
                    <a:pt x="308" y="66"/>
                  </a:cubicBezTo>
                  <a:cubicBezTo>
                    <a:pt x="305" y="67"/>
                    <a:pt x="305" y="67"/>
                    <a:pt x="305" y="67"/>
                  </a:cubicBezTo>
                  <a:cubicBezTo>
                    <a:pt x="305" y="66"/>
                    <a:pt x="305" y="66"/>
                    <a:pt x="305" y="66"/>
                  </a:cubicBezTo>
                  <a:cubicBezTo>
                    <a:pt x="285" y="63"/>
                    <a:pt x="285" y="63"/>
                    <a:pt x="285" y="63"/>
                  </a:cubicBezTo>
                  <a:cubicBezTo>
                    <a:pt x="285" y="0"/>
                    <a:pt x="285" y="0"/>
                    <a:pt x="285" y="0"/>
                  </a:cubicBezTo>
                  <a:cubicBezTo>
                    <a:pt x="270" y="0"/>
                    <a:pt x="270" y="0"/>
                    <a:pt x="270" y="0"/>
                  </a:cubicBezTo>
                  <a:cubicBezTo>
                    <a:pt x="270" y="14"/>
                    <a:pt x="270" y="14"/>
                    <a:pt x="270" y="14"/>
                  </a:cubicBezTo>
                  <a:cubicBezTo>
                    <a:pt x="254" y="17"/>
                    <a:pt x="254" y="17"/>
                    <a:pt x="254" y="17"/>
                  </a:cubicBezTo>
                  <a:cubicBezTo>
                    <a:pt x="258" y="17"/>
                    <a:pt x="258" y="17"/>
                    <a:pt x="258" y="17"/>
                  </a:cubicBezTo>
                  <a:cubicBezTo>
                    <a:pt x="258" y="45"/>
                    <a:pt x="258" y="45"/>
                    <a:pt x="258" y="45"/>
                  </a:cubicBezTo>
                  <a:cubicBezTo>
                    <a:pt x="222" y="87"/>
                    <a:pt x="222" y="87"/>
                    <a:pt x="222" y="87"/>
                  </a:cubicBezTo>
                  <a:cubicBezTo>
                    <a:pt x="214" y="87"/>
                    <a:pt x="214" y="87"/>
                    <a:pt x="214" y="87"/>
                  </a:cubicBezTo>
                  <a:cubicBezTo>
                    <a:pt x="190" y="66"/>
                    <a:pt x="190" y="66"/>
                    <a:pt x="190" y="66"/>
                  </a:cubicBezTo>
                  <a:cubicBezTo>
                    <a:pt x="171" y="73"/>
                    <a:pt x="171" y="73"/>
                    <a:pt x="171" y="73"/>
                  </a:cubicBezTo>
                  <a:cubicBezTo>
                    <a:pt x="171" y="87"/>
                    <a:pt x="171" y="87"/>
                    <a:pt x="171" y="87"/>
                  </a:cubicBezTo>
                  <a:cubicBezTo>
                    <a:pt x="155" y="87"/>
                    <a:pt x="155" y="87"/>
                    <a:pt x="155" y="87"/>
                  </a:cubicBezTo>
                  <a:cubicBezTo>
                    <a:pt x="143" y="98"/>
                    <a:pt x="143" y="98"/>
                    <a:pt x="143" y="98"/>
                  </a:cubicBezTo>
                  <a:cubicBezTo>
                    <a:pt x="119" y="98"/>
                    <a:pt x="119" y="98"/>
                    <a:pt x="119" y="98"/>
                  </a:cubicBezTo>
                  <a:cubicBezTo>
                    <a:pt x="119" y="87"/>
                    <a:pt x="119" y="87"/>
                    <a:pt x="119" y="87"/>
                  </a:cubicBezTo>
                  <a:cubicBezTo>
                    <a:pt x="68" y="94"/>
                    <a:pt x="68" y="94"/>
                    <a:pt x="68" y="94"/>
                  </a:cubicBezTo>
                  <a:cubicBezTo>
                    <a:pt x="52" y="73"/>
                    <a:pt x="52" y="73"/>
                    <a:pt x="52" y="73"/>
                  </a:cubicBezTo>
                  <a:cubicBezTo>
                    <a:pt x="28" y="70"/>
                    <a:pt x="28" y="70"/>
                    <a:pt x="28" y="70"/>
                  </a:cubicBezTo>
                  <a:cubicBezTo>
                    <a:pt x="0" y="126"/>
                    <a:pt x="0" y="126"/>
                    <a:pt x="0" y="126"/>
                  </a:cubicBezTo>
                  <a:cubicBezTo>
                    <a:pt x="0" y="126"/>
                    <a:pt x="0" y="126"/>
                    <a:pt x="0" y="126"/>
                  </a:cubicBezTo>
                  <a:cubicBezTo>
                    <a:pt x="3" y="126"/>
                    <a:pt x="3" y="126"/>
                    <a:pt x="3" y="126"/>
                  </a:cubicBezTo>
                  <a:cubicBezTo>
                    <a:pt x="8" y="130"/>
                    <a:pt x="8" y="130"/>
                    <a:pt x="8" y="130"/>
                  </a:cubicBezTo>
                  <a:cubicBezTo>
                    <a:pt x="3" y="133"/>
                    <a:pt x="3" y="133"/>
                    <a:pt x="3" y="133"/>
                  </a:cubicBezTo>
                  <a:cubicBezTo>
                    <a:pt x="3" y="140"/>
                    <a:pt x="3" y="140"/>
                    <a:pt x="3" y="140"/>
                  </a:cubicBezTo>
                  <a:cubicBezTo>
                    <a:pt x="19" y="142"/>
                    <a:pt x="19" y="142"/>
                    <a:pt x="19" y="142"/>
                  </a:cubicBezTo>
                  <a:cubicBezTo>
                    <a:pt x="31" y="154"/>
                    <a:pt x="31" y="154"/>
                    <a:pt x="31" y="154"/>
                  </a:cubicBezTo>
                  <a:cubicBezTo>
                    <a:pt x="35" y="154"/>
                    <a:pt x="35" y="154"/>
                    <a:pt x="35" y="154"/>
                  </a:cubicBezTo>
                  <a:cubicBezTo>
                    <a:pt x="35" y="159"/>
                    <a:pt x="35" y="159"/>
                    <a:pt x="35" y="159"/>
                  </a:cubicBezTo>
                  <a:cubicBezTo>
                    <a:pt x="33" y="163"/>
                    <a:pt x="33" y="163"/>
                    <a:pt x="33" y="163"/>
                  </a:cubicBezTo>
                  <a:cubicBezTo>
                    <a:pt x="56" y="180"/>
                    <a:pt x="56" y="180"/>
                    <a:pt x="56" y="180"/>
                  </a:cubicBezTo>
                  <a:cubicBezTo>
                    <a:pt x="58" y="182"/>
                    <a:pt x="58" y="182"/>
                    <a:pt x="58" y="182"/>
                  </a:cubicBezTo>
                  <a:cubicBezTo>
                    <a:pt x="70" y="189"/>
                    <a:pt x="70" y="189"/>
                    <a:pt x="70" y="189"/>
                  </a:cubicBezTo>
                  <a:cubicBezTo>
                    <a:pt x="65" y="196"/>
                    <a:pt x="65" y="196"/>
                    <a:pt x="65" y="196"/>
                  </a:cubicBezTo>
                  <a:cubicBezTo>
                    <a:pt x="72" y="203"/>
                    <a:pt x="72" y="203"/>
                    <a:pt x="72" y="203"/>
                  </a:cubicBezTo>
                  <a:cubicBezTo>
                    <a:pt x="70" y="206"/>
                    <a:pt x="70" y="206"/>
                    <a:pt x="70" y="206"/>
                  </a:cubicBezTo>
                  <a:cubicBezTo>
                    <a:pt x="81" y="210"/>
                    <a:pt x="81" y="210"/>
                    <a:pt x="81" y="210"/>
                  </a:cubicBezTo>
                  <a:cubicBezTo>
                    <a:pt x="92" y="217"/>
                    <a:pt x="92" y="217"/>
                    <a:pt x="92" y="217"/>
                  </a:cubicBezTo>
                  <a:cubicBezTo>
                    <a:pt x="95" y="224"/>
                    <a:pt x="95" y="224"/>
                    <a:pt x="95" y="224"/>
                  </a:cubicBezTo>
                  <a:cubicBezTo>
                    <a:pt x="95" y="229"/>
                    <a:pt x="95" y="229"/>
                    <a:pt x="95" y="229"/>
                  </a:cubicBezTo>
                  <a:cubicBezTo>
                    <a:pt x="102" y="241"/>
                    <a:pt x="102" y="241"/>
                    <a:pt x="102" y="241"/>
                  </a:cubicBezTo>
                  <a:cubicBezTo>
                    <a:pt x="108" y="248"/>
                    <a:pt x="108" y="248"/>
                    <a:pt x="108" y="248"/>
                  </a:cubicBezTo>
                  <a:cubicBezTo>
                    <a:pt x="111" y="253"/>
                    <a:pt x="111" y="253"/>
                    <a:pt x="111" y="253"/>
                  </a:cubicBezTo>
                  <a:cubicBezTo>
                    <a:pt x="127" y="264"/>
                    <a:pt x="127" y="264"/>
                    <a:pt x="127" y="264"/>
                  </a:cubicBezTo>
                  <a:cubicBezTo>
                    <a:pt x="140" y="253"/>
                    <a:pt x="140" y="253"/>
                    <a:pt x="140" y="253"/>
                  </a:cubicBezTo>
                  <a:cubicBezTo>
                    <a:pt x="154" y="260"/>
                    <a:pt x="154" y="260"/>
                    <a:pt x="154" y="260"/>
                  </a:cubicBezTo>
                  <a:cubicBezTo>
                    <a:pt x="161" y="250"/>
                    <a:pt x="161" y="250"/>
                    <a:pt x="161" y="250"/>
                  </a:cubicBezTo>
                  <a:cubicBezTo>
                    <a:pt x="163" y="250"/>
                    <a:pt x="163" y="250"/>
                    <a:pt x="163" y="250"/>
                  </a:cubicBezTo>
                  <a:cubicBezTo>
                    <a:pt x="170" y="253"/>
                    <a:pt x="170" y="253"/>
                    <a:pt x="170" y="253"/>
                  </a:cubicBezTo>
                  <a:cubicBezTo>
                    <a:pt x="170" y="260"/>
                    <a:pt x="170" y="260"/>
                    <a:pt x="170" y="260"/>
                  </a:cubicBezTo>
                  <a:cubicBezTo>
                    <a:pt x="179" y="267"/>
                    <a:pt x="179" y="267"/>
                    <a:pt x="179" y="267"/>
                  </a:cubicBezTo>
                  <a:cubicBezTo>
                    <a:pt x="184" y="274"/>
                    <a:pt x="184" y="274"/>
                    <a:pt x="184" y="274"/>
                  </a:cubicBezTo>
                  <a:cubicBezTo>
                    <a:pt x="193" y="274"/>
                    <a:pt x="193" y="274"/>
                    <a:pt x="193" y="274"/>
                  </a:cubicBezTo>
                  <a:cubicBezTo>
                    <a:pt x="193" y="283"/>
                    <a:pt x="193" y="283"/>
                    <a:pt x="193" y="283"/>
                  </a:cubicBezTo>
                  <a:cubicBezTo>
                    <a:pt x="200" y="281"/>
                    <a:pt x="200" y="281"/>
                    <a:pt x="200" y="281"/>
                  </a:cubicBezTo>
                  <a:cubicBezTo>
                    <a:pt x="202" y="288"/>
                    <a:pt x="202" y="288"/>
                    <a:pt x="202" y="288"/>
                  </a:cubicBezTo>
                  <a:cubicBezTo>
                    <a:pt x="207" y="281"/>
                    <a:pt x="207" y="281"/>
                    <a:pt x="207" y="281"/>
                  </a:cubicBezTo>
                  <a:cubicBezTo>
                    <a:pt x="209" y="276"/>
                    <a:pt x="209" y="276"/>
                    <a:pt x="209" y="276"/>
                  </a:cubicBezTo>
                  <a:cubicBezTo>
                    <a:pt x="223" y="281"/>
                    <a:pt x="223" y="281"/>
                    <a:pt x="223" y="281"/>
                  </a:cubicBezTo>
                  <a:cubicBezTo>
                    <a:pt x="229" y="276"/>
                    <a:pt x="229" y="276"/>
                    <a:pt x="229" y="276"/>
                  </a:cubicBezTo>
                  <a:cubicBezTo>
                    <a:pt x="232" y="283"/>
                    <a:pt x="232" y="283"/>
                    <a:pt x="232" y="283"/>
                  </a:cubicBezTo>
                  <a:cubicBezTo>
                    <a:pt x="241" y="288"/>
                    <a:pt x="241" y="288"/>
                    <a:pt x="241" y="288"/>
                  </a:cubicBezTo>
                  <a:cubicBezTo>
                    <a:pt x="241" y="283"/>
                    <a:pt x="241" y="283"/>
                    <a:pt x="241" y="283"/>
                  </a:cubicBezTo>
                  <a:cubicBezTo>
                    <a:pt x="248" y="281"/>
                    <a:pt x="248" y="281"/>
                    <a:pt x="248" y="281"/>
                  </a:cubicBezTo>
                  <a:cubicBezTo>
                    <a:pt x="254" y="276"/>
                    <a:pt x="254" y="276"/>
                    <a:pt x="254" y="276"/>
                  </a:cubicBezTo>
                  <a:cubicBezTo>
                    <a:pt x="264" y="274"/>
                    <a:pt x="264" y="274"/>
                    <a:pt x="264" y="274"/>
                  </a:cubicBezTo>
                  <a:cubicBezTo>
                    <a:pt x="270" y="276"/>
                    <a:pt x="270" y="276"/>
                    <a:pt x="270" y="276"/>
                  </a:cubicBezTo>
                  <a:cubicBezTo>
                    <a:pt x="282" y="276"/>
                    <a:pt x="282" y="276"/>
                    <a:pt x="282" y="276"/>
                  </a:cubicBezTo>
                  <a:cubicBezTo>
                    <a:pt x="293" y="264"/>
                    <a:pt x="293" y="264"/>
                    <a:pt x="293" y="264"/>
                  </a:cubicBezTo>
                  <a:cubicBezTo>
                    <a:pt x="307" y="253"/>
                    <a:pt x="307" y="253"/>
                    <a:pt x="307" y="253"/>
                  </a:cubicBezTo>
                  <a:cubicBezTo>
                    <a:pt x="353" y="253"/>
                    <a:pt x="353" y="253"/>
                    <a:pt x="353" y="253"/>
                  </a:cubicBezTo>
                  <a:cubicBezTo>
                    <a:pt x="346" y="248"/>
                    <a:pt x="346" y="248"/>
                    <a:pt x="346" y="248"/>
                  </a:cubicBezTo>
                  <a:lnTo>
                    <a:pt x="350" y="229"/>
                  </a:lnTo>
                  <a:close/>
                </a:path>
              </a:pathLst>
            </a:custGeom>
            <a:solidFill>
              <a:schemeClr val="bg2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5" name="Rechteck 4">
            <a:extLst>
              <a:ext uri="{FF2B5EF4-FFF2-40B4-BE49-F238E27FC236}">
                <a16:creationId xmlns:a16="http://schemas.microsoft.com/office/drawing/2014/main" id="{8B52F990-8BC0-4F77-9D15-04FD35A6FE05}"/>
              </a:ext>
            </a:extLst>
          </p:cNvPr>
          <p:cNvSpPr/>
          <p:nvPr/>
        </p:nvSpPr>
        <p:spPr bwMode="gray">
          <a:xfrm>
            <a:off x="8760751" y="5661000"/>
            <a:ext cx="2806654" cy="576312"/>
          </a:xfrm>
          <a:prstGeom prst="rect">
            <a:avLst/>
          </a:prstGeom>
          <a:solidFill>
            <a:schemeClr val="tx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en-US" dirty="0"/>
              <a:t>Standard form</a:t>
            </a:r>
          </a:p>
        </p:txBody>
      </p:sp>
      <p:sp>
        <p:nvSpPr>
          <p:cNvPr id="350" name="Rechteck 349">
            <a:extLst>
              <a:ext uri="{FF2B5EF4-FFF2-40B4-BE49-F238E27FC236}">
                <a16:creationId xmlns:a16="http://schemas.microsoft.com/office/drawing/2014/main" id="{4F08DC5A-05AF-4639-A1BA-7575C28F7A99}"/>
              </a:ext>
            </a:extLst>
          </p:cNvPr>
          <p:cNvSpPr/>
          <p:nvPr/>
        </p:nvSpPr>
        <p:spPr bwMode="gray">
          <a:xfrm>
            <a:off x="4055838" y="2800050"/>
            <a:ext cx="936000" cy="432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en-US" sz="1200" kern="900" dirty="0">
                <a:solidFill>
                  <a:schemeClr val="tx1"/>
                </a:solidFill>
              </a:rPr>
              <a:t>Global map </a:t>
            </a:r>
            <a:br>
              <a:rPr lang="en-US" sz="1200" kern="900" dirty="0">
                <a:solidFill>
                  <a:schemeClr val="tx1"/>
                </a:solidFill>
              </a:rPr>
            </a:br>
            <a:r>
              <a:rPr lang="en-US" sz="1200" kern="900" dirty="0">
                <a:solidFill>
                  <a:schemeClr val="tx1"/>
                </a:solidFill>
              </a:rPr>
              <a:t>(editable)</a:t>
            </a:r>
          </a:p>
        </p:txBody>
      </p:sp>
      <p:sp>
        <p:nvSpPr>
          <p:cNvPr id="253" name="Textplatzhalter 2">
            <a:extLst>
              <a:ext uri="{FF2B5EF4-FFF2-40B4-BE49-F238E27FC236}">
                <a16:creationId xmlns:a16="http://schemas.microsoft.com/office/drawing/2014/main" id="{6DBC2DF7-0BDE-45BC-BA51-F7765EE4E708}"/>
              </a:ext>
            </a:extLst>
          </p:cNvPr>
          <p:cNvSpPr txBox="1">
            <a:spLocks/>
          </p:cNvSpPr>
          <p:nvPr/>
        </p:nvSpPr>
        <p:spPr bwMode="black">
          <a:xfrm>
            <a:off x="623392" y="1484784"/>
            <a:ext cx="2808000" cy="1800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44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88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76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2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4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08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Text headline</a:t>
            </a:r>
          </a:p>
          <a:p>
            <a:pPr lvl="1"/>
            <a:r>
              <a:rPr lang="en-US" dirty="0"/>
              <a:t>Running text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4"/>
            <a:endParaRPr lang="en-US" dirty="0"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32FEAE8C-55C9-4EF1-AA5D-88012D61ED93}"/>
              </a:ext>
            </a:extLst>
          </p:cNvPr>
          <p:cNvSpPr/>
          <p:nvPr/>
        </p:nvSpPr>
        <p:spPr bwMode="gray">
          <a:xfrm>
            <a:off x="8114516" y="1484784"/>
            <a:ext cx="2664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72000" bIns="72000" rtlCol="0" anchor="b"/>
          <a:lstStyle/>
          <a:p>
            <a:r>
              <a:rPr lang="en-US" sz="1200" kern="900" dirty="0">
                <a:solidFill>
                  <a:schemeClr val="tx1"/>
                </a:solidFill>
              </a:rPr>
              <a:t>Gradients for optional backgrounds</a:t>
            </a:r>
          </a:p>
        </p:txBody>
      </p:sp>
      <p:pic>
        <p:nvPicPr>
          <p:cNvPr id="7" name="Grafik 538">
            <a:extLst>
              <a:ext uri="{FF2B5EF4-FFF2-40B4-BE49-F238E27FC236}">
                <a16:creationId xmlns:a16="http://schemas.microsoft.com/office/drawing/2014/main" id="{0F979D37-C284-4530-88C9-63E92BE200E3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9314533" y="1781002"/>
            <a:ext cx="1080000" cy="607975"/>
          </a:xfrm>
          <a:prstGeom prst="rect">
            <a:avLst/>
          </a:prstGeom>
        </p:spPr>
      </p:pic>
      <p:pic>
        <p:nvPicPr>
          <p:cNvPr id="8" name="Grafik 539">
            <a:extLst>
              <a:ext uri="{FF2B5EF4-FFF2-40B4-BE49-F238E27FC236}">
                <a16:creationId xmlns:a16="http://schemas.microsoft.com/office/drawing/2014/main" id="{947079A2-3020-47FA-8FE2-723D769C3D2C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9314533" y="2511719"/>
            <a:ext cx="1080000" cy="607975"/>
          </a:xfrm>
          <a:prstGeom prst="rect">
            <a:avLst/>
          </a:prstGeom>
        </p:spPr>
      </p:pic>
      <p:pic>
        <p:nvPicPr>
          <p:cNvPr id="9" name="Grafik 540">
            <a:extLst>
              <a:ext uri="{FF2B5EF4-FFF2-40B4-BE49-F238E27FC236}">
                <a16:creationId xmlns:a16="http://schemas.microsoft.com/office/drawing/2014/main" id="{9CC415C5-08D0-4FCF-A9E0-6E8E0C8CF8E5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9314533" y="3242436"/>
            <a:ext cx="1080000" cy="607975"/>
          </a:xfrm>
          <a:prstGeom prst="rect">
            <a:avLst/>
          </a:prstGeom>
        </p:spPr>
      </p:pic>
      <p:pic>
        <p:nvPicPr>
          <p:cNvPr id="10" name="Grafik 541">
            <a:extLst>
              <a:ext uri="{FF2B5EF4-FFF2-40B4-BE49-F238E27FC236}">
                <a16:creationId xmlns:a16="http://schemas.microsoft.com/office/drawing/2014/main" id="{F0769B09-B7E8-489D-ACD2-B19795663920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9314533" y="3973153"/>
            <a:ext cx="1080000" cy="607975"/>
          </a:xfrm>
          <a:prstGeom prst="rect">
            <a:avLst/>
          </a:prstGeom>
        </p:spPr>
      </p:pic>
      <p:pic>
        <p:nvPicPr>
          <p:cNvPr id="11" name="Grafik 544">
            <a:extLst>
              <a:ext uri="{FF2B5EF4-FFF2-40B4-BE49-F238E27FC236}">
                <a16:creationId xmlns:a16="http://schemas.microsoft.com/office/drawing/2014/main" id="{FE02303E-0617-4126-B0FD-AD4C61419766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8114516" y="2511719"/>
            <a:ext cx="1080000" cy="607975"/>
          </a:xfrm>
          <a:prstGeom prst="rect">
            <a:avLst/>
          </a:prstGeom>
        </p:spPr>
      </p:pic>
      <p:pic>
        <p:nvPicPr>
          <p:cNvPr id="12" name="Grafik 545">
            <a:extLst>
              <a:ext uri="{FF2B5EF4-FFF2-40B4-BE49-F238E27FC236}">
                <a16:creationId xmlns:a16="http://schemas.microsoft.com/office/drawing/2014/main" id="{F05D1FD8-8823-40A9-AA79-179DA366936E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8114516" y="3242436"/>
            <a:ext cx="1080000" cy="607974"/>
          </a:xfrm>
          <a:prstGeom prst="rect">
            <a:avLst/>
          </a:prstGeom>
        </p:spPr>
      </p:pic>
      <p:pic>
        <p:nvPicPr>
          <p:cNvPr id="13" name="Grafik 546">
            <a:extLst>
              <a:ext uri="{FF2B5EF4-FFF2-40B4-BE49-F238E27FC236}">
                <a16:creationId xmlns:a16="http://schemas.microsoft.com/office/drawing/2014/main" id="{4A5335A5-7772-4306-9243-71F59D3833C4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8114516" y="3973153"/>
            <a:ext cx="1080000" cy="607974"/>
          </a:xfrm>
          <a:prstGeom prst="rect">
            <a:avLst/>
          </a:prstGeom>
        </p:spPr>
      </p:pic>
      <p:pic>
        <p:nvPicPr>
          <p:cNvPr id="14" name="Grafik 550">
            <a:extLst>
              <a:ext uri="{FF2B5EF4-FFF2-40B4-BE49-F238E27FC236}">
                <a16:creationId xmlns:a16="http://schemas.microsoft.com/office/drawing/2014/main" id="{3366A4CA-1E5E-4489-B830-737D636ABF16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10494000" y="3242595"/>
            <a:ext cx="1080000" cy="607500"/>
          </a:xfrm>
          <a:prstGeom prst="rect">
            <a:avLst/>
          </a:prstGeom>
        </p:spPr>
      </p:pic>
      <p:pic>
        <p:nvPicPr>
          <p:cNvPr id="15" name="Grafik 543">
            <a:extLst>
              <a:ext uri="{FF2B5EF4-FFF2-40B4-BE49-F238E27FC236}">
                <a16:creationId xmlns:a16="http://schemas.microsoft.com/office/drawing/2014/main" id="{43BBCFD5-7FC0-43EC-92CF-6F9A0382AECB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8114516" y="1781003"/>
            <a:ext cx="1080000" cy="607974"/>
          </a:xfrm>
          <a:prstGeom prst="rect">
            <a:avLst/>
          </a:prstGeom>
        </p:spPr>
      </p:pic>
      <p:sp>
        <p:nvSpPr>
          <p:cNvPr id="16" name="Rechteck 351">
            <a:extLst>
              <a:ext uri="{FF2B5EF4-FFF2-40B4-BE49-F238E27FC236}">
                <a16:creationId xmlns:a16="http://schemas.microsoft.com/office/drawing/2014/main" id="{627C3E4F-30C3-4AC9-AAF0-CBDA0E0E108C}"/>
              </a:ext>
            </a:extLst>
          </p:cNvPr>
          <p:cNvSpPr/>
          <p:nvPr/>
        </p:nvSpPr>
        <p:spPr bwMode="gray">
          <a:xfrm>
            <a:off x="8112224" y="4581160"/>
            <a:ext cx="108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72000" rIns="72000" bIns="0" rtlCol="0" anchor="t"/>
          <a:lstStyle/>
          <a:p>
            <a:r>
              <a:rPr lang="en-US" sz="1200" kern="900" dirty="0">
                <a:solidFill>
                  <a:schemeClr val="tx1"/>
                </a:solidFill>
              </a:rPr>
              <a:t>5 – light</a:t>
            </a:r>
          </a:p>
        </p:txBody>
      </p:sp>
      <p:sp>
        <p:nvSpPr>
          <p:cNvPr id="17" name="Rechteck 351">
            <a:extLst>
              <a:ext uri="{FF2B5EF4-FFF2-40B4-BE49-F238E27FC236}">
                <a16:creationId xmlns:a16="http://schemas.microsoft.com/office/drawing/2014/main" id="{96AF6DA4-E991-4394-A36E-98157F600AF5}"/>
              </a:ext>
            </a:extLst>
          </p:cNvPr>
          <p:cNvSpPr/>
          <p:nvPr/>
        </p:nvSpPr>
        <p:spPr bwMode="gray">
          <a:xfrm>
            <a:off x="9314533" y="4581160"/>
            <a:ext cx="108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72000" rIns="72000" bIns="0" rtlCol="0" anchor="t"/>
          <a:lstStyle/>
          <a:p>
            <a:r>
              <a:rPr lang="en-US" sz="1200" kern="900" dirty="0">
                <a:solidFill>
                  <a:schemeClr val="tx1"/>
                </a:solidFill>
              </a:rPr>
              <a:t>6 – saturated</a:t>
            </a:r>
          </a:p>
        </p:txBody>
      </p:sp>
      <p:sp>
        <p:nvSpPr>
          <p:cNvPr id="18" name="Rechteck 351">
            <a:extLst>
              <a:ext uri="{FF2B5EF4-FFF2-40B4-BE49-F238E27FC236}">
                <a16:creationId xmlns:a16="http://schemas.microsoft.com/office/drawing/2014/main" id="{EB6AB50A-843E-4BED-9148-5DA9EB7AB067}"/>
              </a:ext>
            </a:extLst>
          </p:cNvPr>
          <p:cNvSpPr/>
          <p:nvPr/>
        </p:nvSpPr>
        <p:spPr bwMode="gray">
          <a:xfrm>
            <a:off x="10494000" y="4581160"/>
            <a:ext cx="108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72000" rIns="72000" bIns="0" rtlCol="0" anchor="t"/>
          <a:lstStyle/>
          <a:p>
            <a:r>
              <a:rPr lang="en-US" sz="1200" kern="900" dirty="0">
                <a:solidFill>
                  <a:schemeClr val="tx1"/>
                </a:solidFill>
              </a:rPr>
              <a:t>7 – two-tone</a:t>
            </a:r>
          </a:p>
        </p:txBody>
      </p:sp>
      <p:pic>
        <p:nvPicPr>
          <p:cNvPr id="19" name="Picture 29">
            <a:extLst>
              <a:ext uri="{FF2B5EF4-FFF2-40B4-BE49-F238E27FC236}">
                <a16:creationId xmlns:a16="http://schemas.microsoft.com/office/drawing/2014/main" id="{CFFECD60-FED3-4D9C-9410-33974B3E7E01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94000" y="2512194"/>
            <a:ext cx="1080000" cy="607500"/>
          </a:xfrm>
          <a:prstGeom prst="rect">
            <a:avLst/>
          </a:prstGeom>
        </p:spPr>
      </p:pic>
      <p:pic>
        <p:nvPicPr>
          <p:cNvPr id="20" name="Picture 224">
            <a:extLst>
              <a:ext uri="{FF2B5EF4-FFF2-40B4-BE49-F238E27FC236}">
                <a16:creationId xmlns:a16="http://schemas.microsoft.com/office/drawing/2014/main" id="{8F2477E3-3EA9-4093-9E30-53B37AEE48AE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94000" y="1781477"/>
            <a:ext cx="1080001" cy="607500"/>
          </a:xfrm>
          <a:prstGeom prst="rect">
            <a:avLst/>
          </a:prstGeom>
        </p:spPr>
      </p:pic>
      <p:pic>
        <p:nvPicPr>
          <p:cNvPr id="21" name="Picture 229">
            <a:extLst>
              <a:ext uri="{FF2B5EF4-FFF2-40B4-BE49-F238E27FC236}">
                <a16:creationId xmlns:a16="http://schemas.microsoft.com/office/drawing/2014/main" id="{1F4E477B-81E5-44C7-8FD9-8A9831C0D703}"/>
              </a:ext>
            </a:extLst>
          </p:cNvPr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94000" y="3973152"/>
            <a:ext cx="1078588" cy="606706"/>
          </a:xfrm>
          <a:prstGeom prst="rect">
            <a:avLst/>
          </a:prstGeom>
        </p:spPr>
      </p:pic>
      <p:sp>
        <p:nvSpPr>
          <p:cNvPr id="22" name="Rechteck 260">
            <a:extLst>
              <a:ext uri="{FF2B5EF4-FFF2-40B4-BE49-F238E27FC236}">
                <a16:creationId xmlns:a16="http://schemas.microsoft.com/office/drawing/2014/main" id="{1F316DD2-946A-4200-957B-4F4FDE10EEE4}"/>
              </a:ext>
            </a:extLst>
          </p:cNvPr>
          <p:cNvSpPr/>
          <p:nvPr/>
        </p:nvSpPr>
        <p:spPr bwMode="gray">
          <a:xfrm>
            <a:off x="8760751" y="5045228"/>
            <a:ext cx="2808000" cy="46743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72000" rIns="72000" bIns="0" rtlCol="0" anchor="t"/>
          <a:lstStyle/>
          <a:p>
            <a:r>
              <a:rPr lang="en-US" sz="1200" kern="900" dirty="0">
                <a:solidFill>
                  <a:schemeClr val="tx1"/>
                </a:solidFill>
              </a:rPr>
              <a:t>Magenta Pattern are available through </a:t>
            </a:r>
            <a:r>
              <a:rPr lang="en-US" sz="1200" kern="900" dirty="0">
                <a:solidFill>
                  <a:srgbClr val="00739F"/>
                </a:solidFill>
                <a:hlinkClick r:id="rId1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Brand &amp; Design</a:t>
            </a:r>
            <a:r>
              <a:rPr lang="en-US" sz="1200" kern="900" dirty="0">
                <a:solidFill>
                  <a:srgbClr val="0478BE"/>
                </a:solidFill>
              </a:rPr>
              <a:t> </a:t>
            </a:r>
            <a:r>
              <a:rPr lang="en-US" sz="1200" kern="900" dirty="0">
                <a:solidFill>
                  <a:schemeClr val="tx1"/>
                </a:solidFill>
              </a:rPr>
              <a:t>or </a:t>
            </a:r>
            <a:r>
              <a:rPr lang="en-US" sz="1200" kern="900" dirty="0">
                <a:solidFill>
                  <a:srgbClr val="00739F"/>
                </a:solidFill>
                <a:hlinkClick r:id="rId1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YAM</a:t>
            </a:r>
            <a:r>
              <a:rPr lang="en-US" sz="1200" kern="900" dirty="0">
                <a:solidFill>
                  <a:schemeClr val="tx1"/>
                </a:solidFill>
              </a:rPr>
              <a:t> (Intranet).</a:t>
            </a:r>
          </a:p>
        </p:txBody>
      </p:sp>
    </p:spTree>
    <p:extLst>
      <p:ext uri="{BB962C8B-B14F-4D97-AF65-F5344CB8AC3E}">
        <p14:creationId xmlns:p14="http://schemas.microsoft.com/office/powerpoint/2010/main" val="157568531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 bwMode="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3D645DA-1B51-404D-BC6D-0BE4F80250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elpful advice for usage </a:t>
            </a:r>
            <a:r>
              <a:rPr lang="en-US" altLang="de-DE" dirty="0"/>
              <a:t>–</a:t>
            </a:r>
            <a:r>
              <a:rPr lang="en-US" dirty="0"/>
              <a:t> Master 2020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1D02E95-65BD-469A-81CB-783509C7842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confidential, internal, public | Author | Topic of presentation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111E7A0-B04E-402C-8115-C78CC3DB87E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1A5E10D-79A5-49BA-9648-53481340C65F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20" name="Textfeld 19">
            <a:hlinkClick r:id="rId3"/>
            <a:extLst>
              <a:ext uri="{FF2B5EF4-FFF2-40B4-BE49-F238E27FC236}">
                <a16:creationId xmlns:a16="http://schemas.microsoft.com/office/drawing/2014/main" id="{21AE5569-7E70-4D23-B275-6DE777434033}"/>
              </a:ext>
            </a:extLst>
          </p:cNvPr>
          <p:cNvSpPr txBox="1"/>
          <p:nvPr/>
        </p:nvSpPr>
        <p:spPr>
          <a:xfrm>
            <a:off x="3158550" y="2664631"/>
            <a:ext cx="972000" cy="25202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buClr>
                <a:schemeClr val="tx2"/>
              </a:buClr>
              <a:buSzPct val="100000"/>
            </a:pPr>
            <a:r>
              <a:rPr lang="en-US" sz="1400" dirty="0" err="1">
                <a:solidFill>
                  <a:srgbClr val="00739F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PictureWorld</a:t>
            </a:r>
            <a:endParaRPr lang="en-US" sz="1400" dirty="0">
              <a:solidFill>
                <a:srgbClr val="00739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468608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 bwMode="gray">
      <p:bgPr>
        <a:blipFill dpi="0" rotWithShape="1">
          <a:blip r:embed="rId6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BF89B9BA-D860-4609-82B8-2FD847FE3F5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7" name="think-cell Folie" r:id="rId7" imgW="532" imgH="530" progId="TCLayout.ActiveDocument.1">
                  <p:embed/>
                </p:oleObj>
              </mc:Choice>
              <mc:Fallback>
                <p:oleObj name="think-cell Folie" r:id="rId7" imgW="532" imgH="530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BF89B9BA-D860-4609-82B8-2FD847FE3F5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>
            <a:extLst>
              <a:ext uri="{FF2B5EF4-FFF2-40B4-BE49-F238E27FC236}">
                <a16:creationId xmlns:a16="http://schemas.microsoft.com/office/drawing/2014/main" id="{D6D6A2FE-3DA5-4A8E-A91B-81E49EF0AC9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000" dirty="0">
              <a:latin typeface="TeleNeo Office ExtraBold" panose="020B0A04040202090203" pitchFamily="34" charset="0"/>
              <a:ea typeface="+mj-ea"/>
              <a:cs typeface="+mj-cs"/>
              <a:sym typeface="TeleNeo Office ExtraBold" panose="020B0A0404020209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9231E47-02B7-416A-A2BC-6CBB908814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The proper tonality depending on your context – Master 2020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71EA22B-77FD-4D6C-AD0F-B8307887384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confidential, internal, public | Author | Topic of presentation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34707A3-E0C9-4DFB-BE05-5631C0F2BA8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1A5E10D-79A5-49BA-9648-53481340C65F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616953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GKyAGqa_f.IUG1nfbLDTQ"/>
</p:tagLst>
</file>

<file path=ppt/theme/theme1.xml><?xml version="1.0" encoding="utf-8"?>
<a:theme xmlns:a="http://schemas.openxmlformats.org/drawingml/2006/main" name="Telekom 2020 EN">
  <a:themeElements>
    <a:clrScheme name="Telekom Liquid Master">
      <a:dk1>
        <a:sysClr val="windowText" lastClr="000000"/>
      </a:dk1>
      <a:lt1>
        <a:sysClr val="window" lastClr="FFFFFF"/>
      </a:lt1>
      <a:dk2>
        <a:srgbClr val="E20074"/>
      </a:dk2>
      <a:lt2>
        <a:srgbClr val="A3A3A3"/>
      </a:lt2>
      <a:accent1>
        <a:srgbClr val="32B9AF"/>
      </a:accent1>
      <a:accent2>
        <a:srgbClr val="A4DEEE"/>
      </a:accent2>
      <a:accent3>
        <a:srgbClr val="ECCCBF"/>
      </a:accent3>
      <a:accent4>
        <a:srgbClr val="F0E68C"/>
      </a:accent4>
      <a:accent5>
        <a:srgbClr val="00A8E6"/>
      </a:accent5>
      <a:accent6>
        <a:srgbClr val="6E648C"/>
      </a:accent6>
      <a:hlink>
        <a:srgbClr val="00739F"/>
      </a:hlink>
      <a:folHlink>
        <a:srgbClr val="00739F"/>
      </a:folHlink>
    </a:clrScheme>
    <a:fontScheme name="Deutsche Telekom Liquid Master">
      <a:majorFont>
        <a:latin typeface="TeleNeo Office ExtraBold"/>
        <a:ea typeface=""/>
        <a:cs typeface=""/>
      </a:majorFont>
      <a:minorFont>
        <a:latin typeface="TeleNeo Offic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12700">
          <a:noFill/>
        </a:ln>
      </a:spPr>
      <a:bodyPr lIns="72000" tIns="72000" rIns="72000" bIns="72000" rtlCol="0" anchor="ctr"/>
      <a:lstStyle>
        <a:defPPr algn="ctr">
          <a:defRPr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marL="144000" indent="-144000" algn="l">
          <a:buClr>
            <a:schemeClr val="tx2"/>
          </a:buClr>
          <a:buSzPct val="100000"/>
          <a:buFont typeface="TeleNeo Office" panose="020B0504040202090203" pitchFamily="34" charset="0"/>
          <a:buChar char="•"/>
          <a:defRPr smtClean="0"/>
        </a:defPPr>
      </a:lstStyle>
    </a:txDef>
  </a:objectDefaults>
  <a:extraClrSchemeLst/>
  <a:custClrLst>
    <a:custClr name="Smaragd">
      <a:srgbClr val="078C82"/>
    </a:custClr>
    <a:custClr name="Ozean">
      <a:srgbClr val="5AB4C8"/>
    </a:custClr>
    <a:custClr name="Cappuccino">
      <a:srgbClr val="BD968C"/>
    </a:custClr>
    <a:custClr name="Curry">
      <a:srgbClr val="C8B45A"/>
    </a:custClr>
    <a:custClr name="Jeans">
      <a:srgbClr val="0478BE"/>
    </a:custClr>
    <a:custClr name="Aubergine">
      <a:srgbClr val="3C325A"/>
    </a:custClr>
    <a:custClr name="Leer">
      <a:srgbClr val="FFFFFF"/>
    </a:custClr>
    <a:custClr name="Leer">
      <a:srgbClr val="FFFFFF"/>
    </a:custClr>
    <a:custClr name="Leer">
      <a:srgbClr val="FFFFFF"/>
    </a:custClr>
    <a:custClr name="Leer">
      <a:srgbClr val="FFFFFF"/>
    </a:custClr>
    <a:custClr name="Mint">
      <a:srgbClr val="86CBC4"/>
    </a:custClr>
    <a:custClr name="Himmel">
      <a:srgbClr val="CBE8F4"/>
    </a:custClr>
    <a:custClr name="Pfirsich">
      <a:srgbClr val="FAE2D8"/>
    </a:custClr>
    <a:custClr name="Vanille">
      <a:srgbClr val="F5EBAF"/>
    </a:custClr>
    <a:custClr name="Azur">
      <a:srgbClr val="45C1F1"/>
    </a:custClr>
    <a:custClr name="Flieder">
      <a:srgbClr val="9C9BB9"/>
    </a:custClr>
    <a:custClr name="Leer">
      <a:srgbClr val="FFFFFF"/>
    </a:custClr>
    <a:custClr name="Leer">
      <a:srgbClr val="FFFFFF"/>
    </a:custClr>
    <a:custClr name="Leer">
      <a:srgbClr val="FFFFFF"/>
    </a:custClr>
    <a:custClr name="Leer">
      <a:srgbClr val="FFFFFF"/>
    </a:custClr>
    <a:custClr name="Grau 38">
      <a:srgbClr val="262626"/>
    </a:custClr>
    <a:custClr name="Grau 75">
      <a:srgbClr val="4B4B4B"/>
    </a:custClr>
    <a:custClr name="Grau 115">
      <a:srgbClr val="737373"/>
    </a:custClr>
    <a:custClr name="Grau 178">
      <a:srgbClr val="B2B2B2"/>
    </a:custClr>
    <a:custClr name="Grau 220">
      <a:srgbClr val="DCDCDC"/>
    </a:custClr>
    <a:custClr name="Leer">
      <a:srgbClr val="FFFFFF"/>
    </a:custClr>
    <a:custClr name="Leer">
      <a:srgbClr val="FFFFFF"/>
    </a:custClr>
    <a:custClr name="Rot">
      <a:srgbClr val="D90000"/>
    </a:custClr>
    <a:custClr name="Gelb">
      <a:srgbClr val="FECB00"/>
    </a:custClr>
    <a:custClr name="Grün">
      <a:srgbClr val="46A800"/>
    </a:custClr>
  </a:custClrLst>
  <a:extLst>
    <a:ext uri="{05A4C25C-085E-4340-85A3-A5531E510DB2}">
      <thm15:themeFamily xmlns:thm15="http://schemas.microsoft.com/office/thememl/2012/main" name="Präsentation2" id="{C4FB7280-A1FC-46E9-BB81-FA5882656803}" vid="{1AAD8BF9-E40C-4FE9-86CC-93DC4CB4BA49}"/>
    </a:ext>
  </a:extLst>
</a:theme>
</file>

<file path=ppt/theme/theme2.xml><?xml version="1.0" encoding="utf-8"?>
<a:theme xmlns:a="http://schemas.openxmlformats.org/drawingml/2006/main" name="Office">
  <a:themeElements>
    <a:clrScheme name="Telekom Liquid Master">
      <a:dk1>
        <a:sysClr val="windowText" lastClr="000000"/>
      </a:dk1>
      <a:lt1>
        <a:sysClr val="window" lastClr="FFFFFF"/>
      </a:lt1>
      <a:dk2>
        <a:srgbClr val="E20074"/>
      </a:dk2>
      <a:lt2>
        <a:srgbClr val="A3A3A3"/>
      </a:lt2>
      <a:accent1>
        <a:srgbClr val="32B9AF"/>
      </a:accent1>
      <a:accent2>
        <a:srgbClr val="A4DEEE"/>
      </a:accent2>
      <a:accent3>
        <a:srgbClr val="ECCCBF"/>
      </a:accent3>
      <a:accent4>
        <a:srgbClr val="F0E68C"/>
      </a:accent4>
      <a:accent5>
        <a:srgbClr val="00A8E6"/>
      </a:accent5>
      <a:accent6>
        <a:srgbClr val="6E648C"/>
      </a:accent6>
      <a:hlink>
        <a:srgbClr val="00739F"/>
      </a:hlink>
      <a:folHlink>
        <a:srgbClr val="00739F"/>
      </a:folHlink>
    </a:clrScheme>
    <a:fontScheme name="Deutsche Telekom Liquid Master">
      <a:majorFont>
        <a:latin typeface="TeleNeo Office ExtraBold"/>
        <a:ea typeface=""/>
        <a:cs typeface=""/>
      </a:majorFont>
      <a:minorFont>
        <a:latin typeface="TeleNeo Offic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lIns="0" tIns="0" rIns="0" bIns="0" rtlCol="0" anchor="ctr"/>
      <a:lstStyle>
        <a:defPPr algn="ctr">
          <a:defRPr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marL="144000" indent="-144000" algn="l">
          <a:buClr>
            <a:schemeClr val="tx2"/>
          </a:buClr>
          <a:buSzPct val="100000"/>
          <a:buFont typeface="TeleNeo Office" panose="020B0504040202090203" pitchFamily="34" charset="0"/>
          <a:buChar char="•"/>
          <a:defRPr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Telekom Liquid Master">
      <a:dk1>
        <a:sysClr val="windowText" lastClr="000000"/>
      </a:dk1>
      <a:lt1>
        <a:sysClr val="window" lastClr="FFFFFF"/>
      </a:lt1>
      <a:dk2>
        <a:srgbClr val="E20074"/>
      </a:dk2>
      <a:lt2>
        <a:srgbClr val="A3A3A3"/>
      </a:lt2>
      <a:accent1>
        <a:srgbClr val="32B9AF"/>
      </a:accent1>
      <a:accent2>
        <a:srgbClr val="A4DEEE"/>
      </a:accent2>
      <a:accent3>
        <a:srgbClr val="ECCCBF"/>
      </a:accent3>
      <a:accent4>
        <a:srgbClr val="F0E68C"/>
      </a:accent4>
      <a:accent5>
        <a:srgbClr val="00A8E6"/>
      </a:accent5>
      <a:accent6>
        <a:srgbClr val="6E648C"/>
      </a:accent6>
      <a:hlink>
        <a:srgbClr val="00739F"/>
      </a:hlink>
      <a:folHlink>
        <a:srgbClr val="00739F"/>
      </a:folHlink>
    </a:clrScheme>
    <a:fontScheme name="Deutsche Telekom Liquid Master">
      <a:majorFont>
        <a:latin typeface="TeleNeo Office ExtraBold"/>
        <a:ea typeface=""/>
        <a:cs typeface=""/>
      </a:majorFont>
      <a:minorFont>
        <a:latin typeface="TeleNeo Offic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lIns="0" tIns="0" rIns="0" bIns="0" rtlCol="0" anchor="ctr"/>
      <a:lstStyle>
        <a:defPPr algn="ctr">
          <a:defRPr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marL="144000" indent="-144000" algn="l">
          <a:buClr>
            <a:schemeClr val="tx2"/>
          </a:buClr>
          <a:buSzPct val="100000"/>
          <a:buFont typeface="TeleNeo Office" panose="020B0504040202090203" pitchFamily="34" charset="0"/>
          <a:buChar char="•"/>
          <a:defRPr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199</Words>
  <Application>Microsoft Office PowerPoint</Application>
  <PresentationFormat>Breitbild</PresentationFormat>
  <Paragraphs>46</Paragraphs>
  <Slides>4</Slides>
  <Notes>2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4</vt:i4>
      </vt:variant>
    </vt:vector>
  </HeadingPairs>
  <TitlesOfParts>
    <vt:vector size="9" baseType="lpstr">
      <vt:lpstr>Arial</vt:lpstr>
      <vt:lpstr>TeleNeo Office</vt:lpstr>
      <vt:lpstr>TeleNeo Office ExtraBold</vt:lpstr>
      <vt:lpstr>Telekom 2020 EN</vt:lpstr>
      <vt:lpstr>think-cell Folie</vt:lpstr>
      <vt:lpstr>PowerPoint-Präsentation</vt:lpstr>
      <vt:lpstr>Copy &amp; paste elements – Master 2020</vt:lpstr>
      <vt:lpstr>Helpful advice for usage – Master 2020</vt:lpstr>
      <vt:lpstr>The proper tonality depending on your context – Master 2020</vt:lpstr>
    </vt:vector>
  </TitlesOfParts>
  <Company>Deutsche Telekom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opy &amp; paste elements – Master 2020</dc:title>
  <dc:creator>Schremser, Thomas</dc:creator>
  <dc:description>Optimized for Office 365</dc:description>
  <cp:lastModifiedBy>Schremser, Thomas</cp:lastModifiedBy>
  <cp:revision>3</cp:revision>
  <cp:lastPrinted>2020-08-27T09:01:38Z</cp:lastPrinted>
  <dcterms:created xsi:type="dcterms:W3CDTF">2021-03-23T21:13:18Z</dcterms:created>
  <dcterms:modified xsi:type="dcterms:W3CDTF">2021-03-24T13:15:07Z</dcterms:modified>
</cp:coreProperties>
</file>